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gif" ContentType="image/gi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4.xml" ContentType="application/vnd.openxmlformats-officedocument.presentationml.tags+xml"/>
  <Override PartName="/ppt/notesSlides/notesSlide6.xml" ContentType="application/vnd.openxmlformats-officedocument.presentationml.notesSlide+xml"/>
  <Override PartName="/ppt/tags/tag15.xml" ContentType="application/vnd.openxmlformats-officedocument.presentationml.tags+xml"/>
  <Override PartName="/ppt/notesSlides/notesSlide7.xml" ContentType="application/vnd.openxmlformats-officedocument.presentationml.notesSlide+xml"/>
  <Override PartName="/ppt/tags/tag16.xml" ContentType="application/vnd.openxmlformats-officedocument.presentationml.tags+xml"/>
  <Override PartName="/ppt/notesSlides/notesSlide8.xml" ContentType="application/vnd.openxmlformats-officedocument.presentationml.notesSlide+xml"/>
  <Override PartName="/ppt/tags/tag17.xml" ContentType="application/vnd.openxmlformats-officedocument.presentationml.tags+xml"/>
  <Override PartName="/ppt/notesSlides/notesSlide9.xml" ContentType="application/vnd.openxmlformats-officedocument.presentationml.notesSlide+xml"/>
  <Override PartName="/ppt/tags/tag18.xml" ContentType="application/vnd.openxmlformats-officedocument.presentationml.tags+xml"/>
  <Override PartName="/ppt/notesSlides/notesSlide10.xml" ContentType="application/vnd.openxmlformats-officedocument.presentationml.notesSlide+xml"/>
  <Override PartName="/ppt/tags/tag19.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20.xml" ContentType="application/vnd.openxmlformats-officedocument.presentationml.tags+xml"/>
  <Override PartName="/ppt/notesSlides/notesSlide13.xml" ContentType="application/vnd.openxmlformats-officedocument.presentationml.notesSlide+xml"/>
  <Override PartName="/ppt/tags/tag21.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899" r:id="rId4"/>
  </p:sldMasterIdLst>
  <p:notesMasterIdLst>
    <p:notesMasterId r:id="rId41"/>
  </p:notesMasterIdLst>
  <p:handoutMasterIdLst>
    <p:handoutMasterId r:id="rId42"/>
  </p:handoutMasterIdLst>
  <p:sldIdLst>
    <p:sldId id="2147481424" r:id="rId5"/>
    <p:sldId id="2134806240" r:id="rId6"/>
    <p:sldId id="2147481427" r:id="rId7"/>
    <p:sldId id="2147481481" r:id="rId8"/>
    <p:sldId id="2147481482" r:id="rId9"/>
    <p:sldId id="2147481483" r:id="rId10"/>
    <p:sldId id="2147481484" r:id="rId11"/>
    <p:sldId id="2147478773" r:id="rId12"/>
    <p:sldId id="2147478772" r:id="rId13"/>
    <p:sldId id="2147478784" r:id="rId14"/>
    <p:sldId id="2147481474" r:id="rId15"/>
    <p:sldId id="2147481477" r:id="rId16"/>
    <p:sldId id="2147481479" r:id="rId17"/>
    <p:sldId id="2076137872" r:id="rId18"/>
    <p:sldId id="2147473457" r:id="rId19"/>
    <p:sldId id="2147473421" r:id="rId20"/>
    <p:sldId id="2147481472" r:id="rId21"/>
    <p:sldId id="2147481473" r:id="rId22"/>
    <p:sldId id="2147481480" r:id="rId23"/>
    <p:sldId id="2147481494" r:id="rId24"/>
    <p:sldId id="2147481390" r:id="rId25"/>
    <p:sldId id="2147481496" r:id="rId26"/>
    <p:sldId id="2147481497" r:id="rId27"/>
    <p:sldId id="2147481498" r:id="rId28"/>
    <p:sldId id="2147481499" r:id="rId29"/>
    <p:sldId id="2147481485" r:id="rId30"/>
    <p:sldId id="2147481431" r:id="rId31"/>
    <p:sldId id="2147481432" r:id="rId32"/>
    <p:sldId id="2147481433" r:id="rId33"/>
    <p:sldId id="2147481434" r:id="rId34"/>
    <p:sldId id="2134806153" r:id="rId35"/>
    <p:sldId id="2134806154" r:id="rId36"/>
    <p:sldId id="2808" r:id="rId37"/>
    <p:sldId id="2147481406" r:id="rId38"/>
    <p:sldId id="2147481408" r:id="rId39"/>
    <p:sldId id="2147481453" r:id="rId40"/>
  </p:sldIdLst>
  <p:sldSz cx="12192000" cy="6858000"/>
  <p:notesSz cx="6797675" cy="9926638"/>
  <p:embeddedFontLst>
    <p:embeddedFont>
      <p:font typeface="Calibri" panose="020F0502020204030204" pitchFamily="34" charset="0"/>
      <p:regular r:id="rId43"/>
      <p:bold r:id="rId44"/>
      <p:italic r:id="rId45"/>
      <p:boldItalic r:id="rId46"/>
    </p:embeddedFont>
    <p:embeddedFont>
      <p:font typeface="Tahoma" panose="020B0604030504040204" pitchFamily="34" charset="0"/>
      <p:regular r:id="rId47"/>
      <p:bold r:id="rId48"/>
    </p:embeddedFont>
    <p:embeddedFont>
      <p:font typeface="Ubuntu" panose="020B0504030602030204" pitchFamily="34" charset="0"/>
      <p:regular r:id="rId49"/>
      <p:bold r:id="rId50"/>
      <p:italic r:id="rId51"/>
      <p:boldItalic r:id="rId52"/>
    </p:embeddedFont>
    <p:embeddedFont>
      <p:font typeface="Ubuntu Light" panose="020B0304030602030204" pitchFamily="34" charset="0"/>
      <p:regular r:id="rId53"/>
      <p:italic r:id="rId54"/>
    </p:embeddedFont>
    <p:embeddedFont>
      <p:font typeface="Ubuntu Medium" panose="020B0604030602030204" pitchFamily="34" charset="0"/>
      <p:regular r:id="rId55"/>
      <p:italic r:id="rId56"/>
    </p:embeddedFont>
    <p:embeddedFont>
      <p:font typeface="Verdana" panose="020B0604030504040204" pitchFamily="34" charset="0"/>
      <p:regular r:id="rId57"/>
      <p:bold r:id="rId58"/>
      <p:italic r:id="rId59"/>
      <p:boldItalic r:id="rId60"/>
    </p:embeddedFont>
  </p:embeddedFontLst>
  <p:custDataLst>
    <p:tags r:id="rId61"/>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NCF Réseaux" id="{652A51EF-B04F-482B-A9BE-47E4C6A1AFC5}">
          <p14:sldIdLst>
            <p14:sldId id="2147481424"/>
            <p14:sldId id="2134806240"/>
          </p14:sldIdLst>
        </p14:section>
        <p14:section name="SNCF Réseaux Sprint 1" id="{7D3E7517-C028-4A6E-9F3B-A6FE68B7D174}">
          <p14:sldIdLst>
            <p14:sldId id="2147481427"/>
            <p14:sldId id="2147481481"/>
            <p14:sldId id="2147481482"/>
            <p14:sldId id="2147481483"/>
            <p14:sldId id="2147481484"/>
            <p14:sldId id="2147478773"/>
            <p14:sldId id="2147478772"/>
            <p14:sldId id="2147478784"/>
            <p14:sldId id="2147481474"/>
            <p14:sldId id="2147481477"/>
            <p14:sldId id="2147481479"/>
            <p14:sldId id="2076137872"/>
            <p14:sldId id="2147473457"/>
            <p14:sldId id="2147473421"/>
            <p14:sldId id="2147481472"/>
            <p14:sldId id="2147481473"/>
            <p14:sldId id="2147481480"/>
          </p14:sldIdLst>
        </p14:section>
        <p14:section name="SNCF Réseaux Sprint 2" id="{A5306524-CF70-4EB6-9176-879BAC7BE938}">
          <p14:sldIdLst>
            <p14:sldId id="2147481494"/>
            <p14:sldId id="2147481390"/>
            <p14:sldId id="2147481496"/>
          </p14:sldIdLst>
        </p14:section>
        <p14:section name="SNCF Réseaux Sprint 3" id="{F68F9F00-5B0F-454C-BD1D-AAA3909D4E7F}">
          <p14:sldIdLst>
            <p14:sldId id="2147481497"/>
            <p14:sldId id="2147481498"/>
            <p14:sldId id="2147481499"/>
          </p14:sldIdLst>
        </p14:section>
        <p14:section name="ANNEXES" id="{63D0B84A-D0F6-41D0-B0C1-D1856C585A8B}">
          <p14:sldIdLst>
            <p14:sldId id="2147481485"/>
            <p14:sldId id="2147481431"/>
            <p14:sldId id="2147481432"/>
            <p14:sldId id="2147481433"/>
            <p14:sldId id="2147481434"/>
            <p14:sldId id="2134806153"/>
            <p14:sldId id="2134806154"/>
            <p14:sldId id="2808"/>
            <p14:sldId id="2147481406"/>
            <p14:sldId id="2147481408"/>
            <p14:sldId id="2147481453"/>
          </p14:sldIdLst>
        </p14:section>
      </p14:sectionLst>
    </p:ext>
    <p:ext uri="{EFAFB233-063F-42B5-8137-9DF3F51BA10A}">
      <p15:sldGuideLst xmlns:p15="http://schemas.microsoft.com/office/powerpoint/2012/main">
        <p15:guide id="5" orient="horz" pos="2341" userDrawn="1">
          <p15:clr>
            <a:srgbClr val="A4A3A4"/>
          </p15:clr>
        </p15:guide>
        <p15:guide id="6"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ED6910E-4EC7-3F13-F23E-37DC7EB2A3A5}" name="SEIMANDI, Matthieu" initials="SM" userId="S::matthieu.seimandi@capgemini.com::a1af33a6-fb38-46b3-9399-8c933e699451" providerId="AD"/>
  <p188:author id="{6B0A1D1C-72DF-156D-FFB4-F6D54F2EB4ED}" name="Marie CHAVANE DE DALMASSY" initials="MCDD" userId="S::marie.chavane-de-dalmassy@capgemini.com::609d1663-dc09-421f-9668-ff88dbdb8749" providerId="AD"/>
  <p188:author id="{24FC9047-EB32-D1B2-1B0B-B8F4E73D536F}" name="RUFFET, Malcolm" initials="RM" userId="S::malcolm.ruffet@capgemini.com::ef33cb5d-7c5f-44ea-8bd1-71f6d9da9dec" providerId="AD"/>
  <p188:author id="{3C8FEA5F-2213-FC67-338D-40BADC69CBA3}" name="HENRIO, Edouard" initials="HE" userId="S::edouard.henrio@capgemini.com::5c7148f7-abfa-4fb9-ad29-286627bf53ef" providerId="AD"/>
  <p188:author id="{D8972D73-2E5C-DCB3-CC9C-FB18CE3B73D0}" name="GUILLERME, Alexandre" initials="GA" userId="S::alexandre.guillerme@capgemini.com::ea1c6976-b45d-4181-9324-3cd9e1255583"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DF0FB"/>
    <a:srgbClr val="00B050"/>
    <a:srgbClr val="FDBF00"/>
    <a:srgbClr val="5F064D"/>
    <a:srgbClr val="DCF4FC"/>
    <a:srgbClr val="811B6F"/>
    <a:srgbClr val="000000"/>
    <a:srgbClr val="272936"/>
    <a:srgbClr val="003857"/>
    <a:srgbClr val="ECECE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4F700BA-10EB-4F53-9CEE-9784384B222C}" v="117" dt="2024-05-31T08:09:24.145"/>
    <p1510:client id="{5E666AAA-B3B8-4E21-BFAC-814441B2586C}" v="1" dt="2024-05-31T09:50:54.542"/>
    <p1510:client id="{7705CB42-0BED-4C2B-86DD-26BD23837793}" v="138" dt="2024-05-31T08:26:20.194"/>
    <p1510:client id="{C0DCBA25-2E53-4EF8-AD4A-FBB09516A18B}" v="1" dt="2024-05-31T09:39:34.307"/>
    <p1510:client id="{D53110E3-2253-40D9-9ED2-302591ABF449}" v="1116" dt="2024-05-31T09:15:47.678"/>
    <p1510:client id="{FAA02EBD-A2D6-4E30-AEFB-7BC683FD876B}" v="1398" dt="2024-05-31T09:28:31.82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Style moyen 2 - Accentuatio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2" d="100"/>
          <a:sy n="62" d="100"/>
        </p:scale>
        <p:origin x="34" y="1046"/>
      </p:cViewPr>
      <p:guideLst>
        <p:guide orient="horz" pos="2341"/>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handoutMaster" Target="handoutMasters/handoutMaster1.xml"/><Relationship Id="rId47" Type="http://schemas.openxmlformats.org/officeDocument/2006/relationships/font" Target="fonts/font5.fntdata"/><Relationship Id="rId50" Type="http://schemas.openxmlformats.org/officeDocument/2006/relationships/font" Target="fonts/font8.fntdata"/><Relationship Id="rId55" Type="http://schemas.openxmlformats.org/officeDocument/2006/relationships/font" Target="fonts/font13.fntdata"/><Relationship Id="rId63" Type="http://schemas.openxmlformats.org/officeDocument/2006/relationships/viewProps" Target="viewProps.xml"/><Relationship Id="rId68" Type="http://schemas.microsoft.com/office/2018/10/relationships/authors" Target="author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font" Target="fonts/font3.fntdata"/><Relationship Id="rId53" Type="http://schemas.openxmlformats.org/officeDocument/2006/relationships/font" Target="fonts/font11.fntdata"/><Relationship Id="rId58" Type="http://schemas.openxmlformats.org/officeDocument/2006/relationships/font" Target="fonts/font16.fntdata"/><Relationship Id="rId66"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font" Target="fonts/font7.fntdata"/><Relationship Id="rId57" Type="http://schemas.openxmlformats.org/officeDocument/2006/relationships/font" Target="fonts/font15.fntdata"/><Relationship Id="rId61"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font" Target="fonts/font2.fntdata"/><Relationship Id="rId52" Type="http://schemas.openxmlformats.org/officeDocument/2006/relationships/font" Target="fonts/font10.fntdata"/><Relationship Id="rId60" Type="http://schemas.openxmlformats.org/officeDocument/2006/relationships/font" Target="fonts/font18.fntdata"/><Relationship Id="rId65"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font" Target="fonts/font1.fntdata"/><Relationship Id="rId48" Type="http://schemas.openxmlformats.org/officeDocument/2006/relationships/font" Target="fonts/font6.fntdata"/><Relationship Id="rId56" Type="http://schemas.openxmlformats.org/officeDocument/2006/relationships/font" Target="fonts/font14.fntdata"/><Relationship Id="rId64"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font" Target="fonts/font9.fntdata"/><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font" Target="fonts/font4.fntdata"/><Relationship Id="rId59" Type="http://schemas.openxmlformats.org/officeDocument/2006/relationships/font" Target="fonts/font17.fntdata"/><Relationship Id="rId67" Type="http://schemas.microsoft.com/office/2015/10/relationships/revisionInfo" Target="revisionInfo.xml"/><Relationship Id="rId20" Type="http://schemas.openxmlformats.org/officeDocument/2006/relationships/slide" Target="slides/slide16.xml"/><Relationship Id="rId41" Type="http://schemas.openxmlformats.org/officeDocument/2006/relationships/notesMaster" Target="notesMasters/notesMaster1.xml"/><Relationship Id="rId54" Type="http://schemas.openxmlformats.org/officeDocument/2006/relationships/font" Target="fonts/font12.fntdata"/><Relationship Id="rId62"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ie CHAVANE DE DALMASSY" userId="609d1663-dc09-421f-9668-ff88dbdb8749" providerId="ADAL" clId="{23436ED1-6569-46D2-B650-E2217017F59C}"/>
    <pc:docChg chg="undo custSel addSld delSld modSld sldOrd modSection">
      <pc:chgData name="Marie CHAVANE DE DALMASSY" userId="609d1663-dc09-421f-9668-ff88dbdb8749" providerId="ADAL" clId="{23436ED1-6569-46D2-B650-E2217017F59C}" dt="2024-05-24T15:21:58.766" v="7497"/>
      <pc:docMkLst>
        <pc:docMk/>
      </pc:docMkLst>
      <pc:sldChg chg="delSp modSp del mod">
        <pc:chgData name="Marie CHAVANE DE DALMASSY" userId="609d1663-dc09-421f-9668-ff88dbdb8749" providerId="ADAL" clId="{23436ED1-6569-46D2-B650-E2217017F59C}" dt="2024-05-24T13:55:03.631" v="3944" actId="47"/>
        <pc:sldMkLst>
          <pc:docMk/>
          <pc:sldMk cId="55413119" sldId="396"/>
        </pc:sldMkLst>
        <pc:spChg chg="del mod">
          <ac:chgData name="Marie CHAVANE DE DALMASSY" userId="609d1663-dc09-421f-9668-ff88dbdb8749" providerId="ADAL" clId="{23436ED1-6569-46D2-B650-E2217017F59C}" dt="2024-05-24T13:52:58.949" v="3943" actId="478"/>
          <ac:spMkLst>
            <pc:docMk/>
            <pc:sldMk cId="55413119" sldId="396"/>
            <ac:spMk id="13" creationId="{960343DB-B686-5053-8941-D33ACD634CA4}"/>
          </ac:spMkLst>
        </pc:spChg>
      </pc:sldChg>
      <pc:sldChg chg="modSp mod">
        <pc:chgData name="Marie CHAVANE DE DALMASSY" userId="609d1663-dc09-421f-9668-ff88dbdb8749" providerId="ADAL" clId="{23436ED1-6569-46D2-B650-E2217017F59C}" dt="2024-05-24T13:30:05.378" v="3828" actId="20577"/>
        <pc:sldMkLst>
          <pc:docMk/>
          <pc:sldMk cId="4270008294" sldId="2076137872"/>
        </pc:sldMkLst>
        <pc:spChg chg="mod">
          <ac:chgData name="Marie CHAVANE DE DALMASSY" userId="609d1663-dc09-421f-9668-ff88dbdb8749" providerId="ADAL" clId="{23436ED1-6569-46D2-B650-E2217017F59C}" dt="2024-05-24T13:30:05.378" v="3828" actId="20577"/>
          <ac:spMkLst>
            <pc:docMk/>
            <pc:sldMk cId="4270008294" sldId="2076137872"/>
            <ac:spMk id="152" creationId="{19278351-16A5-4D66-B6EE-3227101FF650}"/>
          </ac:spMkLst>
        </pc:spChg>
      </pc:sldChg>
      <pc:sldChg chg="modSp mod">
        <pc:chgData name="Marie CHAVANE DE DALMASSY" userId="609d1663-dc09-421f-9668-ff88dbdb8749" providerId="ADAL" clId="{23436ED1-6569-46D2-B650-E2217017F59C}" dt="2024-05-17T07:34:11.738" v="3" actId="20577"/>
        <pc:sldMkLst>
          <pc:docMk/>
          <pc:sldMk cId="2631033068" sldId="2147229068"/>
        </pc:sldMkLst>
        <pc:spChg chg="mod">
          <ac:chgData name="Marie CHAVANE DE DALMASSY" userId="609d1663-dc09-421f-9668-ff88dbdb8749" providerId="ADAL" clId="{23436ED1-6569-46D2-B650-E2217017F59C}" dt="2024-05-17T07:34:11.738" v="3" actId="20577"/>
          <ac:spMkLst>
            <pc:docMk/>
            <pc:sldMk cId="2631033068" sldId="2147229068"/>
            <ac:spMk id="8" creationId="{18519F9C-9533-4CB0-A13F-EE8F46CDF226}"/>
          </ac:spMkLst>
        </pc:spChg>
      </pc:sldChg>
      <pc:sldChg chg="delCm">
        <pc:chgData name="Marie CHAVANE DE DALMASSY" userId="609d1663-dc09-421f-9668-ff88dbdb8749" providerId="ADAL" clId="{23436ED1-6569-46D2-B650-E2217017F59C}" dt="2024-05-24T13:45:19.952" v="3830"/>
        <pc:sldMkLst>
          <pc:docMk/>
          <pc:sldMk cId="1646583794" sldId="2147473421"/>
        </pc:sldMkLst>
        <pc:extLst>
          <p:ext xmlns:p="http://schemas.openxmlformats.org/presentationml/2006/main" uri="{D6D511B9-2390-475A-947B-AFAB55BFBCF1}">
            <pc226:cmChg xmlns:pc226="http://schemas.microsoft.com/office/powerpoint/2022/06/main/command" chg="del">
              <pc226:chgData name="Marie CHAVANE DE DALMASSY" userId="609d1663-dc09-421f-9668-ff88dbdb8749" providerId="ADAL" clId="{23436ED1-6569-46D2-B650-E2217017F59C}" dt="2024-05-24T13:45:19.952" v="3830"/>
              <pc2:cmMkLst xmlns:pc2="http://schemas.microsoft.com/office/powerpoint/2019/9/main/command">
                <pc:docMk/>
                <pc:sldMk cId="1646583794" sldId="2147473421"/>
                <pc2:cmMk id="{E24242A3-0AF7-4EE8-B701-0F523D1B4432}"/>
              </pc2:cmMkLst>
            </pc226:cmChg>
          </p:ext>
        </pc:extLst>
      </pc:sldChg>
      <pc:sldChg chg="del">
        <pc:chgData name="Marie CHAVANE DE DALMASSY" userId="609d1663-dc09-421f-9668-ff88dbdb8749" providerId="ADAL" clId="{23436ED1-6569-46D2-B650-E2217017F59C}" dt="2024-05-24T13:37:45.547" v="3829" actId="47"/>
        <pc:sldMkLst>
          <pc:docMk/>
          <pc:sldMk cId="4011928000" sldId="2147473429"/>
        </pc:sldMkLst>
      </pc:sldChg>
      <pc:sldChg chg="modSp mod">
        <pc:chgData name="Marie CHAVANE DE DALMASSY" userId="609d1663-dc09-421f-9668-ff88dbdb8749" providerId="ADAL" clId="{23436ED1-6569-46D2-B650-E2217017F59C}" dt="2024-05-22T12:53:41.327" v="3373" actId="2711"/>
        <pc:sldMkLst>
          <pc:docMk/>
          <pc:sldMk cId="2455323060" sldId="2147473457"/>
        </pc:sldMkLst>
        <pc:spChg chg="mod">
          <ac:chgData name="Marie CHAVANE DE DALMASSY" userId="609d1663-dc09-421f-9668-ff88dbdb8749" providerId="ADAL" clId="{23436ED1-6569-46D2-B650-E2217017F59C}" dt="2024-05-22T12:53:41.327" v="3373" actId="2711"/>
          <ac:spMkLst>
            <pc:docMk/>
            <pc:sldMk cId="2455323060" sldId="2147473457"/>
            <ac:spMk id="12" creationId="{D9E6D9C2-8C16-C3F6-D160-C63440F5033B}"/>
          </ac:spMkLst>
        </pc:spChg>
      </pc:sldChg>
      <pc:sldChg chg="ord">
        <pc:chgData name="Marie CHAVANE DE DALMASSY" userId="609d1663-dc09-421f-9668-ff88dbdb8749" providerId="ADAL" clId="{23436ED1-6569-46D2-B650-E2217017F59C}" dt="2024-05-24T15:21:58.766" v="7497"/>
        <pc:sldMkLst>
          <pc:docMk/>
          <pc:sldMk cId="3675638760" sldId="2147478771"/>
        </pc:sldMkLst>
      </pc:sldChg>
      <pc:sldChg chg="addSp delSp modSp mod">
        <pc:chgData name="Marie CHAVANE DE DALMASSY" userId="609d1663-dc09-421f-9668-ff88dbdb8749" providerId="ADAL" clId="{23436ED1-6569-46D2-B650-E2217017F59C}" dt="2024-05-24T13:19:10.740" v="3786" actId="6549"/>
        <pc:sldMkLst>
          <pc:docMk/>
          <pc:sldMk cId="1971018762" sldId="2147478773"/>
        </pc:sldMkLst>
        <pc:spChg chg="add del mod">
          <ac:chgData name="Marie CHAVANE DE DALMASSY" userId="609d1663-dc09-421f-9668-ff88dbdb8749" providerId="ADAL" clId="{23436ED1-6569-46D2-B650-E2217017F59C}" dt="2024-05-24T13:18:04.585" v="3781"/>
          <ac:spMkLst>
            <pc:docMk/>
            <pc:sldMk cId="1971018762" sldId="2147478773"/>
            <ac:spMk id="4" creationId="{20B04889-CE49-AC75-8D67-3D5FA4FB2438}"/>
          </ac:spMkLst>
        </pc:spChg>
        <pc:spChg chg="add del mod">
          <ac:chgData name="Marie CHAVANE DE DALMASSY" userId="609d1663-dc09-421f-9668-ff88dbdb8749" providerId="ADAL" clId="{23436ED1-6569-46D2-B650-E2217017F59C}" dt="2024-05-24T13:19:10.740" v="3786" actId="6549"/>
          <ac:spMkLst>
            <pc:docMk/>
            <pc:sldMk cId="1971018762" sldId="2147478773"/>
            <ac:spMk id="10" creationId="{895E2E25-ACAF-3680-5D66-746163F28FD8}"/>
          </ac:spMkLst>
        </pc:spChg>
      </pc:sldChg>
      <pc:sldChg chg="del">
        <pc:chgData name="Marie CHAVANE DE DALMASSY" userId="609d1663-dc09-421f-9668-ff88dbdb8749" providerId="ADAL" clId="{23436ED1-6569-46D2-B650-E2217017F59C}" dt="2024-05-24T08:48:46.694" v="3669" actId="47"/>
        <pc:sldMkLst>
          <pc:docMk/>
          <pc:sldMk cId="2523852459" sldId="2147481414"/>
        </pc:sldMkLst>
      </pc:sldChg>
      <pc:sldChg chg="modSp add del mod addCm delCm modCm">
        <pc:chgData name="Marie CHAVANE DE DALMASSY" userId="609d1663-dc09-421f-9668-ff88dbdb8749" providerId="ADAL" clId="{23436ED1-6569-46D2-B650-E2217017F59C}" dt="2024-05-24T07:36:58.533" v="3413" actId="20577"/>
        <pc:sldMkLst>
          <pc:docMk/>
          <pc:sldMk cId="2657418220" sldId="2147481419"/>
        </pc:sldMkLst>
        <pc:spChg chg="mod">
          <ac:chgData name="Marie CHAVANE DE DALMASSY" userId="609d1663-dc09-421f-9668-ff88dbdb8749" providerId="ADAL" clId="{23436ED1-6569-46D2-B650-E2217017F59C}" dt="2024-05-24T07:36:58.533" v="3413" actId="20577"/>
          <ac:spMkLst>
            <pc:docMk/>
            <pc:sldMk cId="2657418220" sldId="2147481419"/>
            <ac:spMk id="2" creationId="{09153CF7-2EF0-4034-FABB-EF69E193CC6A}"/>
          </ac:spMkLst>
        </pc:spChg>
        <pc:extLst>
          <p:ext xmlns:p="http://schemas.openxmlformats.org/presentationml/2006/main" uri="{D6D511B9-2390-475A-947B-AFAB55BFBCF1}">
            <pc226:cmChg xmlns:pc226="http://schemas.microsoft.com/office/powerpoint/2022/06/main/command" chg="add del mod">
              <pc226:chgData name="Marie CHAVANE DE DALMASSY" userId="609d1663-dc09-421f-9668-ff88dbdb8749" providerId="ADAL" clId="{23436ED1-6569-46D2-B650-E2217017F59C}" dt="2024-05-24T07:36:55.238" v="3411"/>
              <pc2:cmMkLst xmlns:pc2="http://schemas.microsoft.com/office/powerpoint/2019/9/main/command">
                <pc:docMk/>
                <pc:sldMk cId="2657418220" sldId="2147481419"/>
                <pc2:cmMk id="{D5904122-2780-4B23-B556-DF896C26CF35}"/>
              </pc2:cmMkLst>
              <pc226:cmRplyChg chg="add">
                <pc226:chgData name="Marie CHAVANE DE DALMASSY" userId="609d1663-dc09-421f-9668-ff88dbdb8749" providerId="ADAL" clId="{23436ED1-6569-46D2-B650-E2217017F59C}" dt="2024-05-22T11:42:29.414" v="88"/>
                <pc2:cmRplyMkLst xmlns:pc2="http://schemas.microsoft.com/office/powerpoint/2019/9/main/command">
                  <pc:docMk/>
                  <pc:sldMk cId="2657418220" sldId="2147481419"/>
                  <pc2:cmMk id="{D5904122-2780-4B23-B556-DF896C26CF35}"/>
                  <pc2:cmRplyMk id="{5A9420F6-333F-497D-8638-C6D3A13A9B90}"/>
                </pc2:cmRplyMkLst>
              </pc226:cmRplyChg>
            </pc226:cmChg>
          </p:ext>
        </pc:extLst>
      </pc:sldChg>
      <pc:sldChg chg="delSp mod addCm">
        <pc:chgData name="Marie CHAVANE DE DALMASSY" userId="609d1663-dc09-421f-9668-ff88dbdb8749" providerId="ADAL" clId="{23436ED1-6569-46D2-B650-E2217017F59C}" dt="2024-05-22T13:00:55.274" v="3399"/>
        <pc:sldMkLst>
          <pc:docMk/>
          <pc:sldMk cId="1592835836" sldId="2147481427"/>
        </pc:sldMkLst>
        <pc:spChg chg="del">
          <ac:chgData name="Marie CHAVANE DE DALMASSY" userId="609d1663-dc09-421f-9668-ff88dbdb8749" providerId="ADAL" clId="{23436ED1-6569-46D2-B650-E2217017F59C}" dt="2024-05-22T11:51:48.677" v="89" actId="478"/>
          <ac:spMkLst>
            <pc:docMk/>
            <pc:sldMk cId="1592835836" sldId="2147481427"/>
            <ac:spMk id="2" creationId="{11FC7FFE-2168-A66F-2E83-1932CB846740}"/>
          </ac:spMkLst>
        </pc:spChg>
        <pc:extLst>
          <p:ext xmlns:p="http://schemas.openxmlformats.org/presentationml/2006/main" uri="{D6D511B9-2390-475A-947B-AFAB55BFBCF1}">
            <pc226:cmChg xmlns:pc226="http://schemas.microsoft.com/office/powerpoint/2022/06/main/command" chg="add">
              <pc226:chgData name="Marie CHAVANE DE DALMASSY" userId="609d1663-dc09-421f-9668-ff88dbdb8749" providerId="ADAL" clId="{23436ED1-6569-46D2-B650-E2217017F59C}" dt="2024-05-22T13:00:55.274" v="3399"/>
              <pc2:cmMkLst xmlns:pc2="http://schemas.microsoft.com/office/powerpoint/2019/9/main/command">
                <pc:docMk/>
                <pc:sldMk cId="1592835836" sldId="2147481427"/>
                <pc2:cmMk id="{673497B0-859B-4A97-BF5F-5E9E8FD7D68E}"/>
              </pc2:cmMkLst>
            </pc226:cmChg>
          </p:ext>
        </pc:extLst>
      </pc:sldChg>
      <pc:sldChg chg="addSp delSp modSp mod">
        <pc:chgData name="Marie CHAVANE DE DALMASSY" userId="609d1663-dc09-421f-9668-ff88dbdb8749" providerId="ADAL" clId="{23436ED1-6569-46D2-B650-E2217017F59C}" dt="2024-05-24T15:20:50.826" v="7495" actId="478"/>
        <pc:sldMkLst>
          <pc:docMk/>
          <pc:sldMk cId="4220268473" sldId="2147481428"/>
        </pc:sldMkLst>
        <pc:picChg chg="del mod">
          <ac:chgData name="Marie CHAVANE DE DALMASSY" userId="609d1663-dc09-421f-9668-ff88dbdb8749" providerId="ADAL" clId="{23436ED1-6569-46D2-B650-E2217017F59C}" dt="2024-05-24T15:20:50.826" v="7495" actId="478"/>
          <ac:picMkLst>
            <pc:docMk/>
            <pc:sldMk cId="4220268473" sldId="2147481428"/>
            <ac:picMk id="4" creationId="{895243AE-1E29-A262-C367-0CA611FCEA1C}"/>
          </ac:picMkLst>
        </pc:picChg>
        <pc:picChg chg="add del mod">
          <ac:chgData name="Marie CHAVANE DE DALMASSY" userId="609d1663-dc09-421f-9668-ff88dbdb8749" providerId="ADAL" clId="{23436ED1-6569-46D2-B650-E2217017F59C}" dt="2024-05-24T15:20:07.067" v="7485" actId="478"/>
          <ac:picMkLst>
            <pc:docMk/>
            <pc:sldMk cId="4220268473" sldId="2147481428"/>
            <ac:picMk id="6" creationId="{71DA9C35-DC69-B92F-90AA-D8641461C7D8}"/>
          </ac:picMkLst>
        </pc:picChg>
        <pc:picChg chg="add mod ord">
          <ac:chgData name="Marie CHAVANE DE DALMASSY" userId="609d1663-dc09-421f-9668-ff88dbdb8749" providerId="ADAL" clId="{23436ED1-6569-46D2-B650-E2217017F59C}" dt="2024-05-24T15:20:49.180" v="7494" actId="167"/>
          <ac:picMkLst>
            <pc:docMk/>
            <pc:sldMk cId="4220268473" sldId="2147481428"/>
            <ac:picMk id="12" creationId="{A1A25046-5057-EAD0-53A7-E97CEFB09C4C}"/>
          </ac:picMkLst>
        </pc:picChg>
      </pc:sldChg>
      <pc:sldChg chg="del">
        <pc:chgData name="Marie CHAVANE DE DALMASSY" userId="609d1663-dc09-421f-9668-ff88dbdb8749" providerId="ADAL" clId="{23436ED1-6569-46D2-B650-E2217017F59C}" dt="2024-05-24T08:49:08.400" v="3670" actId="47"/>
        <pc:sldMkLst>
          <pc:docMk/>
          <pc:sldMk cId="4261563678" sldId="2147481437"/>
        </pc:sldMkLst>
      </pc:sldChg>
      <pc:sldChg chg="mod modShow">
        <pc:chgData name="Marie CHAVANE DE DALMASSY" userId="609d1663-dc09-421f-9668-ff88dbdb8749" providerId="ADAL" clId="{23436ED1-6569-46D2-B650-E2217017F59C}" dt="2024-05-24T08:48:41.692" v="3668" actId="729"/>
        <pc:sldMkLst>
          <pc:docMk/>
          <pc:sldMk cId="990596116" sldId="2147481438"/>
        </pc:sldMkLst>
      </pc:sldChg>
      <pc:sldChg chg="del mod modShow">
        <pc:chgData name="Marie CHAVANE DE DALMASSY" userId="609d1663-dc09-421f-9668-ff88dbdb8749" providerId="ADAL" clId="{23436ED1-6569-46D2-B650-E2217017F59C}" dt="2024-05-24T14:37:57.184" v="6257" actId="47"/>
        <pc:sldMkLst>
          <pc:docMk/>
          <pc:sldMk cId="2551971173" sldId="2147481439"/>
        </pc:sldMkLst>
      </pc:sldChg>
      <pc:sldChg chg="mod modShow">
        <pc:chgData name="Marie CHAVANE DE DALMASSY" userId="609d1663-dc09-421f-9668-ff88dbdb8749" providerId="ADAL" clId="{23436ED1-6569-46D2-B650-E2217017F59C}" dt="2024-05-24T08:48:41.692" v="3668" actId="729"/>
        <pc:sldMkLst>
          <pc:docMk/>
          <pc:sldMk cId="1721550936" sldId="2147481441"/>
        </pc:sldMkLst>
      </pc:sldChg>
      <pc:sldChg chg="del mod modShow">
        <pc:chgData name="Marie CHAVANE DE DALMASSY" userId="609d1663-dc09-421f-9668-ff88dbdb8749" providerId="ADAL" clId="{23436ED1-6569-46D2-B650-E2217017F59C}" dt="2024-05-24T14:02:49.057" v="3956" actId="47"/>
        <pc:sldMkLst>
          <pc:docMk/>
          <pc:sldMk cId="3920772411" sldId="2147481442"/>
        </pc:sldMkLst>
      </pc:sldChg>
      <pc:sldChg chg="mod modShow">
        <pc:chgData name="Marie CHAVANE DE DALMASSY" userId="609d1663-dc09-421f-9668-ff88dbdb8749" providerId="ADAL" clId="{23436ED1-6569-46D2-B650-E2217017F59C}" dt="2024-05-24T08:48:41.692" v="3668" actId="729"/>
        <pc:sldMkLst>
          <pc:docMk/>
          <pc:sldMk cId="3849969636" sldId="2147481446"/>
        </pc:sldMkLst>
      </pc:sldChg>
      <pc:sldChg chg="mod modShow">
        <pc:chgData name="Marie CHAVANE DE DALMASSY" userId="609d1663-dc09-421f-9668-ff88dbdb8749" providerId="ADAL" clId="{23436ED1-6569-46D2-B650-E2217017F59C}" dt="2024-05-24T08:48:41.692" v="3668" actId="729"/>
        <pc:sldMkLst>
          <pc:docMk/>
          <pc:sldMk cId="1957683411" sldId="2147481447"/>
        </pc:sldMkLst>
      </pc:sldChg>
      <pc:sldChg chg="add del">
        <pc:chgData name="Marie CHAVANE DE DALMASSY" userId="609d1663-dc09-421f-9668-ff88dbdb8749" providerId="ADAL" clId="{23436ED1-6569-46D2-B650-E2217017F59C}" dt="2024-05-24T07:27:28.644" v="3401" actId="47"/>
        <pc:sldMkLst>
          <pc:docMk/>
          <pc:sldMk cId="3743689127" sldId="2147481452"/>
        </pc:sldMkLst>
      </pc:sldChg>
      <pc:sldChg chg="del">
        <pc:chgData name="Marie CHAVANE DE DALMASSY" userId="609d1663-dc09-421f-9668-ff88dbdb8749" providerId="ADAL" clId="{23436ED1-6569-46D2-B650-E2217017F59C}" dt="2024-05-24T14:02:36.951" v="3955" actId="47"/>
        <pc:sldMkLst>
          <pc:docMk/>
          <pc:sldMk cId="1723512651" sldId="2147481460"/>
        </pc:sldMkLst>
      </pc:sldChg>
      <pc:sldChg chg="del">
        <pc:chgData name="Marie CHAVANE DE DALMASSY" userId="609d1663-dc09-421f-9668-ff88dbdb8749" providerId="ADAL" clId="{23436ED1-6569-46D2-B650-E2217017F59C}" dt="2024-05-24T14:02:36.951" v="3955" actId="47"/>
        <pc:sldMkLst>
          <pc:docMk/>
          <pc:sldMk cId="4048011549" sldId="2147481461"/>
        </pc:sldMkLst>
      </pc:sldChg>
      <pc:sldChg chg="addSp delSp modSp mod">
        <pc:chgData name="Marie CHAVANE DE DALMASSY" userId="609d1663-dc09-421f-9668-ff88dbdb8749" providerId="ADAL" clId="{23436ED1-6569-46D2-B650-E2217017F59C}" dt="2024-05-24T14:55:25.282" v="7276" actId="478"/>
        <pc:sldMkLst>
          <pc:docMk/>
          <pc:sldMk cId="3767276350" sldId="2147481469"/>
        </pc:sldMkLst>
        <pc:spChg chg="mod">
          <ac:chgData name="Marie CHAVANE DE DALMASSY" userId="609d1663-dc09-421f-9668-ff88dbdb8749" providerId="ADAL" clId="{23436ED1-6569-46D2-B650-E2217017F59C}" dt="2024-05-24T14:55:23.468" v="7275" actId="14100"/>
          <ac:spMkLst>
            <pc:docMk/>
            <pc:sldMk cId="3767276350" sldId="2147481469"/>
            <ac:spMk id="2" creationId="{91251FF5-1F06-0806-3D41-656118FAF9D6}"/>
          </ac:spMkLst>
        </pc:spChg>
        <pc:spChg chg="del mod">
          <ac:chgData name="Marie CHAVANE DE DALMASSY" userId="609d1663-dc09-421f-9668-ff88dbdb8749" providerId="ADAL" clId="{23436ED1-6569-46D2-B650-E2217017F59C}" dt="2024-05-24T12:58:09.077" v="3767" actId="478"/>
          <ac:spMkLst>
            <pc:docMk/>
            <pc:sldMk cId="3767276350" sldId="2147481469"/>
            <ac:spMk id="5" creationId="{9E0DE324-07DD-1C49-36D9-4F0A95EDA99B}"/>
          </ac:spMkLst>
        </pc:spChg>
        <pc:spChg chg="del mod">
          <ac:chgData name="Marie CHAVANE DE DALMASSY" userId="609d1663-dc09-421f-9668-ff88dbdb8749" providerId="ADAL" clId="{23436ED1-6569-46D2-B650-E2217017F59C}" dt="2024-05-24T12:58:07.661" v="3766" actId="478"/>
          <ac:spMkLst>
            <pc:docMk/>
            <pc:sldMk cId="3767276350" sldId="2147481469"/>
            <ac:spMk id="6" creationId="{6159C621-682D-AEAE-D2F3-43D2532F969B}"/>
          </ac:spMkLst>
        </pc:spChg>
        <pc:spChg chg="add del mod">
          <ac:chgData name="Marie CHAVANE DE DALMASSY" userId="609d1663-dc09-421f-9668-ff88dbdb8749" providerId="ADAL" clId="{23436ED1-6569-46D2-B650-E2217017F59C}" dt="2024-05-22T12:26:41.535" v="2203" actId="478"/>
          <ac:spMkLst>
            <pc:docMk/>
            <pc:sldMk cId="3767276350" sldId="2147481469"/>
            <ac:spMk id="7" creationId="{53DD0C7C-DC8C-AEEA-583B-C4C486DF9F6E}"/>
          </ac:spMkLst>
        </pc:spChg>
        <pc:spChg chg="add del mod">
          <ac:chgData name="Marie CHAVANE DE DALMASSY" userId="609d1663-dc09-421f-9668-ff88dbdb8749" providerId="ADAL" clId="{23436ED1-6569-46D2-B650-E2217017F59C}" dt="2024-05-24T14:55:25.282" v="7276" actId="478"/>
          <ac:spMkLst>
            <pc:docMk/>
            <pc:sldMk cId="3767276350" sldId="2147481469"/>
            <ac:spMk id="8" creationId="{9401E4CB-590B-4FDE-09CB-9F4EEC0F4874}"/>
          </ac:spMkLst>
        </pc:spChg>
        <pc:graphicFrameChg chg="mod modGraphic">
          <ac:chgData name="Marie CHAVANE DE DALMASSY" userId="609d1663-dc09-421f-9668-ff88dbdb8749" providerId="ADAL" clId="{23436ED1-6569-46D2-B650-E2217017F59C}" dt="2024-05-24T14:54:09.175" v="7271"/>
          <ac:graphicFrameMkLst>
            <pc:docMk/>
            <pc:sldMk cId="3767276350" sldId="2147481469"/>
            <ac:graphicFrameMk id="4" creationId="{868DAC96-CB41-D4D4-D037-AA7301259B0A}"/>
          </ac:graphicFrameMkLst>
        </pc:graphicFrameChg>
        <pc:graphicFrameChg chg="add del mod">
          <ac:chgData name="Marie CHAVANE DE DALMASSY" userId="609d1663-dc09-421f-9668-ff88dbdb8749" providerId="ADAL" clId="{23436ED1-6569-46D2-B650-E2217017F59C}" dt="2024-05-24T14:54:14.246" v="7272" actId="478"/>
          <ac:graphicFrameMkLst>
            <pc:docMk/>
            <pc:sldMk cId="3767276350" sldId="2147481469"/>
            <ac:graphicFrameMk id="10" creationId="{D2DD80AC-9D16-6ED3-BAF4-D11666B2DD79}"/>
          </ac:graphicFrameMkLst>
        </pc:graphicFrameChg>
      </pc:sldChg>
      <pc:sldChg chg="addSp delSp modSp mod">
        <pc:chgData name="Marie CHAVANE DE DALMASSY" userId="609d1663-dc09-421f-9668-ff88dbdb8749" providerId="ADAL" clId="{23436ED1-6569-46D2-B650-E2217017F59C}" dt="2024-05-22T12:35:51.263" v="3054" actId="20577"/>
        <pc:sldMkLst>
          <pc:docMk/>
          <pc:sldMk cId="3733874089" sldId="2147481470"/>
        </pc:sldMkLst>
        <pc:spChg chg="mod">
          <ac:chgData name="Marie CHAVANE DE DALMASSY" userId="609d1663-dc09-421f-9668-ff88dbdb8749" providerId="ADAL" clId="{23436ED1-6569-46D2-B650-E2217017F59C}" dt="2024-05-22T12:24:53.205" v="2187" actId="14100"/>
          <ac:spMkLst>
            <pc:docMk/>
            <pc:sldMk cId="3733874089" sldId="2147481470"/>
            <ac:spMk id="2" creationId="{91251FF5-1F06-0806-3D41-656118FAF9D6}"/>
          </ac:spMkLst>
        </pc:spChg>
        <pc:graphicFrameChg chg="mod modGraphic">
          <ac:chgData name="Marie CHAVANE DE DALMASSY" userId="609d1663-dc09-421f-9668-ff88dbdb8749" providerId="ADAL" clId="{23436ED1-6569-46D2-B650-E2217017F59C}" dt="2024-05-22T12:35:51.263" v="3054" actId="20577"/>
          <ac:graphicFrameMkLst>
            <pc:docMk/>
            <pc:sldMk cId="3733874089" sldId="2147481470"/>
            <ac:graphicFrameMk id="4" creationId="{868DAC96-CB41-D4D4-D037-AA7301259B0A}"/>
          </ac:graphicFrameMkLst>
        </pc:graphicFrameChg>
        <pc:graphicFrameChg chg="add del">
          <ac:chgData name="Marie CHAVANE DE DALMASSY" userId="609d1663-dc09-421f-9668-ff88dbdb8749" providerId="ADAL" clId="{23436ED1-6569-46D2-B650-E2217017F59C}" dt="2024-05-22T12:26:35.403" v="2202" actId="478"/>
          <ac:graphicFrameMkLst>
            <pc:docMk/>
            <pc:sldMk cId="3733874089" sldId="2147481470"/>
            <ac:graphicFrameMk id="5" creationId="{91A330FA-47DE-B730-D241-84F67E59BCE3}"/>
          </ac:graphicFrameMkLst>
        </pc:graphicFrameChg>
      </pc:sldChg>
      <pc:sldChg chg="addSp delSp modSp mod ord">
        <pc:chgData name="Marie CHAVANE DE DALMASSY" userId="609d1663-dc09-421f-9668-ff88dbdb8749" providerId="ADAL" clId="{23436ED1-6569-46D2-B650-E2217017F59C}" dt="2024-05-24T14:58:13.325" v="7475" actId="207"/>
        <pc:sldMkLst>
          <pc:docMk/>
          <pc:sldMk cId="3821220696" sldId="2147481470"/>
        </pc:sldMkLst>
        <pc:spChg chg="mod">
          <ac:chgData name="Marie CHAVANE DE DALMASSY" userId="609d1663-dc09-421f-9668-ff88dbdb8749" providerId="ADAL" clId="{23436ED1-6569-46D2-B650-E2217017F59C}" dt="2024-05-24T14:49:55.540" v="7068" actId="14100"/>
          <ac:spMkLst>
            <pc:docMk/>
            <pc:sldMk cId="3821220696" sldId="2147481470"/>
            <ac:spMk id="2" creationId="{91251FF5-1F06-0806-3D41-656118FAF9D6}"/>
          </ac:spMkLst>
        </pc:spChg>
        <pc:spChg chg="add del mod">
          <ac:chgData name="Marie CHAVANE DE DALMASSY" userId="609d1663-dc09-421f-9668-ff88dbdb8749" providerId="ADAL" clId="{23436ED1-6569-46D2-B650-E2217017F59C}" dt="2024-05-24T14:45:56.734" v="6784" actId="478"/>
          <ac:spMkLst>
            <pc:docMk/>
            <pc:sldMk cId="3821220696" sldId="2147481470"/>
            <ac:spMk id="5" creationId="{C3E26EB8-2865-FC08-B8F9-14B38004EF30}"/>
          </ac:spMkLst>
        </pc:spChg>
        <pc:spChg chg="add mod">
          <ac:chgData name="Marie CHAVANE DE DALMASSY" userId="609d1663-dc09-421f-9668-ff88dbdb8749" providerId="ADAL" clId="{23436ED1-6569-46D2-B650-E2217017F59C}" dt="2024-05-24T14:58:13.325" v="7475" actId="207"/>
          <ac:spMkLst>
            <pc:docMk/>
            <pc:sldMk cId="3821220696" sldId="2147481470"/>
            <ac:spMk id="7" creationId="{A94409BD-DCB5-3108-A67B-96BDE1565CDE}"/>
          </ac:spMkLst>
        </pc:spChg>
        <pc:graphicFrameChg chg="mod modGraphic">
          <ac:chgData name="Marie CHAVANE DE DALMASSY" userId="609d1663-dc09-421f-9668-ff88dbdb8749" providerId="ADAL" clId="{23436ED1-6569-46D2-B650-E2217017F59C}" dt="2024-05-24T14:57:02.775" v="7420" actId="207"/>
          <ac:graphicFrameMkLst>
            <pc:docMk/>
            <pc:sldMk cId="3821220696" sldId="2147481470"/>
            <ac:graphicFrameMk id="4" creationId="{868DAC96-CB41-D4D4-D037-AA7301259B0A}"/>
          </ac:graphicFrameMkLst>
        </pc:graphicFrameChg>
      </pc:sldChg>
      <pc:sldChg chg="ord">
        <pc:chgData name="Marie CHAVANE DE DALMASSY" userId="609d1663-dc09-421f-9668-ff88dbdb8749" providerId="ADAL" clId="{23436ED1-6569-46D2-B650-E2217017F59C}" dt="2024-05-24T08:34:04.971" v="3521"/>
        <pc:sldMkLst>
          <pc:docMk/>
          <pc:sldMk cId="2603257548" sldId="2147481471"/>
        </pc:sldMkLst>
      </pc:sldChg>
      <pc:sldChg chg="modSp mod">
        <pc:chgData name="Marie CHAVANE DE DALMASSY" userId="609d1663-dc09-421f-9668-ff88dbdb8749" providerId="ADAL" clId="{23436ED1-6569-46D2-B650-E2217017F59C}" dt="2024-05-24T13:47:20.650" v="3848" actId="13926"/>
        <pc:sldMkLst>
          <pc:docMk/>
          <pc:sldMk cId="3648027924" sldId="2147481472"/>
        </pc:sldMkLst>
        <pc:spChg chg="mod">
          <ac:chgData name="Marie CHAVANE DE DALMASSY" userId="609d1663-dc09-421f-9668-ff88dbdb8749" providerId="ADAL" clId="{23436ED1-6569-46D2-B650-E2217017F59C}" dt="2024-05-24T13:47:20.650" v="3848" actId="13926"/>
          <ac:spMkLst>
            <pc:docMk/>
            <pc:sldMk cId="3648027924" sldId="2147481472"/>
            <ac:spMk id="9" creationId="{A0F9A617-2BBC-4936-7671-F1E6E7526787}"/>
          </ac:spMkLst>
        </pc:spChg>
        <pc:spChg chg="mod">
          <ac:chgData name="Marie CHAVANE DE DALMASSY" userId="609d1663-dc09-421f-9668-ff88dbdb8749" providerId="ADAL" clId="{23436ED1-6569-46D2-B650-E2217017F59C}" dt="2024-05-22T13:00:00.003" v="3398" actId="404"/>
          <ac:spMkLst>
            <pc:docMk/>
            <pc:sldMk cId="3648027924" sldId="2147481472"/>
            <ac:spMk id="17" creationId="{A805F1ED-7209-4707-B1F6-9AF87973E6C9}"/>
          </ac:spMkLst>
        </pc:spChg>
      </pc:sldChg>
      <pc:sldChg chg="modSp mod">
        <pc:chgData name="Marie CHAVANE DE DALMASSY" userId="609d1663-dc09-421f-9668-ff88dbdb8749" providerId="ADAL" clId="{23436ED1-6569-46D2-B650-E2217017F59C}" dt="2024-05-24T13:52:16.635" v="3942" actId="6549"/>
        <pc:sldMkLst>
          <pc:docMk/>
          <pc:sldMk cId="3019888869" sldId="2147481473"/>
        </pc:sldMkLst>
        <pc:spChg chg="mod">
          <ac:chgData name="Marie CHAVANE DE DALMASSY" userId="609d1663-dc09-421f-9668-ff88dbdb8749" providerId="ADAL" clId="{23436ED1-6569-46D2-B650-E2217017F59C}" dt="2024-05-24T13:48:24.397" v="3872" actId="20577"/>
          <ac:spMkLst>
            <pc:docMk/>
            <pc:sldMk cId="3019888869" sldId="2147481473"/>
            <ac:spMk id="9" creationId="{A0F9A617-2BBC-4936-7671-F1E6E7526787}"/>
          </ac:spMkLst>
        </pc:spChg>
        <pc:spChg chg="mod">
          <ac:chgData name="Marie CHAVANE DE DALMASSY" userId="609d1663-dc09-421f-9668-ff88dbdb8749" providerId="ADAL" clId="{23436ED1-6569-46D2-B650-E2217017F59C}" dt="2024-05-24T13:52:16.635" v="3942" actId="6549"/>
          <ac:spMkLst>
            <pc:docMk/>
            <pc:sldMk cId="3019888869" sldId="2147481473"/>
            <ac:spMk id="17" creationId="{A805F1ED-7209-4707-B1F6-9AF87973E6C9}"/>
          </ac:spMkLst>
        </pc:spChg>
      </pc:sldChg>
      <pc:sldChg chg="addSp delSp modSp add mod ord">
        <pc:chgData name="Marie CHAVANE DE DALMASSY" userId="609d1663-dc09-421f-9668-ff88dbdb8749" providerId="ADAL" clId="{23436ED1-6569-46D2-B650-E2217017F59C}" dt="2024-05-22T12:58:08.386" v="3394" actId="1076"/>
        <pc:sldMkLst>
          <pc:docMk/>
          <pc:sldMk cId="2881007127" sldId="2147481474"/>
        </pc:sldMkLst>
        <pc:spChg chg="add mod">
          <ac:chgData name="Marie CHAVANE DE DALMASSY" userId="609d1663-dc09-421f-9668-ff88dbdb8749" providerId="ADAL" clId="{23436ED1-6569-46D2-B650-E2217017F59C}" dt="2024-05-22T12:53:48.970" v="3375" actId="114"/>
          <ac:spMkLst>
            <pc:docMk/>
            <pc:sldMk cId="2881007127" sldId="2147481474"/>
            <ac:spMk id="2" creationId="{E1B72F1D-69BB-6FAE-D90E-0B8820384148}"/>
          </ac:spMkLst>
        </pc:spChg>
        <pc:spChg chg="mod">
          <ac:chgData name="Marie CHAVANE DE DALMASSY" userId="609d1663-dc09-421f-9668-ff88dbdb8749" providerId="ADAL" clId="{23436ED1-6569-46D2-B650-E2217017F59C}" dt="2024-05-22T12:52:45.426" v="3338" actId="20577"/>
          <ac:spMkLst>
            <pc:docMk/>
            <pc:sldMk cId="2881007127" sldId="2147481474"/>
            <ac:spMk id="3" creationId="{66B5D2F6-417A-1FD6-D838-E891DAA248BE}"/>
          </ac:spMkLst>
        </pc:spChg>
        <pc:grpChg chg="add mod">
          <ac:chgData name="Marie CHAVANE DE DALMASSY" userId="609d1663-dc09-421f-9668-ff88dbdb8749" providerId="ADAL" clId="{23436ED1-6569-46D2-B650-E2217017F59C}" dt="2024-05-22T12:58:08.386" v="3394" actId="1076"/>
          <ac:grpSpMkLst>
            <pc:docMk/>
            <pc:sldMk cId="2881007127" sldId="2147481474"/>
            <ac:grpSpMk id="11" creationId="{25ECF5BD-DA11-1015-01BA-41CE704DB5A7}"/>
          </ac:grpSpMkLst>
        </pc:grpChg>
        <pc:graphicFrameChg chg="del">
          <ac:chgData name="Marie CHAVANE DE DALMASSY" userId="609d1663-dc09-421f-9668-ff88dbdb8749" providerId="ADAL" clId="{23436ED1-6569-46D2-B650-E2217017F59C}" dt="2024-05-22T11:53:04.493" v="98" actId="478"/>
          <ac:graphicFrameMkLst>
            <pc:docMk/>
            <pc:sldMk cId="2881007127" sldId="2147481474"/>
            <ac:graphicFrameMk id="4" creationId="{4E63152A-9CDF-3A98-503B-E1A0B69B6CEE}"/>
          </ac:graphicFrameMkLst>
        </pc:graphicFrameChg>
        <pc:picChg chg="add del mod">
          <ac:chgData name="Marie CHAVANE DE DALMASSY" userId="609d1663-dc09-421f-9668-ff88dbdb8749" providerId="ADAL" clId="{23436ED1-6569-46D2-B650-E2217017F59C}" dt="2024-05-22T12:55:03.218" v="3379" actId="478"/>
          <ac:picMkLst>
            <pc:docMk/>
            <pc:sldMk cId="2881007127" sldId="2147481474"/>
            <ac:picMk id="6" creationId="{5BE709AC-2AF4-6E43-BF97-BFD2EE593474}"/>
          </ac:picMkLst>
        </pc:picChg>
        <pc:picChg chg="add mod">
          <ac:chgData name="Marie CHAVANE DE DALMASSY" userId="609d1663-dc09-421f-9668-ff88dbdb8749" providerId="ADAL" clId="{23436ED1-6569-46D2-B650-E2217017F59C}" dt="2024-05-22T12:58:03.334" v="3393" actId="164"/>
          <ac:picMkLst>
            <pc:docMk/>
            <pc:sldMk cId="2881007127" sldId="2147481474"/>
            <ac:picMk id="8" creationId="{CC8CAFE6-5C9D-A954-9679-67AEB5048119}"/>
          </ac:picMkLst>
        </pc:picChg>
        <pc:picChg chg="add mod">
          <ac:chgData name="Marie CHAVANE DE DALMASSY" userId="609d1663-dc09-421f-9668-ff88dbdb8749" providerId="ADAL" clId="{23436ED1-6569-46D2-B650-E2217017F59C}" dt="2024-05-22T12:58:03.334" v="3393" actId="164"/>
          <ac:picMkLst>
            <pc:docMk/>
            <pc:sldMk cId="2881007127" sldId="2147481474"/>
            <ac:picMk id="10" creationId="{5E5D96F4-75A5-505D-2353-E700627E1D91}"/>
          </ac:picMkLst>
        </pc:picChg>
      </pc:sldChg>
      <pc:sldChg chg="addSp delSp modSp new mod">
        <pc:chgData name="Marie CHAVANE DE DALMASSY" userId="609d1663-dc09-421f-9668-ff88dbdb8749" providerId="ADAL" clId="{23436ED1-6569-46D2-B650-E2217017F59C}" dt="2024-05-24T10:15:02.074" v="3763" actId="20577"/>
        <pc:sldMkLst>
          <pc:docMk/>
          <pc:sldMk cId="2892342628" sldId="2147481477"/>
        </pc:sldMkLst>
        <pc:spChg chg="del">
          <ac:chgData name="Marie CHAVANE DE DALMASSY" userId="609d1663-dc09-421f-9668-ff88dbdb8749" providerId="ADAL" clId="{23436ED1-6569-46D2-B650-E2217017F59C}" dt="2024-05-24T08:43:13.790" v="3602" actId="478"/>
          <ac:spMkLst>
            <pc:docMk/>
            <pc:sldMk cId="2892342628" sldId="2147481477"/>
            <ac:spMk id="2" creationId="{D4192BE3-1103-B36D-7260-4A1C0B8E596B}"/>
          </ac:spMkLst>
        </pc:spChg>
        <pc:spChg chg="mod">
          <ac:chgData name="Marie CHAVANE DE DALMASSY" userId="609d1663-dc09-421f-9668-ff88dbdb8749" providerId="ADAL" clId="{23436ED1-6569-46D2-B650-E2217017F59C}" dt="2024-05-24T10:15:02.074" v="3763" actId="20577"/>
          <ac:spMkLst>
            <pc:docMk/>
            <pc:sldMk cId="2892342628" sldId="2147481477"/>
            <ac:spMk id="3" creationId="{C5FD339F-F2C3-2C42-B645-7229FDC315DC}"/>
          </ac:spMkLst>
        </pc:spChg>
        <pc:spChg chg="add mod">
          <ac:chgData name="Marie CHAVANE DE DALMASSY" userId="609d1663-dc09-421f-9668-ff88dbdb8749" providerId="ADAL" clId="{23436ED1-6569-46D2-B650-E2217017F59C}" dt="2024-05-24T08:44:23.631" v="3615"/>
          <ac:spMkLst>
            <pc:docMk/>
            <pc:sldMk cId="2892342628" sldId="2147481477"/>
            <ac:spMk id="10" creationId="{55BB2428-4132-F171-88C8-B37DAB84A7F7}"/>
          </ac:spMkLst>
        </pc:spChg>
        <pc:grpChg chg="add mod">
          <ac:chgData name="Marie CHAVANE DE DALMASSY" userId="609d1663-dc09-421f-9668-ff88dbdb8749" providerId="ADAL" clId="{23436ED1-6569-46D2-B650-E2217017F59C}" dt="2024-05-24T08:44:55.507" v="3640" actId="164"/>
          <ac:grpSpMkLst>
            <pc:docMk/>
            <pc:sldMk cId="2892342628" sldId="2147481477"/>
            <ac:grpSpMk id="11" creationId="{DDAAA28D-A8F0-8B44-31BD-7C6BC5FD612B}"/>
          </ac:grpSpMkLst>
        </pc:grpChg>
        <pc:picChg chg="add mod">
          <ac:chgData name="Marie CHAVANE DE DALMASSY" userId="609d1663-dc09-421f-9668-ff88dbdb8749" providerId="ADAL" clId="{23436ED1-6569-46D2-B650-E2217017F59C}" dt="2024-05-24T08:44:55.507" v="3640" actId="164"/>
          <ac:picMkLst>
            <pc:docMk/>
            <pc:sldMk cId="2892342628" sldId="2147481477"/>
            <ac:picMk id="5" creationId="{88E98005-D1A6-0578-6EF3-ED5208E7443F}"/>
          </ac:picMkLst>
        </pc:picChg>
        <pc:picChg chg="add mod">
          <ac:chgData name="Marie CHAVANE DE DALMASSY" userId="609d1663-dc09-421f-9668-ff88dbdb8749" providerId="ADAL" clId="{23436ED1-6569-46D2-B650-E2217017F59C}" dt="2024-05-24T08:44:55.507" v="3640" actId="164"/>
          <ac:picMkLst>
            <pc:docMk/>
            <pc:sldMk cId="2892342628" sldId="2147481477"/>
            <ac:picMk id="7" creationId="{C0577709-AF10-D298-C070-FC5204638429}"/>
          </ac:picMkLst>
        </pc:picChg>
        <pc:picChg chg="add mod">
          <ac:chgData name="Marie CHAVANE DE DALMASSY" userId="609d1663-dc09-421f-9668-ff88dbdb8749" providerId="ADAL" clId="{23436ED1-6569-46D2-B650-E2217017F59C}" dt="2024-05-24T08:44:55.507" v="3640" actId="164"/>
          <ac:picMkLst>
            <pc:docMk/>
            <pc:sldMk cId="2892342628" sldId="2147481477"/>
            <ac:picMk id="9" creationId="{5C90E83C-8844-E031-FF9E-E6BBB302B920}"/>
          </ac:picMkLst>
        </pc:picChg>
      </pc:sldChg>
      <pc:sldChg chg="addSp delSp modSp add mod">
        <pc:chgData name="Marie CHAVANE DE DALMASSY" userId="609d1663-dc09-421f-9668-ff88dbdb8749" providerId="ADAL" clId="{23436ED1-6569-46D2-B650-E2217017F59C}" dt="2024-05-24T13:29:11.625" v="3787"/>
        <pc:sldMkLst>
          <pc:docMk/>
          <pc:sldMk cId="3459824402" sldId="2147481479"/>
        </pc:sldMkLst>
        <pc:spChg chg="mod">
          <ac:chgData name="Marie CHAVANE DE DALMASSY" userId="609d1663-dc09-421f-9668-ff88dbdb8749" providerId="ADAL" clId="{23436ED1-6569-46D2-B650-E2217017F59C}" dt="2024-05-24T13:29:11.625" v="3787"/>
          <ac:spMkLst>
            <pc:docMk/>
            <pc:sldMk cId="3459824402" sldId="2147481479"/>
            <ac:spMk id="3" creationId="{C5FD339F-F2C3-2C42-B645-7229FDC315DC}"/>
          </ac:spMkLst>
        </pc:spChg>
        <pc:spChg chg="add mod">
          <ac:chgData name="Marie CHAVANE DE DALMASSY" userId="609d1663-dc09-421f-9668-ff88dbdb8749" providerId="ADAL" clId="{23436ED1-6569-46D2-B650-E2217017F59C}" dt="2024-05-24T09:58:56.405" v="3706"/>
          <ac:spMkLst>
            <pc:docMk/>
            <pc:sldMk cId="3459824402" sldId="2147481479"/>
            <ac:spMk id="6" creationId="{6A155A23-C3E5-1676-FC1D-2427C16FC807}"/>
          </ac:spMkLst>
        </pc:spChg>
        <pc:spChg chg="del">
          <ac:chgData name="Marie CHAVANE DE DALMASSY" userId="609d1663-dc09-421f-9668-ff88dbdb8749" providerId="ADAL" clId="{23436ED1-6569-46D2-B650-E2217017F59C}" dt="2024-05-24T09:56:16.147" v="3696" actId="478"/>
          <ac:spMkLst>
            <pc:docMk/>
            <pc:sldMk cId="3459824402" sldId="2147481479"/>
            <ac:spMk id="10" creationId="{55BB2428-4132-F171-88C8-B37DAB84A7F7}"/>
          </ac:spMkLst>
        </pc:spChg>
        <pc:grpChg chg="del">
          <ac:chgData name="Marie CHAVANE DE DALMASSY" userId="609d1663-dc09-421f-9668-ff88dbdb8749" providerId="ADAL" clId="{23436ED1-6569-46D2-B650-E2217017F59C}" dt="2024-05-24T09:56:16.631" v="3697" actId="478"/>
          <ac:grpSpMkLst>
            <pc:docMk/>
            <pc:sldMk cId="3459824402" sldId="2147481479"/>
            <ac:grpSpMk id="11" creationId="{DDAAA28D-A8F0-8B44-31BD-7C6BC5FD612B}"/>
          </ac:grpSpMkLst>
        </pc:grpChg>
        <pc:grpChg chg="add mod">
          <ac:chgData name="Marie CHAVANE DE DALMASSY" userId="609d1663-dc09-421f-9668-ff88dbdb8749" providerId="ADAL" clId="{23436ED1-6569-46D2-B650-E2217017F59C}" dt="2024-05-24T10:05:40.547" v="3746" actId="1076"/>
          <ac:grpSpMkLst>
            <pc:docMk/>
            <pc:sldMk cId="3459824402" sldId="2147481479"/>
            <ac:grpSpMk id="16" creationId="{529E2520-4AA9-6C0F-B196-29CC61C41A54}"/>
          </ac:grpSpMkLst>
        </pc:grpChg>
        <pc:grpChg chg="add mod">
          <ac:chgData name="Marie CHAVANE DE DALMASSY" userId="609d1663-dc09-421f-9668-ff88dbdb8749" providerId="ADAL" clId="{23436ED1-6569-46D2-B650-E2217017F59C}" dt="2024-05-24T10:05:54.603" v="3752" actId="1036"/>
          <ac:grpSpMkLst>
            <pc:docMk/>
            <pc:sldMk cId="3459824402" sldId="2147481479"/>
            <ac:grpSpMk id="17" creationId="{2337385B-3D20-8EAF-3CFB-45C3281D6CB7}"/>
          </ac:grpSpMkLst>
        </pc:grpChg>
        <pc:picChg chg="add mod modCrop">
          <ac:chgData name="Marie CHAVANE DE DALMASSY" userId="609d1663-dc09-421f-9668-ff88dbdb8749" providerId="ADAL" clId="{23436ED1-6569-46D2-B650-E2217017F59C}" dt="2024-05-24T10:05:02.352" v="3726" actId="164"/>
          <ac:picMkLst>
            <pc:docMk/>
            <pc:sldMk cId="3459824402" sldId="2147481479"/>
            <ac:picMk id="4" creationId="{BA8862DC-ABED-61E5-343E-A826A61B3C58}"/>
          </ac:picMkLst>
        </pc:picChg>
        <pc:picChg chg="add mod modCrop">
          <ac:chgData name="Marie CHAVANE DE DALMASSY" userId="609d1663-dc09-421f-9668-ff88dbdb8749" providerId="ADAL" clId="{23436ED1-6569-46D2-B650-E2217017F59C}" dt="2024-05-24T10:05:02.352" v="3726" actId="164"/>
          <ac:picMkLst>
            <pc:docMk/>
            <pc:sldMk cId="3459824402" sldId="2147481479"/>
            <ac:picMk id="12" creationId="{84ECD4AF-5AE2-B234-FCC0-38D62C941E6E}"/>
          </ac:picMkLst>
        </pc:picChg>
        <pc:picChg chg="add mod">
          <ac:chgData name="Marie CHAVANE DE DALMASSY" userId="609d1663-dc09-421f-9668-ff88dbdb8749" providerId="ADAL" clId="{23436ED1-6569-46D2-B650-E2217017F59C}" dt="2024-05-24T10:05:36.118" v="3745" actId="164"/>
          <ac:picMkLst>
            <pc:docMk/>
            <pc:sldMk cId="3459824402" sldId="2147481479"/>
            <ac:picMk id="14" creationId="{8096066C-B688-E9DC-2957-CF7D60BAF2B4}"/>
          </ac:picMkLst>
        </pc:picChg>
        <pc:picChg chg="add mod modCrop">
          <ac:chgData name="Marie CHAVANE DE DALMASSY" userId="609d1663-dc09-421f-9668-ff88dbdb8749" providerId="ADAL" clId="{23436ED1-6569-46D2-B650-E2217017F59C}" dt="2024-05-24T10:05:36.118" v="3745" actId="164"/>
          <ac:picMkLst>
            <pc:docMk/>
            <pc:sldMk cId="3459824402" sldId="2147481479"/>
            <ac:picMk id="15" creationId="{1616A60B-C8BC-77EA-5703-18EE9B7805F9}"/>
          </ac:picMkLst>
        </pc:picChg>
      </pc:sldChg>
      <pc:sldChg chg="add">
        <pc:chgData name="Marie CHAVANE DE DALMASSY" userId="609d1663-dc09-421f-9668-ff88dbdb8749" providerId="ADAL" clId="{23436ED1-6569-46D2-B650-E2217017F59C}" dt="2024-05-24T13:58:09.138" v="3947"/>
        <pc:sldMkLst>
          <pc:docMk/>
          <pc:sldMk cId="3793483109" sldId="2147481481"/>
        </pc:sldMkLst>
      </pc:sldChg>
      <pc:sldChg chg="delSp add mod">
        <pc:chgData name="Marie CHAVANE DE DALMASSY" userId="609d1663-dc09-421f-9668-ff88dbdb8749" providerId="ADAL" clId="{23436ED1-6569-46D2-B650-E2217017F59C}" dt="2024-05-24T13:58:12.781" v="3948" actId="478"/>
        <pc:sldMkLst>
          <pc:docMk/>
          <pc:sldMk cId="2845083802" sldId="2147481482"/>
        </pc:sldMkLst>
        <pc:spChg chg="del">
          <ac:chgData name="Marie CHAVANE DE DALMASSY" userId="609d1663-dc09-421f-9668-ff88dbdb8749" providerId="ADAL" clId="{23436ED1-6569-46D2-B650-E2217017F59C}" dt="2024-05-24T13:58:12.781" v="3948" actId="478"/>
          <ac:spMkLst>
            <pc:docMk/>
            <pc:sldMk cId="2845083802" sldId="2147481482"/>
            <ac:spMk id="19" creationId="{36736309-53A4-6DAC-94F3-B07482F9AF26}"/>
          </ac:spMkLst>
        </pc:spChg>
      </pc:sldChg>
      <pc:sldChg chg="delSp add mod">
        <pc:chgData name="Marie CHAVANE DE DALMASSY" userId="609d1663-dc09-421f-9668-ff88dbdb8749" providerId="ADAL" clId="{23436ED1-6569-46D2-B650-E2217017F59C}" dt="2024-05-24T13:58:15.416" v="3949" actId="478"/>
        <pc:sldMkLst>
          <pc:docMk/>
          <pc:sldMk cId="3456818246" sldId="2147481483"/>
        </pc:sldMkLst>
        <pc:spChg chg="del">
          <ac:chgData name="Marie CHAVANE DE DALMASSY" userId="609d1663-dc09-421f-9668-ff88dbdb8749" providerId="ADAL" clId="{23436ED1-6569-46D2-B650-E2217017F59C}" dt="2024-05-24T13:58:15.416" v="3949" actId="478"/>
          <ac:spMkLst>
            <pc:docMk/>
            <pc:sldMk cId="3456818246" sldId="2147481483"/>
            <ac:spMk id="2" creationId="{C00B6F9E-0DCF-E86A-D53A-300E5AA32A95}"/>
          </ac:spMkLst>
        </pc:spChg>
      </pc:sldChg>
      <pc:sldChg chg="delSp add mod">
        <pc:chgData name="Marie CHAVANE DE DALMASSY" userId="609d1663-dc09-421f-9668-ff88dbdb8749" providerId="ADAL" clId="{23436ED1-6569-46D2-B650-E2217017F59C}" dt="2024-05-24T13:58:43.627" v="3951" actId="478"/>
        <pc:sldMkLst>
          <pc:docMk/>
          <pc:sldMk cId="2851285670" sldId="2147481484"/>
        </pc:sldMkLst>
        <pc:spChg chg="del">
          <ac:chgData name="Marie CHAVANE DE DALMASSY" userId="609d1663-dc09-421f-9668-ff88dbdb8749" providerId="ADAL" clId="{23436ED1-6569-46D2-B650-E2217017F59C}" dt="2024-05-24T13:58:43.627" v="3951" actId="478"/>
          <ac:spMkLst>
            <pc:docMk/>
            <pc:sldMk cId="2851285670" sldId="2147481484"/>
            <ac:spMk id="2" creationId="{54010598-F592-20BF-FB08-F822699E4009}"/>
          </ac:spMkLst>
        </pc:spChg>
      </pc:sldChg>
      <pc:sldChg chg="add del">
        <pc:chgData name="Marie CHAVANE DE DALMASSY" userId="609d1663-dc09-421f-9668-ff88dbdb8749" providerId="ADAL" clId="{23436ED1-6569-46D2-B650-E2217017F59C}" dt="2024-05-24T13:59:49.764" v="3953" actId="47"/>
        <pc:sldMkLst>
          <pc:docMk/>
          <pc:sldMk cId="2470591077" sldId="2147481485"/>
        </pc:sldMkLst>
      </pc:sldChg>
      <pc:sldChg chg="add del">
        <pc:chgData name="Marie CHAVANE DE DALMASSY" userId="609d1663-dc09-421f-9668-ff88dbdb8749" providerId="ADAL" clId="{23436ED1-6569-46D2-B650-E2217017F59C}" dt="2024-05-24T13:59:49.764" v="3953" actId="47"/>
        <pc:sldMkLst>
          <pc:docMk/>
          <pc:sldMk cId="2376815521" sldId="2147481486"/>
        </pc:sldMkLst>
      </pc:sldChg>
      <pc:sldChg chg="add del">
        <pc:chgData name="Marie CHAVANE DE DALMASSY" userId="609d1663-dc09-421f-9668-ff88dbdb8749" providerId="ADAL" clId="{23436ED1-6569-46D2-B650-E2217017F59C}" dt="2024-05-24T13:59:49.764" v="3953" actId="47"/>
        <pc:sldMkLst>
          <pc:docMk/>
          <pc:sldMk cId="1420227346" sldId="2147481487"/>
        </pc:sldMkLst>
      </pc:sldChg>
      <pc:sldChg chg="add del">
        <pc:chgData name="Marie CHAVANE DE DALMASSY" userId="609d1663-dc09-421f-9668-ff88dbdb8749" providerId="ADAL" clId="{23436ED1-6569-46D2-B650-E2217017F59C}" dt="2024-05-24T13:59:49.764" v="3953" actId="47"/>
        <pc:sldMkLst>
          <pc:docMk/>
          <pc:sldMk cId="1937027414" sldId="2147481488"/>
        </pc:sldMkLst>
      </pc:sldChg>
      <pc:sldChg chg="add del">
        <pc:chgData name="Marie CHAVANE DE DALMASSY" userId="609d1663-dc09-421f-9668-ff88dbdb8749" providerId="ADAL" clId="{23436ED1-6569-46D2-B650-E2217017F59C}" dt="2024-05-24T13:59:53.979" v="3954" actId="47"/>
        <pc:sldMkLst>
          <pc:docMk/>
          <pc:sldMk cId="1101570813" sldId="2147481489"/>
        </pc:sldMkLst>
      </pc:sldChg>
      <pc:sldMasterChg chg="delSldLayout">
        <pc:chgData name="Marie CHAVANE DE DALMASSY" userId="609d1663-dc09-421f-9668-ff88dbdb8749" providerId="ADAL" clId="{23436ED1-6569-46D2-B650-E2217017F59C}" dt="2024-05-24T13:55:03.631" v="3944" actId="47"/>
        <pc:sldMasterMkLst>
          <pc:docMk/>
          <pc:sldMasterMk cId="3148905397" sldId="2147483899"/>
        </pc:sldMasterMkLst>
        <pc:sldLayoutChg chg="del">
          <pc:chgData name="Marie CHAVANE DE DALMASSY" userId="609d1663-dc09-421f-9668-ff88dbdb8749" providerId="ADAL" clId="{23436ED1-6569-46D2-B650-E2217017F59C}" dt="2024-05-24T13:55:03.631" v="3944" actId="47"/>
          <pc:sldLayoutMkLst>
            <pc:docMk/>
            <pc:sldMasterMk cId="3148905397" sldId="2147483899"/>
            <pc:sldLayoutMk cId="4197800063" sldId="2147484266"/>
          </pc:sldLayoutMkLst>
        </pc:sldLayoutChg>
      </pc:sldMasterChg>
    </pc:docChg>
  </pc:docChgLst>
  <pc:docChgLst>
    <pc:chgData name="CORNIC, Alexandre" userId="a6b8d9d5-e0b0-4fbf-ade3-d23eb99828fd" providerId="ADAL" clId="{44F700BA-10EB-4F53-9CEE-9784384B222C}"/>
    <pc:docChg chg="modSld">
      <pc:chgData name="CORNIC, Alexandre" userId="a6b8d9d5-e0b0-4fbf-ade3-d23eb99828fd" providerId="ADAL" clId="{44F700BA-10EB-4F53-9CEE-9784384B222C}" dt="2024-05-31T08:09:24.143" v="116" actId="14100"/>
      <pc:docMkLst>
        <pc:docMk/>
      </pc:docMkLst>
      <pc:sldChg chg="addSp modSp mod">
        <pc:chgData name="CORNIC, Alexandre" userId="a6b8d9d5-e0b0-4fbf-ade3-d23eb99828fd" providerId="ADAL" clId="{44F700BA-10EB-4F53-9CEE-9784384B222C}" dt="2024-05-31T08:09:24.143" v="116" actId="14100"/>
        <pc:sldMkLst>
          <pc:docMk/>
          <pc:sldMk cId="1786172485" sldId="2147481489"/>
        </pc:sldMkLst>
        <pc:spChg chg="mod">
          <ac:chgData name="CORNIC, Alexandre" userId="a6b8d9d5-e0b0-4fbf-ade3-d23eb99828fd" providerId="ADAL" clId="{44F700BA-10EB-4F53-9CEE-9784384B222C}" dt="2024-05-31T08:01:22.824" v="50" actId="6549"/>
          <ac:spMkLst>
            <pc:docMk/>
            <pc:sldMk cId="1786172485" sldId="2147481489"/>
            <ac:spMk id="8" creationId="{6592A5AF-6D8E-EBD1-351B-1C70FDCCB207}"/>
          </ac:spMkLst>
        </pc:spChg>
        <pc:spChg chg="mod">
          <ac:chgData name="CORNIC, Alexandre" userId="a6b8d9d5-e0b0-4fbf-ade3-d23eb99828fd" providerId="ADAL" clId="{44F700BA-10EB-4F53-9CEE-9784384B222C}" dt="2024-05-31T08:08:42.746" v="102" actId="12788"/>
          <ac:spMkLst>
            <pc:docMk/>
            <pc:sldMk cId="1786172485" sldId="2147481489"/>
            <ac:spMk id="10" creationId="{7AE0959D-DCD4-7C71-3A15-66B50DF06FEE}"/>
          </ac:spMkLst>
        </pc:spChg>
        <pc:picChg chg="mod modCrop">
          <ac:chgData name="CORNIC, Alexandre" userId="a6b8d9d5-e0b0-4fbf-ade3-d23eb99828fd" providerId="ADAL" clId="{44F700BA-10EB-4F53-9CEE-9784384B222C}" dt="2024-05-31T08:01:04.749" v="47" actId="18131"/>
          <ac:picMkLst>
            <pc:docMk/>
            <pc:sldMk cId="1786172485" sldId="2147481489"/>
            <ac:picMk id="7" creationId="{23C202F0-B7DC-8C30-C5C8-D0F68345B8E5}"/>
          </ac:picMkLst>
        </pc:picChg>
        <pc:picChg chg="add mod">
          <ac:chgData name="CORNIC, Alexandre" userId="a6b8d9d5-e0b0-4fbf-ade3-d23eb99828fd" providerId="ADAL" clId="{44F700BA-10EB-4F53-9CEE-9784384B222C}" dt="2024-05-31T08:08:45.199" v="103" actId="12789"/>
          <ac:picMkLst>
            <pc:docMk/>
            <pc:sldMk cId="1786172485" sldId="2147481489"/>
            <ac:picMk id="1026" creationId="{B7D8DE53-DCE2-4D14-2C62-DFB993A4F7BF}"/>
          </ac:picMkLst>
        </pc:picChg>
        <pc:picChg chg="add mod">
          <ac:chgData name="CORNIC, Alexandre" userId="a6b8d9d5-e0b0-4fbf-ade3-d23eb99828fd" providerId="ADAL" clId="{44F700BA-10EB-4F53-9CEE-9784384B222C}" dt="2024-05-31T08:08:42.746" v="102" actId="12788"/>
          <ac:picMkLst>
            <pc:docMk/>
            <pc:sldMk cId="1786172485" sldId="2147481489"/>
            <ac:picMk id="1028" creationId="{8010F5DA-5370-DE3A-26D1-14FF99948A0A}"/>
          </ac:picMkLst>
        </pc:picChg>
        <pc:picChg chg="add mod">
          <ac:chgData name="CORNIC, Alexandre" userId="a6b8d9d5-e0b0-4fbf-ade3-d23eb99828fd" providerId="ADAL" clId="{44F700BA-10EB-4F53-9CEE-9784384B222C}" dt="2024-05-31T08:08:45.199" v="103" actId="12789"/>
          <ac:picMkLst>
            <pc:docMk/>
            <pc:sldMk cId="1786172485" sldId="2147481489"/>
            <ac:picMk id="1030" creationId="{93199E3D-838F-5C4B-43C2-FFD28A352223}"/>
          </ac:picMkLst>
        </pc:picChg>
        <pc:picChg chg="add mod">
          <ac:chgData name="CORNIC, Alexandre" userId="a6b8d9d5-e0b0-4fbf-ade3-d23eb99828fd" providerId="ADAL" clId="{44F700BA-10EB-4F53-9CEE-9784384B222C}" dt="2024-05-31T08:09:22.359" v="115" actId="14100"/>
          <ac:picMkLst>
            <pc:docMk/>
            <pc:sldMk cId="1786172485" sldId="2147481489"/>
            <ac:picMk id="1032" creationId="{EB490208-7E0C-4FA9-3702-FCE6C3B0D903}"/>
          </ac:picMkLst>
        </pc:picChg>
        <pc:picChg chg="add mod">
          <ac:chgData name="CORNIC, Alexandre" userId="a6b8d9d5-e0b0-4fbf-ade3-d23eb99828fd" providerId="ADAL" clId="{44F700BA-10EB-4F53-9CEE-9784384B222C}" dt="2024-05-31T08:09:11.326" v="110" actId="14100"/>
          <ac:picMkLst>
            <pc:docMk/>
            <pc:sldMk cId="1786172485" sldId="2147481489"/>
            <ac:picMk id="1034" creationId="{59849AEE-078E-C10C-23D6-9B341183375D}"/>
          </ac:picMkLst>
        </pc:picChg>
        <pc:picChg chg="add mod">
          <ac:chgData name="CORNIC, Alexandre" userId="a6b8d9d5-e0b0-4fbf-ade3-d23eb99828fd" providerId="ADAL" clId="{44F700BA-10EB-4F53-9CEE-9784384B222C}" dt="2024-05-31T08:09:05.559" v="107" actId="14100"/>
          <ac:picMkLst>
            <pc:docMk/>
            <pc:sldMk cId="1786172485" sldId="2147481489"/>
            <ac:picMk id="1036" creationId="{C769702F-0F02-7D4D-647C-FDA2C8C5D0CA}"/>
          </ac:picMkLst>
        </pc:picChg>
        <pc:picChg chg="add mod">
          <ac:chgData name="CORNIC, Alexandre" userId="a6b8d9d5-e0b0-4fbf-ade3-d23eb99828fd" providerId="ADAL" clId="{44F700BA-10EB-4F53-9CEE-9784384B222C}" dt="2024-05-31T08:09:24.143" v="116" actId="14100"/>
          <ac:picMkLst>
            <pc:docMk/>
            <pc:sldMk cId="1786172485" sldId="2147481489"/>
            <ac:picMk id="1038" creationId="{A5A41F86-62EF-71C6-15D0-97DF5126B15A}"/>
          </ac:picMkLst>
        </pc:picChg>
      </pc:sldChg>
    </pc:docChg>
  </pc:docChgLst>
  <pc:docChgLst>
    <pc:chgData name="GUILLERME, Alexandre" userId="ea1c6976-b45d-4181-9324-3cd9e1255583" providerId="ADAL" clId="{C0DCBA25-2E53-4EF8-AD4A-FBB09516A18B}"/>
    <pc:docChg chg="sldOrd">
      <pc:chgData name="GUILLERME, Alexandre" userId="ea1c6976-b45d-4181-9324-3cd9e1255583" providerId="ADAL" clId="{C0DCBA25-2E53-4EF8-AD4A-FBB09516A18B}" dt="2024-05-31T09:39:40.013" v="0" actId="20578"/>
      <pc:docMkLst>
        <pc:docMk/>
      </pc:docMkLst>
      <pc:sldChg chg="ord">
        <pc:chgData name="GUILLERME, Alexandre" userId="ea1c6976-b45d-4181-9324-3cd9e1255583" providerId="ADAL" clId="{C0DCBA25-2E53-4EF8-AD4A-FBB09516A18B}" dt="2024-05-31T09:39:40.013" v="0" actId="20578"/>
        <pc:sldMkLst>
          <pc:docMk/>
          <pc:sldMk cId="1054645184" sldId="1051"/>
        </pc:sldMkLst>
      </pc:sldChg>
    </pc:docChg>
  </pc:docChgLst>
  <pc:docChgLst>
    <pc:chgData name="DE CHERISEY, Hugues" userId="26aaa6c1-4333-46e5-8fef-e47c19d97c43" providerId="ADAL" clId="{64989E6D-C252-41E3-89B8-E9CEABED8EA0}"/>
    <pc:docChg chg="modSld">
      <pc:chgData name="DE CHERISEY, Hugues" userId="26aaa6c1-4333-46e5-8fef-e47c19d97c43" providerId="ADAL" clId="{64989E6D-C252-41E3-89B8-E9CEABED8EA0}" dt="2024-05-28T12:09:59.135" v="39" actId="1036"/>
      <pc:docMkLst>
        <pc:docMk/>
      </pc:docMkLst>
      <pc:sldChg chg="addSp modSp mod">
        <pc:chgData name="DE CHERISEY, Hugues" userId="26aaa6c1-4333-46e5-8fef-e47c19d97c43" providerId="ADAL" clId="{64989E6D-C252-41E3-89B8-E9CEABED8EA0}" dt="2024-05-28T12:09:59.135" v="39" actId="1036"/>
        <pc:sldMkLst>
          <pc:docMk/>
          <pc:sldMk cId="2572013485" sldId="2147481476"/>
        </pc:sldMkLst>
        <pc:spChg chg="mod">
          <ac:chgData name="DE CHERISEY, Hugues" userId="26aaa6c1-4333-46e5-8fef-e47c19d97c43" providerId="ADAL" clId="{64989E6D-C252-41E3-89B8-E9CEABED8EA0}" dt="2024-05-28T12:06:52.835" v="13" actId="6549"/>
          <ac:spMkLst>
            <pc:docMk/>
            <pc:sldMk cId="2572013485" sldId="2147481476"/>
            <ac:spMk id="20" creationId="{4A452B7C-FB8A-B13F-9C4E-D53BCAE0D712}"/>
          </ac:spMkLst>
        </pc:spChg>
        <pc:picChg chg="add mod">
          <ac:chgData name="DE CHERISEY, Hugues" userId="26aaa6c1-4333-46e5-8fef-e47c19d97c43" providerId="ADAL" clId="{64989E6D-C252-41E3-89B8-E9CEABED8EA0}" dt="2024-05-28T12:09:39.484" v="30" actId="1076"/>
          <ac:picMkLst>
            <pc:docMk/>
            <pc:sldMk cId="2572013485" sldId="2147481476"/>
            <ac:picMk id="4" creationId="{31D3236F-BF21-B5CA-ADD6-F160CE593043}"/>
          </ac:picMkLst>
        </pc:picChg>
        <pc:picChg chg="add mod">
          <ac:chgData name="DE CHERISEY, Hugues" userId="26aaa6c1-4333-46e5-8fef-e47c19d97c43" providerId="ADAL" clId="{64989E6D-C252-41E3-89B8-E9CEABED8EA0}" dt="2024-05-28T12:09:44.931" v="32" actId="14100"/>
          <ac:picMkLst>
            <pc:docMk/>
            <pc:sldMk cId="2572013485" sldId="2147481476"/>
            <ac:picMk id="5" creationId="{C6CB8443-79FA-F3B2-6F84-CBE506B562F3}"/>
          </ac:picMkLst>
        </pc:picChg>
        <pc:picChg chg="add mod">
          <ac:chgData name="DE CHERISEY, Hugues" userId="26aaa6c1-4333-46e5-8fef-e47c19d97c43" providerId="ADAL" clId="{64989E6D-C252-41E3-89B8-E9CEABED8EA0}" dt="2024-05-28T12:09:42.603" v="31" actId="1076"/>
          <ac:picMkLst>
            <pc:docMk/>
            <pc:sldMk cId="2572013485" sldId="2147481476"/>
            <ac:picMk id="6" creationId="{AF765BC9-3695-5A02-A0AF-18B36B31AFA0}"/>
          </ac:picMkLst>
        </pc:picChg>
        <pc:picChg chg="add mod">
          <ac:chgData name="DE CHERISEY, Hugues" userId="26aaa6c1-4333-46e5-8fef-e47c19d97c43" providerId="ADAL" clId="{64989E6D-C252-41E3-89B8-E9CEABED8EA0}" dt="2024-05-28T12:09:59.135" v="39" actId="1036"/>
          <ac:picMkLst>
            <pc:docMk/>
            <pc:sldMk cId="2572013485" sldId="2147481476"/>
            <ac:picMk id="9" creationId="{8D408B12-E315-BCAC-B11F-5955553A517B}"/>
          </ac:picMkLst>
        </pc:picChg>
        <pc:picChg chg="mod">
          <ac:chgData name="DE CHERISEY, Hugues" userId="26aaa6c1-4333-46e5-8fef-e47c19d97c43" providerId="ADAL" clId="{64989E6D-C252-41E3-89B8-E9CEABED8EA0}" dt="2024-05-28T12:07:17.137" v="14" actId="14826"/>
          <ac:picMkLst>
            <pc:docMk/>
            <pc:sldMk cId="2572013485" sldId="2147481476"/>
            <ac:picMk id="19" creationId="{FF689B91-98AD-0899-9BCC-8F381483C050}"/>
          </ac:picMkLst>
        </pc:picChg>
      </pc:sldChg>
    </pc:docChg>
  </pc:docChgLst>
  <pc:docChgLst>
    <pc:chgData name="DE ARAUJO, Alexandre" userId="bf028f20-5bb7-4aaa-90e7-1f487dd6d3ba" providerId="ADAL" clId="{7705CB42-0BED-4C2B-86DD-26BD23837793}"/>
    <pc:docChg chg="undo custSel modSld">
      <pc:chgData name="DE ARAUJO, Alexandre" userId="bf028f20-5bb7-4aaa-90e7-1f487dd6d3ba" providerId="ADAL" clId="{7705CB42-0BED-4C2B-86DD-26BD23837793}" dt="2024-05-31T08:26:20.193" v="137" actId="1076"/>
      <pc:docMkLst>
        <pc:docMk/>
      </pc:docMkLst>
      <pc:sldChg chg="addSp delSp modSp mod">
        <pc:chgData name="DE ARAUJO, Alexandre" userId="bf028f20-5bb7-4aaa-90e7-1f487dd6d3ba" providerId="ADAL" clId="{7705CB42-0BED-4C2B-86DD-26BD23837793}" dt="2024-05-31T08:26:20.193" v="137" actId="1076"/>
        <pc:sldMkLst>
          <pc:docMk/>
          <pc:sldMk cId="1786172485" sldId="2147481489"/>
        </pc:sldMkLst>
        <pc:spChg chg="mod">
          <ac:chgData name="DE ARAUJO, Alexandre" userId="bf028f20-5bb7-4aaa-90e7-1f487dd6d3ba" providerId="ADAL" clId="{7705CB42-0BED-4C2B-86DD-26BD23837793}" dt="2024-05-31T08:25:40.019" v="120" actId="1076"/>
          <ac:spMkLst>
            <pc:docMk/>
            <pc:sldMk cId="1786172485" sldId="2147481489"/>
            <ac:spMk id="22" creationId="{55A61CDE-7ACD-3461-C26E-6DBFC42D1613}"/>
          </ac:spMkLst>
        </pc:spChg>
        <pc:spChg chg="mod">
          <ac:chgData name="DE ARAUJO, Alexandre" userId="bf028f20-5bb7-4aaa-90e7-1f487dd6d3ba" providerId="ADAL" clId="{7705CB42-0BED-4C2B-86DD-26BD23837793}" dt="2024-05-31T08:20:08.394" v="77" actId="20577"/>
          <ac:spMkLst>
            <pc:docMk/>
            <pc:sldMk cId="1786172485" sldId="2147481489"/>
            <ac:spMk id="24" creationId="{10FB8F80-F065-C6FD-9442-D9AE1D2F5873}"/>
          </ac:spMkLst>
        </pc:spChg>
        <pc:picChg chg="add mod ord modCrop">
          <ac:chgData name="DE ARAUJO, Alexandre" userId="bf028f20-5bb7-4aaa-90e7-1f487dd6d3ba" providerId="ADAL" clId="{7705CB42-0BED-4C2B-86DD-26BD23837793}" dt="2024-05-31T08:19:53.122" v="66"/>
          <ac:picMkLst>
            <pc:docMk/>
            <pc:sldMk cId="1786172485" sldId="2147481489"/>
            <ac:picMk id="5" creationId="{4D5CF817-C564-6792-B5AB-2BB59E85E1A7}"/>
          </ac:picMkLst>
        </pc:picChg>
        <pc:picChg chg="add mod">
          <ac:chgData name="DE ARAUJO, Alexandre" userId="bf028f20-5bb7-4aaa-90e7-1f487dd6d3ba" providerId="ADAL" clId="{7705CB42-0BED-4C2B-86DD-26BD23837793}" dt="2024-05-31T08:25:47.672" v="123" actId="1076"/>
          <ac:picMkLst>
            <pc:docMk/>
            <pc:sldMk cId="1786172485" sldId="2147481489"/>
            <ac:picMk id="6" creationId="{9E7E0A9C-E0B7-01C3-640E-A8D8E95523E9}"/>
          </ac:picMkLst>
        </pc:picChg>
        <pc:picChg chg="add mod">
          <ac:chgData name="DE ARAUJO, Alexandre" userId="bf028f20-5bb7-4aaa-90e7-1f487dd6d3ba" providerId="ADAL" clId="{7705CB42-0BED-4C2B-86DD-26BD23837793}" dt="2024-05-31T08:26:03.128" v="132" actId="1076"/>
          <ac:picMkLst>
            <pc:docMk/>
            <pc:sldMk cId="1786172485" sldId="2147481489"/>
            <ac:picMk id="9" creationId="{65B63A63-7047-3A9E-C42F-2F0FD5949DC4}"/>
          </ac:picMkLst>
        </pc:picChg>
        <pc:picChg chg="add mod">
          <ac:chgData name="DE ARAUJO, Alexandre" userId="bf028f20-5bb7-4aaa-90e7-1f487dd6d3ba" providerId="ADAL" clId="{7705CB42-0BED-4C2B-86DD-26BD23837793}" dt="2024-05-31T08:26:20.193" v="137" actId="1076"/>
          <ac:picMkLst>
            <pc:docMk/>
            <pc:sldMk cId="1786172485" sldId="2147481489"/>
            <ac:picMk id="17" creationId="{8CF707DA-32C9-FCD7-650A-C2B439A5A4F4}"/>
          </ac:picMkLst>
        </pc:picChg>
        <pc:picChg chg="add mod">
          <ac:chgData name="DE ARAUJO, Alexandre" userId="bf028f20-5bb7-4aaa-90e7-1f487dd6d3ba" providerId="ADAL" clId="{7705CB42-0BED-4C2B-86DD-26BD23837793}" dt="2024-05-31T08:26:04.720" v="133" actId="1076"/>
          <ac:picMkLst>
            <pc:docMk/>
            <pc:sldMk cId="1786172485" sldId="2147481489"/>
            <ac:picMk id="21" creationId="{9B0CFCBF-8F7D-CC7F-2964-4A0743FBDA38}"/>
          </ac:picMkLst>
        </pc:picChg>
        <pc:picChg chg="del mod ord">
          <ac:chgData name="DE ARAUJO, Alexandre" userId="bf028f20-5bb7-4aaa-90e7-1f487dd6d3ba" providerId="ADAL" clId="{7705CB42-0BED-4C2B-86DD-26BD23837793}" dt="2024-05-31T08:19:57.325" v="67" actId="478"/>
          <ac:picMkLst>
            <pc:docMk/>
            <pc:sldMk cId="1786172485" sldId="2147481489"/>
            <ac:picMk id="23" creationId="{AD2FEE19-F6D9-2721-6310-DDEF63A8B8A3}"/>
          </ac:picMkLst>
        </pc:picChg>
        <pc:picChg chg="add mod">
          <ac:chgData name="DE ARAUJO, Alexandre" userId="bf028f20-5bb7-4aaa-90e7-1f487dd6d3ba" providerId="ADAL" clId="{7705CB42-0BED-4C2B-86DD-26BD23837793}" dt="2024-05-31T08:26:11.784" v="136" actId="1076"/>
          <ac:picMkLst>
            <pc:docMk/>
            <pc:sldMk cId="1786172485" sldId="2147481489"/>
            <ac:picMk id="25" creationId="{DC59A70D-A820-A677-2DC5-1C522AAB8C64}"/>
          </ac:picMkLst>
        </pc:picChg>
        <pc:picChg chg="add mod">
          <ac:chgData name="DE ARAUJO, Alexandre" userId="bf028f20-5bb7-4aaa-90e7-1f487dd6d3ba" providerId="ADAL" clId="{7705CB42-0BED-4C2B-86DD-26BD23837793}" dt="2024-05-31T08:26:09.115" v="135" actId="1076"/>
          <ac:picMkLst>
            <pc:docMk/>
            <pc:sldMk cId="1786172485" sldId="2147481489"/>
            <ac:picMk id="29" creationId="{87A7C1A6-EADE-3B6C-6251-80E9503F8D29}"/>
          </ac:picMkLst>
        </pc:picChg>
      </pc:sldChg>
    </pc:docChg>
  </pc:docChgLst>
  <pc:docChgLst>
    <pc:chgData name="HENRIO, Edouard" userId="5c7148f7-abfa-4fb9-ad29-286627bf53ef" providerId="ADAL" clId="{D53110E3-2253-40D9-9ED2-302591ABF449}"/>
    <pc:docChg chg="undo custSel addSld delSld modSld sldOrd delMainMaster modMainMaster addSection modSection">
      <pc:chgData name="HENRIO, Edouard" userId="5c7148f7-abfa-4fb9-ad29-286627bf53ef" providerId="ADAL" clId="{D53110E3-2253-40D9-9ED2-302591ABF449}" dt="2024-05-31T09:15:47.677" v="16453" actId="11530"/>
      <pc:docMkLst>
        <pc:docMk/>
      </pc:docMkLst>
      <pc:sldChg chg="addSp delSp add mod modShow">
        <pc:chgData name="HENRIO, Edouard" userId="5c7148f7-abfa-4fb9-ad29-286627bf53ef" providerId="ADAL" clId="{D53110E3-2253-40D9-9ED2-302591ABF449}" dt="2024-05-17T12:17:31.142" v="11540" actId="11529"/>
        <pc:sldMkLst>
          <pc:docMk/>
          <pc:sldMk cId="55413119" sldId="396"/>
        </pc:sldMkLst>
        <pc:spChg chg="add">
          <ac:chgData name="HENRIO, Edouard" userId="5c7148f7-abfa-4fb9-ad29-286627bf53ef" providerId="ADAL" clId="{D53110E3-2253-40D9-9ED2-302591ABF449}" dt="2024-05-17T12:17:31.142" v="11540" actId="11529"/>
          <ac:spMkLst>
            <pc:docMk/>
            <pc:sldMk cId="55413119" sldId="396"/>
            <ac:spMk id="13" creationId="{960343DB-B686-5053-8941-D33ACD634CA4}"/>
          </ac:spMkLst>
        </pc:spChg>
        <pc:picChg chg="del">
          <ac:chgData name="HENRIO, Edouard" userId="5c7148f7-abfa-4fb9-ad29-286627bf53ef" providerId="ADAL" clId="{D53110E3-2253-40D9-9ED2-302591ABF449}" dt="2024-05-02T15:20:35.376" v="11532" actId="478"/>
          <ac:picMkLst>
            <pc:docMk/>
            <pc:sldMk cId="55413119" sldId="396"/>
            <ac:picMk id="15" creationId="{3B0D3546-96FE-607A-5FDC-F1248127EAB2}"/>
          </ac:picMkLst>
        </pc:picChg>
      </pc:sldChg>
      <pc:sldChg chg="addSp delSp modSp mod">
        <pc:chgData name="HENRIO, Edouard" userId="5c7148f7-abfa-4fb9-ad29-286627bf53ef" providerId="ADAL" clId="{D53110E3-2253-40D9-9ED2-302591ABF449}" dt="2024-05-22T12:02:36.360" v="12127" actId="14100"/>
        <pc:sldMkLst>
          <pc:docMk/>
          <pc:sldMk cId="1054645184" sldId="1051"/>
        </pc:sldMkLst>
        <pc:spChg chg="add mod ord">
          <ac:chgData name="HENRIO, Edouard" userId="5c7148f7-abfa-4fb9-ad29-286627bf53ef" providerId="ADAL" clId="{D53110E3-2253-40D9-9ED2-302591ABF449}" dt="2024-05-22T12:02:36.360" v="12127" actId="14100"/>
          <ac:spMkLst>
            <pc:docMk/>
            <pc:sldMk cId="1054645184" sldId="1051"/>
            <ac:spMk id="4" creationId="{0A045DDD-6B25-BB4D-7EE7-BD6049BAB407}"/>
          </ac:spMkLst>
        </pc:spChg>
        <pc:spChg chg="mod">
          <ac:chgData name="HENRIO, Edouard" userId="5c7148f7-abfa-4fb9-ad29-286627bf53ef" providerId="ADAL" clId="{D53110E3-2253-40D9-9ED2-302591ABF449}" dt="2024-03-07T15:50:51.548" v="4187" actId="207"/>
          <ac:spMkLst>
            <pc:docMk/>
            <pc:sldMk cId="1054645184" sldId="1051"/>
            <ac:spMk id="12" creationId="{A00DB984-C4C9-4289-8951-D58BE233784C}"/>
          </ac:spMkLst>
        </pc:spChg>
        <pc:picChg chg="add mod ord">
          <ac:chgData name="HENRIO, Edouard" userId="5c7148f7-abfa-4fb9-ad29-286627bf53ef" providerId="ADAL" clId="{D53110E3-2253-40D9-9ED2-302591ABF449}" dt="2024-05-22T12:02:33.017" v="12126" actId="14826"/>
          <ac:picMkLst>
            <pc:docMk/>
            <pc:sldMk cId="1054645184" sldId="1051"/>
            <ac:picMk id="3" creationId="{9D6A379B-6AF3-D346-BB95-736089228B66}"/>
          </ac:picMkLst>
        </pc:picChg>
        <pc:picChg chg="del mod">
          <ac:chgData name="HENRIO, Edouard" userId="5c7148f7-abfa-4fb9-ad29-286627bf53ef" providerId="ADAL" clId="{D53110E3-2253-40D9-9ED2-302591ABF449}" dt="2024-03-07T15:50:09.258" v="4177" actId="478"/>
          <ac:picMkLst>
            <pc:docMk/>
            <pc:sldMk cId="1054645184" sldId="1051"/>
            <ac:picMk id="8" creationId="{842D1710-668C-4907-A5D6-616E2618EF93}"/>
          </ac:picMkLst>
        </pc:picChg>
        <pc:picChg chg="del mod">
          <ac:chgData name="HENRIO, Edouard" userId="5c7148f7-abfa-4fb9-ad29-286627bf53ef" providerId="ADAL" clId="{D53110E3-2253-40D9-9ED2-302591ABF449}" dt="2024-03-07T15:41:20.477" v="4167" actId="478"/>
          <ac:picMkLst>
            <pc:docMk/>
            <pc:sldMk cId="1054645184" sldId="1051"/>
            <ac:picMk id="10" creationId="{A8CE55AF-D119-4F43-994C-9DD2DE3BE3F8}"/>
          </ac:picMkLst>
        </pc:picChg>
      </pc:sldChg>
      <pc:sldChg chg="del">
        <pc:chgData name="HENRIO, Edouard" userId="5c7148f7-abfa-4fb9-ad29-286627bf53ef" providerId="ADAL" clId="{D53110E3-2253-40D9-9ED2-302591ABF449}" dt="2024-03-07T16:21:29.120" v="4901" actId="2696"/>
        <pc:sldMkLst>
          <pc:docMk/>
          <pc:sldMk cId="959937450" sldId="2793"/>
        </pc:sldMkLst>
      </pc:sldChg>
      <pc:sldChg chg="add">
        <pc:chgData name="HENRIO, Edouard" userId="5c7148f7-abfa-4fb9-ad29-286627bf53ef" providerId="ADAL" clId="{D53110E3-2253-40D9-9ED2-302591ABF449}" dt="2024-03-07T16:21:32.175" v="4902"/>
        <pc:sldMkLst>
          <pc:docMk/>
          <pc:sldMk cId="2464078307" sldId="2793"/>
        </pc:sldMkLst>
      </pc:sldChg>
      <pc:sldChg chg="add">
        <pc:chgData name="HENRIO, Edouard" userId="5c7148f7-abfa-4fb9-ad29-286627bf53ef" providerId="ADAL" clId="{D53110E3-2253-40D9-9ED2-302591ABF449}" dt="2024-05-27T09:53:07.695" v="15546"/>
        <pc:sldMkLst>
          <pc:docMk/>
          <pc:sldMk cId="1253693343" sldId="2808"/>
        </pc:sldMkLst>
      </pc:sldChg>
      <pc:sldChg chg="del">
        <pc:chgData name="HENRIO, Edouard" userId="5c7148f7-abfa-4fb9-ad29-286627bf53ef" providerId="ADAL" clId="{D53110E3-2253-40D9-9ED2-302591ABF449}" dt="2024-05-27T09:53:03.840" v="15545" actId="2696"/>
        <pc:sldMkLst>
          <pc:docMk/>
          <pc:sldMk cId="3274350114" sldId="2808"/>
        </pc:sldMkLst>
      </pc:sldChg>
      <pc:sldChg chg="del">
        <pc:chgData name="HENRIO, Edouard" userId="5c7148f7-abfa-4fb9-ad29-286627bf53ef" providerId="ADAL" clId="{D53110E3-2253-40D9-9ED2-302591ABF449}" dt="2024-03-07T16:21:29.120" v="4901" actId="2696"/>
        <pc:sldMkLst>
          <pc:docMk/>
          <pc:sldMk cId="3197640049" sldId="2844"/>
        </pc:sldMkLst>
      </pc:sldChg>
      <pc:sldChg chg="add">
        <pc:chgData name="HENRIO, Edouard" userId="5c7148f7-abfa-4fb9-ad29-286627bf53ef" providerId="ADAL" clId="{D53110E3-2253-40D9-9ED2-302591ABF449}" dt="2024-03-07T16:21:32.175" v="4902"/>
        <pc:sldMkLst>
          <pc:docMk/>
          <pc:sldMk cId="3489761148" sldId="2844"/>
        </pc:sldMkLst>
      </pc:sldChg>
      <pc:sldChg chg="delSp add mod">
        <pc:chgData name="HENRIO, Edouard" userId="5c7148f7-abfa-4fb9-ad29-286627bf53ef" providerId="ADAL" clId="{D53110E3-2253-40D9-9ED2-302591ABF449}" dt="2024-05-22T12:38:50.333" v="12154" actId="478"/>
        <pc:sldMkLst>
          <pc:docMk/>
          <pc:sldMk cId="4270008294" sldId="2076137872"/>
        </pc:sldMkLst>
        <pc:picChg chg="del">
          <ac:chgData name="HENRIO, Edouard" userId="5c7148f7-abfa-4fb9-ad29-286627bf53ef" providerId="ADAL" clId="{D53110E3-2253-40D9-9ED2-302591ABF449}" dt="2024-05-22T12:38:50.333" v="12154" actId="478"/>
          <ac:picMkLst>
            <pc:docMk/>
            <pc:sldMk cId="4270008294" sldId="2076137872"/>
            <ac:picMk id="42" creationId="{DBCEF2E0-AE7C-9F62-7AF4-5152562BC7EC}"/>
          </ac:picMkLst>
        </pc:picChg>
      </pc:sldChg>
      <pc:sldChg chg="del">
        <pc:chgData name="HENRIO, Edouard" userId="5c7148f7-abfa-4fb9-ad29-286627bf53ef" providerId="ADAL" clId="{D53110E3-2253-40D9-9ED2-302591ABF449}" dt="2024-03-07T15:58:31.859" v="4375" actId="47"/>
        <pc:sldMkLst>
          <pc:docMk/>
          <pc:sldMk cId="3522524083" sldId="2134806144"/>
        </pc:sldMkLst>
      </pc:sldChg>
      <pc:sldChg chg="add">
        <pc:chgData name="HENRIO, Edouard" userId="5c7148f7-abfa-4fb9-ad29-286627bf53ef" providerId="ADAL" clId="{D53110E3-2253-40D9-9ED2-302591ABF449}" dt="2024-05-27T09:53:07.695" v="15546"/>
        <pc:sldMkLst>
          <pc:docMk/>
          <pc:sldMk cId="810081332" sldId="2134806153"/>
        </pc:sldMkLst>
      </pc:sldChg>
      <pc:sldChg chg="del">
        <pc:chgData name="HENRIO, Edouard" userId="5c7148f7-abfa-4fb9-ad29-286627bf53ef" providerId="ADAL" clId="{D53110E3-2253-40D9-9ED2-302591ABF449}" dt="2024-05-27T09:53:03.840" v="15545" actId="2696"/>
        <pc:sldMkLst>
          <pc:docMk/>
          <pc:sldMk cId="4132157064" sldId="2134806153"/>
        </pc:sldMkLst>
      </pc:sldChg>
      <pc:sldChg chg="add">
        <pc:chgData name="HENRIO, Edouard" userId="5c7148f7-abfa-4fb9-ad29-286627bf53ef" providerId="ADAL" clId="{D53110E3-2253-40D9-9ED2-302591ABF449}" dt="2024-05-27T09:53:07.695" v="15546"/>
        <pc:sldMkLst>
          <pc:docMk/>
          <pc:sldMk cId="1540882398" sldId="2134806154"/>
        </pc:sldMkLst>
      </pc:sldChg>
      <pc:sldChg chg="del">
        <pc:chgData name="HENRIO, Edouard" userId="5c7148f7-abfa-4fb9-ad29-286627bf53ef" providerId="ADAL" clId="{D53110E3-2253-40D9-9ED2-302591ABF449}" dt="2024-05-27T09:53:03.840" v="15545" actId="2696"/>
        <pc:sldMkLst>
          <pc:docMk/>
          <pc:sldMk cId="2680239075" sldId="2134806154"/>
        </pc:sldMkLst>
      </pc:sldChg>
      <pc:sldChg chg="delSp mod modShow delCm modCm">
        <pc:chgData name="HENRIO, Edouard" userId="5c7148f7-abfa-4fb9-ad29-286627bf53ef" providerId="ADAL" clId="{D53110E3-2253-40D9-9ED2-302591ABF449}" dt="2024-05-31T07:56:56.002" v="16449" actId="729"/>
        <pc:sldMkLst>
          <pc:docMk/>
          <pc:sldMk cId="2631033068" sldId="2147229068"/>
        </pc:sldMkLst>
        <pc:spChg chg="del">
          <ac:chgData name="HENRIO, Edouard" userId="5c7148f7-abfa-4fb9-ad29-286627bf53ef" providerId="ADAL" clId="{D53110E3-2253-40D9-9ED2-302591ABF449}" dt="2024-03-05T09:06:34.313" v="2605" actId="478"/>
          <ac:spMkLst>
            <pc:docMk/>
            <pc:sldMk cId="2631033068" sldId="2147229068"/>
            <ac:spMk id="2" creationId="{756AB06D-04D6-4CD0-95DF-4D6FC9658398}"/>
          </ac:spMkLst>
        </pc:spChg>
        <pc:spChg chg="del">
          <ac:chgData name="HENRIO, Edouard" userId="5c7148f7-abfa-4fb9-ad29-286627bf53ef" providerId="ADAL" clId="{D53110E3-2253-40D9-9ED2-302591ABF449}" dt="2024-03-05T09:06:32.680" v="2604" actId="478"/>
          <ac:spMkLst>
            <pc:docMk/>
            <pc:sldMk cId="2631033068" sldId="2147229068"/>
            <ac:spMk id="4" creationId="{9468B0C8-84D4-4C94-A621-5B7257E1963A}"/>
          </ac:spMkLst>
        </pc:spChg>
        <pc:spChg chg="del">
          <ac:chgData name="HENRIO, Edouard" userId="5c7148f7-abfa-4fb9-ad29-286627bf53ef" providerId="ADAL" clId="{D53110E3-2253-40D9-9ED2-302591ABF449}" dt="2024-03-05T09:06:31.772" v="2603" actId="478"/>
          <ac:spMkLst>
            <pc:docMk/>
            <pc:sldMk cId="2631033068" sldId="2147229068"/>
            <ac:spMk id="9" creationId="{60D0E2B2-3383-4BC0-A62C-3131146AFDDB}"/>
          </ac:spMkLst>
        </pc:spChg>
        <pc:extLst>
          <p:ext xmlns:p="http://schemas.openxmlformats.org/presentationml/2006/main" uri="{D6D511B9-2390-475A-947B-AFAB55BFBCF1}">
            <pc226:cmChg xmlns:pc226="http://schemas.microsoft.com/office/powerpoint/2022/06/main/command" chg="del mod">
              <pc226:chgData name="HENRIO, Edouard" userId="5c7148f7-abfa-4fb9-ad29-286627bf53ef" providerId="ADAL" clId="{D53110E3-2253-40D9-9ED2-302591ABF449}" dt="2024-03-07T15:51:07.135" v="4188"/>
              <pc2:cmMkLst xmlns:pc2="http://schemas.microsoft.com/office/powerpoint/2019/9/main/command">
                <pc:docMk/>
                <pc:sldMk cId="2631033068" sldId="2147229068"/>
                <pc2:cmMk id="{AB3B5EB0-7345-4236-8471-0ADE3D1AE6F8}"/>
              </pc2:cmMkLst>
            </pc226:cmChg>
          </p:ext>
        </pc:extLst>
      </pc:sldChg>
      <pc:sldChg chg="addSp modSp mod">
        <pc:chgData name="HENRIO, Edouard" userId="5c7148f7-abfa-4fb9-ad29-286627bf53ef" providerId="ADAL" clId="{D53110E3-2253-40D9-9ED2-302591ABF449}" dt="2024-05-27T09:52:08.365" v="15538" actId="313"/>
        <pc:sldMkLst>
          <pc:docMk/>
          <pc:sldMk cId="798083219" sldId="2147308509"/>
        </pc:sldMkLst>
        <pc:spChg chg="add mod">
          <ac:chgData name="HENRIO, Edouard" userId="5c7148f7-abfa-4fb9-ad29-286627bf53ef" providerId="ADAL" clId="{D53110E3-2253-40D9-9ED2-302591ABF449}" dt="2024-02-20T14:18:43.002" v="617" actId="20577"/>
          <ac:spMkLst>
            <pc:docMk/>
            <pc:sldMk cId="798083219" sldId="2147308509"/>
            <ac:spMk id="2" creationId="{1EA10718-7C5E-6219-B68F-A23A4B749385}"/>
          </ac:spMkLst>
        </pc:spChg>
        <pc:spChg chg="mod">
          <ac:chgData name="HENRIO, Edouard" userId="5c7148f7-abfa-4fb9-ad29-286627bf53ef" providerId="ADAL" clId="{D53110E3-2253-40D9-9ED2-302591ABF449}" dt="2024-05-27T09:52:08.365" v="15538" actId="313"/>
          <ac:spMkLst>
            <pc:docMk/>
            <pc:sldMk cId="798083219" sldId="2147308509"/>
            <ac:spMk id="9" creationId="{9AD8FA80-D5E3-4090-937C-AA9F9330F5A6}"/>
          </ac:spMkLst>
        </pc:spChg>
      </pc:sldChg>
      <pc:sldChg chg="add">
        <pc:chgData name="HENRIO, Edouard" userId="5c7148f7-abfa-4fb9-ad29-286627bf53ef" providerId="ADAL" clId="{D53110E3-2253-40D9-9ED2-302591ABF449}" dt="2024-03-07T16:21:32.175" v="4902"/>
        <pc:sldMkLst>
          <pc:docMk/>
          <pc:sldMk cId="3302673549" sldId="2147473370"/>
        </pc:sldMkLst>
      </pc:sldChg>
      <pc:sldChg chg="del">
        <pc:chgData name="HENRIO, Edouard" userId="5c7148f7-abfa-4fb9-ad29-286627bf53ef" providerId="ADAL" clId="{D53110E3-2253-40D9-9ED2-302591ABF449}" dt="2024-03-07T16:21:29.120" v="4901" actId="2696"/>
        <pc:sldMkLst>
          <pc:docMk/>
          <pc:sldMk cId="3483016929" sldId="2147473370"/>
        </pc:sldMkLst>
      </pc:sldChg>
      <pc:sldChg chg="addSp delSp modSp mod addCm">
        <pc:chgData name="HENRIO, Edouard" userId="5c7148f7-abfa-4fb9-ad29-286627bf53ef" providerId="ADAL" clId="{D53110E3-2253-40D9-9ED2-302591ABF449}" dt="2024-05-23T17:43:48.343" v="14984"/>
        <pc:sldMkLst>
          <pc:docMk/>
          <pc:sldMk cId="1646583794" sldId="2147473421"/>
        </pc:sldMkLst>
        <pc:spChg chg="del">
          <ac:chgData name="HENRIO, Edouard" userId="5c7148f7-abfa-4fb9-ad29-286627bf53ef" providerId="ADAL" clId="{D53110E3-2253-40D9-9ED2-302591ABF449}" dt="2024-05-23T17:13:02.429" v="12278" actId="478"/>
          <ac:spMkLst>
            <pc:docMk/>
            <pc:sldMk cId="1646583794" sldId="2147473421"/>
            <ac:spMk id="2" creationId="{C76A43D2-1818-FDB4-6E68-A5F4E5B1C8E3}"/>
          </ac:spMkLst>
        </pc:spChg>
        <pc:spChg chg="add mod">
          <ac:chgData name="HENRIO, Edouard" userId="5c7148f7-abfa-4fb9-ad29-286627bf53ef" providerId="ADAL" clId="{D53110E3-2253-40D9-9ED2-302591ABF449}" dt="2024-05-23T17:43:35.448" v="14983" actId="20577"/>
          <ac:spMkLst>
            <pc:docMk/>
            <pc:sldMk cId="1646583794" sldId="2147473421"/>
            <ac:spMk id="3" creationId="{687E882B-FA46-60D2-779F-E6D709CF3C96}"/>
          </ac:spMkLst>
        </pc:spChg>
        <pc:spChg chg="mod">
          <ac:chgData name="HENRIO, Edouard" userId="5c7148f7-abfa-4fb9-ad29-286627bf53ef" providerId="ADAL" clId="{D53110E3-2253-40D9-9ED2-302591ABF449}" dt="2024-05-23T17:12:42.877" v="12238"/>
          <ac:spMkLst>
            <pc:docMk/>
            <pc:sldMk cId="1646583794" sldId="2147473421"/>
            <ac:spMk id="8" creationId="{DDC20064-D08C-20BF-959E-49B88BAF5877}"/>
          </ac:spMkLst>
        </pc:spChg>
        <pc:spChg chg="mod">
          <ac:chgData name="HENRIO, Edouard" userId="5c7148f7-abfa-4fb9-ad29-286627bf53ef" providerId="ADAL" clId="{D53110E3-2253-40D9-9ED2-302591ABF449}" dt="2024-05-23T17:16:16.530" v="12552" actId="20577"/>
          <ac:spMkLst>
            <pc:docMk/>
            <pc:sldMk cId="1646583794" sldId="2147473421"/>
            <ac:spMk id="9" creationId="{A0F9A617-2BBC-4936-7671-F1E6E7526787}"/>
          </ac:spMkLst>
        </pc:spChg>
        <pc:spChg chg="add del mod">
          <ac:chgData name="HENRIO, Edouard" userId="5c7148f7-abfa-4fb9-ad29-286627bf53ef" providerId="ADAL" clId="{D53110E3-2253-40D9-9ED2-302591ABF449}" dt="2024-05-23T17:38:24.944" v="14131" actId="478"/>
          <ac:spMkLst>
            <pc:docMk/>
            <pc:sldMk cId="1646583794" sldId="2147473421"/>
            <ac:spMk id="10" creationId="{3DA38359-72EC-CB9F-6475-FA8AF2787282}"/>
          </ac:spMkLst>
        </pc:spChg>
        <pc:spChg chg="del">
          <ac:chgData name="HENRIO, Edouard" userId="5c7148f7-abfa-4fb9-ad29-286627bf53ef" providerId="ADAL" clId="{D53110E3-2253-40D9-9ED2-302591ABF449}" dt="2024-05-23T17:13:21.570" v="12282" actId="478"/>
          <ac:spMkLst>
            <pc:docMk/>
            <pc:sldMk cId="1646583794" sldId="2147473421"/>
            <ac:spMk id="12" creationId="{D9E6D9C2-8C16-C3F6-D160-C63440F5033B}"/>
          </ac:spMkLst>
        </pc:spChg>
        <pc:extLst>
          <p:ext xmlns:p="http://schemas.openxmlformats.org/presentationml/2006/main" uri="{D6D511B9-2390-475A-947B-AFAB55BFBCF1}">
            <pc226:cmChg xmlns:pc226="http://schemas.microsoft.com/office/powerpoint/2022/06/main/command" chg="add">
              <pc226:chgData name="HENRIO, Edouard" userId="5c7148f7-abfa-4fb9-ad29-286627bf53ef" providerId="ADAL" clId="{D53110E3-2253-40D9-9ED2-302591ABF449}" dt="2024-05-23T17:43:48.343" v="14984"/>
              <pc2:cmMkLst xmlns:pc2="http://schemas.microsoft.com/office/powerpoint/2019/9/main/command">
                <pc:docMk/>
                <pc:sldMk cId="1646583794" sldId="2147473421"/>
                <pc2:cmMk id="{E24242A3-0AF7-4EE8-B701-0F523D1B4432}"/>
              </pc2:cmMkLst>
            </pc226:cmChg>
          </p:ext>
        </pc:extLst>
      </pc:sldChg>
      <pc:sldChg chg="modSp mod">
        <pc:chgData name="HENRIO, Edouard" userId="5c7148f7-abfa-4fb9-ad29-286627bf53ef" providerId="ADAL" clId="{D53110E3-2253-40D9-9ED2-302591ABF449}" dt="2024-05-23T17:44:58.406" v="15088" actId="14100"/>
        <pc:sldMkLst>
          <pc:docMk/>
          <pc:sldMk cId="4011928000" sldId="2147473429"/>
        </pc:sldMkLst>
        <pc:spChg chg="mod">
          <ac:chgData name="HENRIO, Edouard" userId="5c7148f7-abfa-4fb9-ad29-286627bf53ef" providerId="ADAL" clId="{D53110E3-2253-40D9-9ED2-302591ABF449}" dt="2024-05-23T17:44:58.406" v="15088" actId="14100"/>
          <ac:spMkLst>
            <pc:docMk/>
            <pc:sldMk cId="4011928000" sldId="2147473429"/>
            <ac:spMk id="2" creationId="{3644B454-109A-1F48-8A3A-99919A30533C}"/>
          </ac:spMkLst>
        </pc:spChg>
        <pc:spChg chg="mod">
          <ac:chgData name="HENRIO, Edouard" userId="5c7148f7-abfa-4fb9-ad29-286627bf53ef" providerId="ADAL" clId="{D53110E3-2253-40D9-9ED2-302591ABF449}" dt="2024-05-23T17:44:35.678" v="14985" actId="400"/>
          <ac:spMkLst>
            <pc:docMk/>
            <pc:sldMk cId="4011928000" sldId="2147473429"/>
            <ac:spMk id="17" creationId="{A805F1ED-7209-4707-B1F6-9AF87973E6C9}"/>
          </ac:spMkLst>
        </pc:spChg>
      </pc:sldChg>
      <pc:sldChg chg="modSp mod">
        <pc:chgData name="HENRIO, Edouard" userId="5c7148f7-abfa-4fb9-ad29-286627bf53ef" providerId="ADAL" clId="{D53110E3-2253-40D9-9ED2-302591ABF449}" dt="2024-04-19T09:21:44.094" v="8893" actId="113"/>
        <pc:sldMkLst>
          <pc:docMk/>
          <pc:sldMk cId="2455323060" sldId="2147473457"/>
        </pc:sldMkLst>
        <pc:spChg chg="mod">
          <ac:chgData name="HENRIO, Edouard" userId="5c7148f7-abfa-4fb9-ad29-286627bf53ef" providerId="ADAL" clId="{D53110E3-2253-40D9-9ED2-302591ABF449}" dt="2024-04-19T09:21:44.094" v="8893" actId="113"/>
          <ac:spMkLst>
            <pc:docMk/>
            <pc:sldMk cId="2455323060" sldId="2147473457"/>
            <ac:spMk id="12" creationId="{D9E6D9C2-8C16-C3F6-D160-C63440F5033B}"/>
          </ac:spMkLst>
        </pc:spChg>
      </pc:sldChg>
      <pc:sldChg chg="del">
        <pc:chgData name="HENRIO, Edouard" userId="5c7148f7-abfa-4fb9-ad29-286627bf53ef" providerId="ADAL" clId="{D53110E3-2253-40D9-9ED2-302591ABF449}" dt="2024-03-07T16:01:21.690" v="4615" actId="47"/>
        <pc:sldMkLst>
          <pc:docMk/>
          <pc:sldMk cId="1286032952" sldId="2147478763"/>
        </pc:sldMkLst>
      </pc:sldChg>
      <pc:sldChg chg="del">
        <pc:chgData name="HENRIO, Edouard" userId="5c7148f7-abfa-4fb9-ad29-286627bf53ef" providerId="ADAL" clId="{D53110E3-2253-40D9-9ED2-302591ABF449}" dt="2024-03-07T16:13:52.724" v="4796" actId="47"/>
        <pc:sldMkLst>
          <pc:docMk/>
          <pc:sldMk cId="1918937430" sldId="2147478765"/>
        </pc:sldMkLst>
      </pc:sldChg>
      <pc:sldChg chg="del mod modShow">
        <pc:chgData name="HENRIO, Edouard" userId="5c7148f7-abfa-4fb9-ad29-286627bf53ef" providerId="ADAL" clId="{D53110E3-2253-40D9-9ED2-302591ABF449}" dt="2024-05-27T09:51:37.652" v="15503" actId="47"/>
        <pc:sldMkLst>
          <pc:docMk/>
          <pc:sldMk cId="3675638760" sldId="2147478771"/>
        </pc:sldMkLst>
      </pc:sldChg>
      <pc:sldChg chg="add">
        <pc:chgData name="HENRIO, Edouard" userId="5c7148f7-abfa-4fb9-ad29-286627bf53ef" providerId="ADAL" clId="{D53110E3-2253-40D9-9ED2-302591ABF449}" dt="2024-03-07T16:21:32.175" v="4902"/>
        <pc:sldMkLst>
          <pc:docMk/>
          <pc:sldMk cId="1223035003" sldId="2147478774"/>
        </pc:sldMkLst>
      </pc:sldChg>
      <pc:sldChg chg="del">
        <pc:chgData name="HENRIO, Edouard" userId="5c7148f7-abfa-4fb9-ad29-286627bf53ef" providerId="ADAL" clId="{D53110E3-2253-40D9-9ED2-302591ABF449}" dt="2024-03-07T16:21:29.120" v="4901" actId="2696"/>
        <pc:sldMkLst>
          <pc:docMk/>
          <pc:sldMk cId="2460672719" sldId="2147478774"/>
        </pc:sldMkLst>
      </pc:sldChg>
      <pc:sldChg chg="add">
        <pc:chgData name="HENRIO, Edouard" userId="5c7148f7-abfa-4fb9-ad29-286627bf53ef" providerId="ADAL" clId="{D53110E3-2253-40D9-9ED2-302591ABF449}" dt="2024-03-07T16:21:32.175" v="4902"/>
        <pc:sldMkLst>
          <pc:docMk/>
          <pc:sldMk cId="851675497" sldId="2147478775"/>
        </pc:sldMkLst>
      </pc:sldChg>
      <pc:sldChg chg="del delCm">
        <pc:chgData name="HENRIO, Edouard" userId="5c7148f7-abfa-4fb9-ad29-286627bf53ef" providerId="ADAL" clId="{D53110E3-2253-40D9-9ED2-302591ABF449}" dt="2024-03-07T16:21:29.120" v="4901" actId="2696"/>
        <pc:sldMkLst>
          <pc:docMk/>
          <pc:sldMk cId="2813828781" sldId="2147478775"/>
        </pc:sldMkLst>
        <pc:extLst>
          <p:ext xmlns:p="http://schemas.openxmlformats.org/presentationml/2006/main" uri="{D6D511B9-2390-475A-947B-AFAB55BFBCF1}">
            <pc226:cmChg xmlns:pc226="http://schemas.microsoft.com/office/powerpoint/2022/06/main/command" chg="del">
              <pc226:chgData name="HENRIO, Edouard" userId="5c7148f7-abfa-4fb9-ad29-286627bf53ef" providerId="ADAL" clId="{D53110E3-2253-40D9-9ED2-302591ABF449}" dt="2024-03-07T16:03:16.187" v="4618"/>
              <pc2:cmMkLst xmlns:pc2="http://schemas.microsoft.com/office/powerpoint/2019/9/main/command">
                <pc:docMk/>
                <pc:sldMk cId="2813828781" sldId="2147478775"/>
                <pc2:cmMk id="{8462F9D7-13C1-4152-960F-3C3453BE41BE}"/>
              </pc2:cmMkLst>
            </pc226:cmChg>
          </p:ext>
        </pc:extLst>
      </pc:sldChg>
      <pc:sldChg chg="modSp add mod">
        <pc:chgData name="HENRIO, Edouard" userId="5c7148f7-abfa-4fb9-ad29-286627bf53ef" providerId="ADAL" clId="{D53110E3-2253-40D9-9ED2-302591ABF449}" dt="2024-05-29T15:03:52.026" v="16142" actId="2711"/>
        <pc:sldMkLst>
          <pc:docMk/>
          <pc:sldMk cId="2028875791" sldId="2147478779"/>
        </pc:sldMkLst>
        <pc:spChg chg="mod">
          <ac:chgData name="HENRIO, Edouard" userId="5c7148f7-abfa-4fb9-ad29-286627bf53ef" providerId="ADAL" clId="{D53110E3-2253-40D9-9ED2-302591ABF449}" dt="2024-05-29T15:03:52.026" v="16142" actId="2711"/>
          <ac:spMkLst>
            <pc:docMk/>
            <pc:sldMk cId="2028875791" sldId="2147478779"/>
            <ac:spMk id="2" creationId="{30A25494-3C68-96E8-E5DA-4BB21F611AF2}"/>
          </ac:spMkLst>
        </pc:spChg>
      </pc:sldChg>
      <pc:sldChg chg="del">
        <pc:chgData name="HENRIO, Edouard" userId="5c7148f7-abfa-4fb9-ad29-286627bf53ef" providerId="ADAL" clId="{D53110E3-2253-40D9-9ED2-302591ABF449}" dt="2024-03-07T16:21:29.120" v="4901" actId="2696"/>
        <pc:sldMkLst>
          <pc:docMk/>
          <pc:sldMk cId="3818255527" sldId="2147478779"/>
        </pc:sldMkLst>
      </pc:sldChg>
      <pc:sldChg chg="modSp add mod">
        <pc:chgData name="HENRIO, Edouard" userId="5c7148f7-abfa-4fb9-ad29-286627bf53ef" providerId="ADAL" clId="{D53110E3-2253-40D9-9ED2-302591ABF449}" dt="2024-05-29T15:04:06.331" v="16143" actId="2711"/>
        <pc:sldMkLst>
          <pc:docMk/>
          <pc:sldMk cId="2199928286" sldId="2147478780"/>
        </pc:sldMkLst>
        <pc:spChg chg="mod">
          <ac:chgData name="HENRIO, Edouard" userId="5c7148f7-abfa-4fb9-ad29-286627bf53ef" providerId="ADAL" clId="{D53110E3-2253-40D9-9ED2-302591ABF449}" dt="2024-05-29T15:04:06.331" v="16143" actId="2711"/>
          <ac:spMkLst>
            <pc:docMk/>
            <pc:sldMk cId="2199928286" sldId="2147478780"/>
            <ac:spMk id="2" creationId="{30A25494-3C68-96E8-E5DA-4BB21F611AF2}"/>
          </ac:spMkLst>
        </pc:spChg>
      </pc:sldChg>
      <pc:sldChg chg="del">
        <pc:chgData name="HENRIO, Edouard" userId="5c7148f7-abfa-4fb9-ad29-286627bf53ef" providerId="ADAL" clId="{D53110E3-2253-40D9-9ED2-302591ABF449}" dt="2024-03-07T16:21:29.120" v="4901" actId="2696"/>
        <pc:sldMkLst>
          <pc:docMk/>
          <pc:sldMk cId="2793514166" sldId="2147478780"/>
        </pc:sldMkLst>
      </pc:sldChg>
      <pc:sldChg chg="modSp add mod">
        <pc:chgData name="HENRIO, Edouard" userId="5c7148f7-abfa-4fb9-ad29-286627bf53ef" providerId="ADAL" clId="{D53110E3-2253-40D9-9ED2-302591ABF449}" dt="2024-05-29T15:04:13.686" v="16144" actId="2711"/>
        <pc:sldMkLst>
          <pc:docMk/>
          <pc:sldMk cId="1198383416" sldId="2147478782"/>
        </pc:sldMkLst>
        <pc:spChg chg="mod">
          <ac:chgData name="HENRIO, Edouard" userId="5c7148f7-abfa-4fb9-ad29-286627bf53ef" providerId="ADAL" clId="{D53110E3-2253-40D9-9ED2-302591ABF449}" dt="2024-05-29T15:04:13.686" v="16144" actId="2711"/>
          <ac:spMkLst>
            <pc:docMk/>
            <pc:sldMk cId="1198383416" sldId="2147478782"/>
            <ac:spMk id="2" creationId="{30A25494-3C68-96E8-E5DA-4BB21F611AF2}"/>
          </ac:spMkLst>
        </pc:spChg>
      </pc:sldChg>
      <pc:sldChg chg="del">
        <pc:chgData name="HENRIO, Edouard" userId="5c7148f7-abfa-4fb9-ad29-286627bf53ef" providerId="ADAL" clId="{D53110E3-2253-40D9-9ED2-302591ABF449}" dt="2024-03-07T16:21:29.120" v="4901" actId="2696"/>
        <pc:sldMkLst>
          <pc:docMk/>
          <pc:sldMk cId="3783171242" sldId="2147478782"/>
        </pc:sldMkLst>
      </pc:sldChg>
      <pc:sldChg chg="add">
        <pc:chgData name="HENRIO, Edouard" userId="5c7148f7-abfa-4fb9-ad29-286627bf53ef" providerId="ADAL" clId="{D53110E3-2253-40D9-9ED2-302591ABF449}" dt="2024-03-07T16:21:32.175" v="4902"/>
        <pc:sldMkLst>
          <pc:docMk/>
          <pc:sldMk cId="22637000" sldId="2147478783"/>
        </pc:sldMkLst>
      </pc:sldChg>
      <pc:sldChg chg="del">
        <pc:chgData name="HENRIO, Edouard" userId="5c7148f7-abfa-4fb9-ad29-286627bf53ef" providerId="ADAL" clId="{D53110E3-2253-40D9-9ED2-302591ABF449}" dt="2024-03-07T16:21:29.120" v="4901" actId="2696"/>
        <pc:sldMkLst>
          <pc:docMk/>
          <pc:sldMk cId="602456260" sldId="2147478783"/>
        </pc:sldMkLst>
      </pc:sldChg>
      <pc:sldChg chg="del">
        <pc:chgData name="HENRIO, Edouard" userId="5c7148f7-abfa-4fb9-ad29-286627bf53ef" providerId="ADAL" clId="{D53110E3-2253-40D9-9ED2-302591ABF449}" dt="2024-03-07T16:21:29.120" v="4901" actId="2696"/>
        <pc:sldMkLst>
          <pc:docMk/>
          <pc:sldMk cId="1303457090" sldId="2147478791"/>
        </pc:sldMkLst>
      </pc:sldChg>
      <pc:sldChg chg="add">
        <pc:chgData name="HENRIO, Edouard" userId="5c7148f7-abfa-4fb9-ad29-286627bf53ef" providerId="ADAL" clId="{D53110E3-2253-40D9-9ED2-302591ABF449}" dt="2024-03-07T16:21:32.175" v="4902"/>
        <pc:sldMkLst>
          <pc:docMk/>
          <pc:sldMk cId="1978401362" sldId="2147478791"/>
        </pc:sldMkLst>
      </pc:sldChg>
      <pc:sldChg chg="add">
        <pc:chgData name="HENRIO, Edouard" userId="5c7148f7-abfa-4fb9-ad29-286627bf53ef" providerId="ADAL" clId="{D53110E3-2253-40D9-9ED2-302591ABF449}" dt="2024-03-07T16:21:32.175" v="4902"/>
        <pc:sldMkLst>
          <pc:docMk/>
          <pc:sldMk cId="1184573271" sldId="2147478792"/>
        </pc:sldMkLst>
      </pc:sldChg>
      <pc:sldChg chg="del">
        <pc:chgData name="HENRIO, Edouard" userId="5c7148f7-abfa-4fb9-ad29-286627bf53ef" providerId="ADAL" clId="{D53110E3-2253-40D9-9ED2-302591ABF449}" dt="2024-03-07T16:21:29.120" v="4901" actId="2696"/>
        <pc:sldMkLst>
          <pc:docMk/>
          <pc:sldMk cId="2017698475" sldId="2147478792"/>
        </pc:sldMkLst>
      </pc:sldChg>
      <pc:sldChg chg="add del">
        <pc:chgData name="HENRIO, Edouard" userId="5c7148f7-abfa-4fb9-ad29-286627bf53ef" providerId="ADAL" clId="{D53110E3-2253-40D9-9ED2-302591ABF449}" dt="2024-05-27T09:52:44.868" v="15542" actId="47"/>
        <pc:sldMkLst>
          <pc:docMk/>
          <pc:sldMk cId="1421505589" sldId="2147481372"/>
        </pc:sldMkLst>
      </pc:sldChg>
      <pc:sldChg chg="add">
        <pc:chgData name="HENRIO, Edouard" userId="5c7148f7-abfa-4fb9-ad29-286627bf53ef" providerId="ADAL" clId="{D53110E3-2253-40D9-9ED2-302591ABF449}" dt="2024-03-07T16:21:32.175" v="4902"/>
        <pc:sldMkLst>
          <pc:docMk/>
          <pc:sldMk cId="1436541136" sldId="2147481374"/>
        </pc:sldMkLst>
      </pc:sldChg>
      <pc:sldChg chg="del ord">
        <pc:chgData name="HENRIO, Edouard" userId="5c7148f7-abfa-4fb9-ad29-286627bf53ef" providerId="ADAL" clId="{D53110E3-2253-40D9-9ED2-302591ABF449}" dt="2024-03-07T16:21:29.120" v="4901" actId="2696"/>
        <pc:sldMkLst>
          <pc:docMk/>
          <pc:sldMk cId="2394442523" sldId="2147481374"/>
        </pc:sldMkLst>
      </pc:sldChg>
      <pc:sldChg chg="del">
        <pc:chgData name="HENRIO, Edouard" userId="5c7148f7-abfa-4fb9-ad29-286627bf53ef" providerId="ADAL" clId="{D53110E3-2253-40D9-9ED2-302591ABF449}" dt="2024-03-07T16:05:02.899" v="4621" actId="47"/>
        <pc:sldMkLst>
          <pc:docMk/>
          <pc:sldMk cId="3240409323" sldId="2147481378"/>
        </pc:sldMkLst>
      </pc:sldChg>
      <pc:sldChg chg="modSp mod setBg">
        <pc:chgData name="HENRIO, Edouard" userId="5c7148f7-abfa-4fb9-ad29-286627bf53ef" providerId="ADAL" clId="{D53110E3-2253-40D9-9ED2-302591ABF449}" dt="2024-05-29T15:05:07.487" v="16145"/>
        <pc:sldMkLst>
          <pc:docMk/>
          <pc:sldMk cId="536213464" sldId="2147481379"/>
        </pc:sldMkLst>
        <pc:spChg chg="mod">
          <ac:chgData name="HENRIO, Edouard" userId="5c7148f7-abfa-4fb9-ad29-286627bf53ef" providerId="ADAL" clId="{D53110E3-2253-40D9-9ED2-302591ABF449}" dt="2024-03-07T16:17:04.913" v="4837" actId="1076"/>
          <ac:spMkLst>
            <pc:docMk/>
            <pc:sldMk cId="536213464" sldId="2147481379"/>
            <ac:spMk id="36" creationId="{5BDD9626-1F78-410E-87F5-DC827B7CF808}"/>
          </ac:spMkLst>
        </pc:spChg>
        <pc:grpChg chg="mod">
          <ac:chgData name="HENRIO, Edouard" userId="5c7148f7-abfa-4fb9-ad29-286627bf53ef" providerId="ADAL" clId="{D53110E3-2253-40D9-9ED2-302591ABF449}" dt="2024-03-07T16:16:57.111" v="4835" actId="1076"/>
          <ac:grpSpMkLst>
            <pc:docMk/>
            <pc:sldMk cId="536213464" sldId="2147481379"/>
            <ac:grpSpMk id="5" creationId="{78B1BBA8-665F-4B89-8C70-8FF8C64CA2C4}"/>
          </ac:grpSpMkLst>
        </pc:grpChg>
      </pc:sldChg>
      <pc:sldChg chg="add">
        <pc:chgData name="HENRIO, Edouard" userId="5c7148f7-abfa-4fb9-ad29-286627bf53ef" providerId="ADAL" clId="{D53110E3-2253-40D9-9ED2-302591ABF449}" dt="2024-03-07T16:21:32.175" v="4902"/>
        <pc:sldMkLst>
          <pc:docMk/>
          <pc:sldMk cId="2261772202" sldId="2147481381"/>
        </pc:sldMkLst>
      </pc:sldChg>
      <pc:sldChg chg="modSp del mod chgLayout">
        <pc:chgData name="HENRIO, Edouard" userId="5c7148f7-abfa-4fb9-ad29-286627bf53ef" providerId="ADAL" clId="{D53110E3-2253-40D9-9ED2-302591ABF449}" dt="2024-03-07T16:21:29.120" v="4901" actId="2696"/>
        <pc:sldMkLst>
          <pc:docMk/>
          <pc:sldMk cId="2467275502" sldId="2147481381"/>
        </pc:sldMkLst>
        <pc:spChg chg="mod ord">
          <ac:chgData name="HENRIO, Edouard" userId="5c7148f7-abfa-4fb9-ad29-286627bf53ef" providerId="ADAL" clId="{D53110E3-2253-40D9-9ED2-302591ABF449}" dt="2024-03-07T16:12:19.049" v="4783" actId="700"/>
          <ac:spMkLst>
            <pc:docMk/>
            <pc:sldMk cId="2467275502" sldId="2147481381"/>
            <ac:spMk id="2" creationId="{A1B6F4D1-0BE8-5451-414B-53ABA0735847}"/>
          </ac:spMkLst>
        </pc:spChg>
      </pc:sldChg>
      <pc:sldChg chg="addSp modSp mod ord">
        <pc:chgData name="HENRIO, Edouard" userId="5c7148f7-abfa-4fb9-ad29-286627bf53ef" providerId="ADAL" clId="{D53110E3-2253-40D9-9ED2-302591ABF449}" dt="2024-05-31T09:15:47.677" v="16453" actId="11530"/>
        <pc:sldMkLst>
          <pc:docMk/>
          <pc:sldMk cId="4080557187" sldId="2147481384"/>
        </pc:sldMkLst>
        <pc:spChg chg="add mod">
          <ac:chgData name="HENRIO, Edouard" userId="5c7148f7-abfa-4fb9-ad29-286627bf53ef" providerId="ADAL" clId="{D53110E3-2253-40D9-9ED2-302591ABF449}" dt="2024-05-29T15:09:27.833" v="16174"/>
          <ac:spMkLst>
            <pc:docMk/>
            <pc:sldMk cId="4080557187" sldId="2147481384"/>
            <ac:spMk id="4" creationId="{E56A21B4-44C4-FDF2-804D-1008419F93EA}"/>
          </ac:spMkLst>
        </pc:spChg>
        <pc:spChg chg="add mod">
          <ac:chgData name="HENRIO, Edouard" userId="5c7148f7-abfa-4fb9-ad29-286627bf53ef" providerId="ADAL" clId="{D53110E3-2253-40D9-9ED2-302591ABF449}" dt="2024-05-29T15:09:27.833" v="16174"/>
          <ac:spMkLst>
            <pc:docMk/>
            <pc:sldMk cId="4080557187" sldId="2147481384"/>
            <ac:spMk id="7" creationId="{A26A80F6-0250-2061-C83E-7E7DD3CE4AA6}"/>
          </ac:spMkLst>
        </pc:spChg>
        <pc:spChg chg="mod">
          <ac:chgData name="HENRIO, Edouard" userId="5c7148f7-abfa-4fb9-ad29-286627bf53ef" providerId="ADAL" clId="{D53110E3-2253-40D9-9ED2-302591ABF449}" dt="2024-03-07T16:19:44.390" v="4848" actId="20577"/>
          <ac:spMkLst>
            <pc:docMk/>
            <pc:sldMk cId="4080557187" sldId="2147481384"/>
            <ac:spMk id="22" creationId="{92557DC4-B18F-4199-93D0-1D081E24520F}"/>
          </ac:spMkLst>
        </pc:spChg>
        <pc:spChg chg="mod">
          <ac:chgData name="HENRIO, Edouard" userId="5c7148f7-abfa-4fb9-ad29-286627bf53ef" providerId="ADAL" clId="{D53110E3-2253-40D9-9ED2-302591ABF449}" dt="2024-02-20T14:24:00.642" v="846" actId="20577"/>
          <ac:spMkLst>
            <pc:docMk/>
            <pc:sldMk cId="4080557187" sldId="2147481384"/>
            <ac:spMk id="23" creationId="{829AF7EE-145B-4C4A-8CEB-F55DCBE6686C}"/>
          </ac:spMkLst>
        </pc:spChg>
        <pc:spChg chg="mod">
          <ac:chgData name="HENRIO, Edouard" userId="5c7148f7-abfa-4fb9-ad29-286627bf53ef" providerId="ADAL" clId="{D53110E3-2253-40D9-9ED2-302591ABF449}" dt="2024-05-31T09:15:39.466" v="16452" actId="208"/>
          <ac:spMkLst>
            <pc:docMk/>
            <pc:sldMk cId="4080557187" sldId="2147481384"/>
            <ac:spMk id="24" creationId="{FFE9D206-188F-6E4A-62BC-D422D49911E0}"/>
          </ac:spMkLst>
        </pc:spChg>
        <pc:spChg chg="mod">
          <ac:chgData name="HENRIO, Edouard" userId="5c7148f7-abfa-4fb9-ad29-286627bf53ef" providerId="ADAL" clId="{D53110E3-2253-40D9-9ED2-302591ABF449}" dt="2024-05-31T09:15:47.677" v="16453" actId="11530"/>
          <ac:spMkLst>
            <pc:docMk/>
            <pc:sldMk cId="4080557187" sldId="2147481384"/>
            <ac:spMk id="25" creationId="{E16FB659-1047-FF35-AC46-ABB90EFB9E6E}"/>
          </ac:spMkLst>
        </pc:spChg>
        <pc:spChg chg="mod">
          <ac:chgData name="HENRIO, Edouard" userId="5c7148f7-abfa-4fb9-ad29-286627bf53ef" providerId="ADAL" clId="{D53110E3-2253-40D9-9ED2-302591ABF449}" dt="2024-05-31T09:15:47.677" v="16453" actId="11530"/>
          <ac:spMkLst>
            <pc:docMk/>
            <pc:sldMk cId="4080557187" sldId="2147481384"/>
            <ac:spMk id="26" creationId="{5563464F-63F9-0AD3-BD77-FE57EA21AFCE}"/>
          </ac:spMkLst>
        </pc:spChg>
        <pc:spChg chg="mod">
          <ac:chgData name="HENRIO, Edouard" userId="5c7148f7-abfa-4fb9-ad29-286627bf53ef" providerId="ADAL" clId="{D53110E3-2253-40D9-9ED2-302591ABF449}" dt="2024-05-31T09:15:39.466" v="16452" actId="208"/>
          <ac:spMkLst>
            <pc:docMk/>
            <pc:sldMk cId="4080557187" sldId="2147481384"/>
            <ac:spMk id="27" creationId="{F5999106-3207-26BB-F8ED-F0C42AB83DB9}"/>
          </ac:spMkLst>
        </pc:spChg>
      </pc:sldChg>
      <pc:sldChg chg="delSp modSp mod setBg">
        <pc:chgData name="HENRIO, Edouard" userId="5c7148f7-abfa-4fb9-ad29-286627bf53ef" providerId="ADAL" clId="{D53110E3-2253-40D9-9ED2-302591ABF449}" dt="2024-05-29T15:06:53.129" v="16173" actId="207"/>
        <pc:sldMkLst>
          <pc:docMk/>
          <pc:sldMk cId="200085282" sldId="2147481385"/>
        </pc:sldMkLst>
        <pc:spChg chg="mod topLvl">
          <ac:chgData name="HENRIO, Edouard" userId="5c7148f7-abfa-4fb9-ad29-286627bf53ef" providerId="ADAL" clId="{D53110E3-2253-40D9-9ED2-302591ABF449}" dt="2024-05-29T15:06:40.405" v="16171" actId="165"/>
          <ac:spMkLst>
            <pc:docMk/>
            <pc:sldMk cId="200085282" sldId="2147481385"/>
            <ac:spMk id="5" creationId="{838FE5A2-E234-012F-35D2-7DCA13392607}"/>
          </ac:spMkLst>
        </pc:spChg>
        <pc:spChg chg="mod topLvl">
          <ac:chgData name="HENRIO, Edouard" userId="5c7148f7-abfa-4fb9-ad29-286627bf53ef" providerId="ADAL" clId="{D53110E3-2253-40D9-9ED2-302591ABF449}" dt="2024-05-29T15:06:40.405" v="16171" actId="165"/>
          <ac:spMkLst>
            <pc:docMk/>
            <pc:sldMk cId="200085282" sldId="2147481385"/>
            <ac:spMk id="6" creationId="{BEFB9BF7-1882-0C79-7424-D4593910F14A}"/>
          </ac:spMkLst>
        </pc:spChg>
        <pc:spChg chg="mod topLvl">
          <ac:chgData name="HENRIO, Edouard" userId="5c7148f7-abfa-4fb9-ad29-286627bf53ef" providerId="ADAL" clId="{D53110E3-2253-40D9-9ED2-302591ABF449}" dt="2024-05-29T15:06:40.405" v="16171" actId="165"/>
          <ac:spMkLst>
            <pc:docMk/>
            <pc:sldMk cId="200085282" sldId="2147481385"/>
            <ac:spMk id="9" creationId="{2B0F8707-469C-F16C-9183-8D72812D5F8C}"/>
          </ac:spMkLst>
        </pc:spChg>
        <pc:spChg chg="mod topLvl">
          <ac:chgData name="HENRIO, Edouard" userId="5c7148f7-abfa-4fb9-ad29-286627bf53ef" providerId="ADAL" clId="{D53110E3-2253-40D9-9ED2-302591ABF449}" dt="2024-05-29T15:06:40.405" v="16171" actId="165"/>
          <ac:spMkLst>
            <pc:docMk/>
            <pc:sldMk cId="200085282" sldId="2147481385"/>
            <ac:spMk id="10" creationId="{58019D62-D91C-9DF8-9086-CFA678959832}"/>
          </ac:spMkLst>
        </pc:spChg>
        <pc:spChg chg="mod topLvl">
          <ac:chgData name="HENRIO, Edouard" userId="5c7148f7-abfa-4fb9-ad29-286627bf53ef" providerId="ADAL" clId="{D53110E3-2253-40D9-9ED2-302591ABF449}" dt="2024-05-29T15:06:40.405" v="16171" actId="165"/>
          <ac:spMkLst>
            <pc:docMk/>
            <pc:sldMk cId="200085282" sldId="2147481385"/>
            <ac:spMk id="14" creationId="{1B384FF1-BC39-68EA-B296-CFFC72CDCAAB}"/>
          </ac:spMkLst>
        </pc:spChg>
        <pc:spChg chg="mod topLvl">
          <ac:chgData name="HENRIO, Edouard" userId="5c7148f7-abfa-4fb9-ad29-286627bf53ef" providerId="ADAL" clId="{D53110E3-2253-40D9-9ED2-302591ABF449}" dt="2024-05-29T15:06:50.910" v="16172" actId="207"/>
          <ac:spMkLst>
            <pc:docMk/>
            <pc:sldMk cId="200085282" sldId="2147481385"/>
            <ac:spMk id="26" creationId="{1E899CC4-EBDF-B6B0-C746-299BFE1E02B0}"/>
          </ac:spMkLst>
        </pc:spChg>
        <pc:spChg chg="mod topLvl">
          <ac:chgData name="HENRIO, Edouard" userId="5c7148f7-abfa-4fb9-ad29-286627bf53ef" providerId="ADAL" clId="{D53110E3-2253-40D9-9ED2-302591ABF449}" dt="2024-05-29T15:06:50.910" v="16172" actId="207"/>
          <ac:spMkLst>
            <pc:docMk/>
            <pc:sldMk cId="200085282" sldId="2147481385"/>
            <ac:spMk id="27" creationId="{46D71C41-F411-5EFD-328E-45422E943171}"/>
          </ac:spMkLst>
        </pc:spChg>
        <pc:spChg chg="mod topLvl">
          <ac:chgData name="HENRIO, Edouard" userId="5c7148f7-abfa-4fb9-ad29-286627bf53ef" providerId="ADAL" clId="{D53110E3-2253-40D9-9ED2-302591ABF449}" dt="2024-05-29T15:06:50.910" v="16172" actId="207"/>
          <ac:spMkLst>
            <pc:docMk/>
            <pc:sldMk cId="200085282" sldId="2147481385"/>
            <ac:spMk id="28" creationId="{D3087A46-8D49-261A-05FA-03EE786A9942}"/>
          </ac:spMkLst>
        </pc:spChg>
        <pc:spChg chg="mod topLvl">
          <ac:chgData name="HENRIO, Edouard" userId="5c7148f7-abfa-4fb9-ad29-286627bf53ef" providerId="ADAL" clId="{D53110E3-2253-40D9-9ED2-302591ABF449}" dt="2024-05-29T15:06:50.910" v="16172" actId="207"/>
          <ac:spMkLst>
            <pc:docMk/>
            <pc:sldMk cId="200085282" sldId="2147481385"/>
            <ac:spMk id="29" creationId="{150A37F6-FB32-6195-27F0-BBB089BB4B96}"/>
          </ac:spMkLst>
        </pc:spChg>
        <pc:spChg chg="mod topLvl">
          <ac:chgData name="HENRIO, Edouard" userId="5c7148f7-abfa-4fb9-ad29-286627bf53ef" providerId="ADAL" clId="{D53110E3-2253-40D9-9ED2-302591ABF449}" dt="2024-05-29T15:06:50.910" v="16172" actId="207"/>
          <ac:spMkLst>
            <pc:docMk/>
            <pc:sldMk cId="200085282" sldId="2147481385"/>
            <ac:spMk id="30" creationId="{FA72FB36-10B3-4CDE-8F96-5931CE180416}"/>
          </ac:spMkLst>
        </pc:spChg>
        <pc:spChg chg="mod">
          <ac:chgData name="HENRIO, Edouard" userId="5c7148f7-abfa-4fb9-ad29-286627bf53ef" providerId="ADAL" clId="{D53110E3-2253-40D9-9ED2-302591ABF449}" dt="2024-05-29T15:06:53.129" v="16173" actId="207"/>
          <ac:spMkLst>
            <pc:docMk/>
            <pc:sldMk cId="200085282" sldId="2147481385"/>
            <ac:spMk id="33" creationId="{3506ADCC-0123-A700-E2A9-A2E3B6771BB9}"/>
          </ac:spMkLst>
        </pc:spChg>
        <pc:grpChg chg="del">
          <ac:chgData name="HENRIO, Edouard" userId="5c7148f7-abfa-4fb9-ad29-286627bf53ef" providerId="ADAL" clId="{D53110E3-2253-40D9-9ED2-302591ABF449}" dt="2024-05-29T15:06:40.405" v="16171" actId="165"/>
          <ac:grpSpMkLst>
            <pc:docMk/>
            <pc:sldMk cId="200085282" sldId="2147481385"/>
            <ac:grpSpMk id="31" creationId="{BAF55CF1-86D1-AA14-B905-F1C4AA6DBEB0}"/>
          </ac:grpSpMkLst>
        </pc:grpChg>
        <pc:grpChg chg="del">
          <ac:chgData name="HENRIO, Edouard" userId="5c7148f7-abfa-4fb9-ad29-286627bf53ef" providerId="ADAL" clId="{D53110E3-2253-40D9-9ED2-302591ABF449}" dt="2024-05-29T15:06:40.405" v="16171" actId="165"/>
          <ac:grpSpMkLst>
            <pc:docMk/>
            <pc:sldMk cId="200085282" sldId="2147481385"/>
            <ac:grpSpMk id="32" creationId="{8FC1BFF3-A8BE-CB31-1ED1-12B58B9BFE5A}"/>
          </ac:grpSpMkLst>
        </pc:grpChg>
        <pc:picChg chg="mod topLvl">
          <ac:chgData name="HENRIO, Edouard" userId="5c7148f7-abfa-4fb9-ad29-286627bf53ef" providerId="ADAL" clId="{D53110E3-2253-40D9-9ED2-302591ABF449}" dt="2024-05-29T15:06:40.405" v="16171" actId="165"/>
          <ac:picMkLst>
            <pc:docMk/>
            <pc:sldMk cId="200085282" sldId="2147481385"/>
            <ac:picMk id="5122" creationId="{83A3CE53-AC8B-11C3-EAF8-A1D3C7C2B922}"/>
          </ac:picMkLst>
        </pc:picChg>
        <pc:picChg chg="mod topLvl">
          <ac:chgData name="HENRIO, Edouard" userId="5c7148f7-abfa-4fb9-ad29-286627bf53ef" providerId="ADAL" clId="{D53110E3-2253-40D9-9ED2-302591ABF449}" dt="2024-05-29T15:06:40.405" v="16171" actId="165"/>
          <ac:picMkLst>
            <pc:docMk/>
            <pc:sldMk cId="200085282" sldId="2147481385"/>
            <ac:picMk id="5124" creationId="{5ACEC331-E8A9-427B-B37F-270AD9F67E37}"/>
          </ac:picMkLst>
        </pc:picChg>
        <pc:picChg chg="mod topLvl">
          <ac:chgData name="HENRIO, Edouard" userId="5c7148f7-abfa-4fb9-ad29-286627bf53ef" providerId="ADAL" clId="{D53110E3-2253-40D9-9ED2-302591ABF449}" dt="2024-05-29T15:06:40.405" v="16171" actId="165"/>
          <ac:picMkLst>
            <pc:docMk/>
            <pc:sldMk cId="200085282" sldId="2147481385"/>
            <ac:picMk id="5126" creationId="{04D337DC-F1EE-740A-67BE-3D1BC47225BA}"/>
          </ac:picMkLst>
        </pc:picChg>
        <pc:picChg chg="mod topLvl">
          <ac:chgData name="HENRIO, Edouard" userId="5c7148f7-abfa-4fb9-ad29-286627bf53ef" providerId="ADAL" clId="{D53110E3-2253-40D9-9ED2-302591ABF449}" dt="2024-05-29T15:06:40.405" v="16171" actId="165"/>
          <ac:picMkLst>
            <pc:docMk/>
            <pc:sldMk cId="200085282" sldId="2147481385"/>
            <ac:picMk id="5128" creationId="{5B699F63-0AA8-8986-E0CC-F2CD6B038CAB}"/>
          </ac:picMkLst>
        </pc:picChg>
        <pc:picChg chg="mod topLvl">
          <ac:chgData name="HENRIO, Edouard" userId="5c7148f7-abfa-4fb9-ad29-286627bf53ef" providerId="ADAL" clId="{D53110E3-2253-40D9-9ED2-302591ABF449}" dt="2024-05-29T15:06:40.405" v="16171" actId="165"/>
          <ac:picMkLst>
            <pc:docMk/>
            <pc:sldMk cId="200085282" sldId="2147481385"/>
            <ac:picMk id="5130" creationId="{8092DF6E-2B9D-0A15-DF21-D4F5F6BDFD02}"/>
          </ac:picMkLst>
        </pc:picChg>
      </pc:sldChg>
      <pc:sldChg chg="del">
        <pc:chgData name="HENRIO, Edouard" userId="5c7148f7-abfa-4fb9-ad29-286627bf53ef" providerId="ADAL" clId="{D53110E3-2253-40D9-9ED2-302591ABF449}" dt="2024-05-24T09:31:56.947" v="15161" actId="47"/>
        <pc:sldMkLst>
          <pc:docMk/>
          <pc:sldMk cId="3797539443" sldId="2147481388"/>
        </pc:sldMkLst>
      </pc:sldChg>
      <pc:sldChg chg="del">
        <pc:chgData name="HENRIO, Edouard" userId="5c7148f7-abfa-4fb9-ad29-286627bf53ef" providerId="ADAL" clId="{D53110E3-2253-40D9-9ED2-302591ABF449}" dt="2024-03-07T16:00:57.442" v="4609" actId="47"/>
        <pc:sldMkLst>
          <pc:docMk/>
          <pc:sldMk cId="1165176535" sldId="2147481391"/>
        </pc:sldMkLst>
      </pc:sldChg>
      <pc:sldChg chg="modSp mod">
        <pc:chgData name="HENRIO, Edouard" userId="5c7148f7-abfa-4fb9-ad29-286627bf53ef" providerId="ADAL" clId="{D53110E3-2253-40D9-9ED2-302591ABF449}" dt="2024-05-29T15:00:44.148" v="16119" actId="20577"/>
        <pc:sldMkLst>
          <pc:docMk/>
          <pc:sldMk cId="2343162873" sldId="2147481395"/>
        </pc:sldMkLst>
        <pc:spChg chg="mod">
          <ac:chgData name="HENRIO, Edouard" userId="5c7148f7-abfa-4fb9-ad29-286627bf53ef" providerId="ADAL" clId="{D53110E3-2253-40D9-9ED2-302591ABF449}" dt="2024-05-29T15:00:44.148" v="16119" actId="20577"/>
          <ac:spMkLst>
            <pc:docMk/>
            <pc:sldMk cId="2343162873" sldId="2147481395"/>
            <ac:spMk id="7" creationId="{26EF2914-107A-4255-96D0-EB57A51F375D}"/>
          </ac:spMkLst>
        </pc:spChg>
      </pc:sldChg>
      <pc:sldChg chg="del">
        <pc:chgData name="HENRIO, Edouard" userId="5c7148f7-abfa-4fb9-ad29-286627bf53ef" providerId="ADAL" clId="{D53110E3-2253-40D9-9ED2-302591ABF449}" dt="2024-03-07T16:24:33.938" v="4903" actId="47"/>
        <pc:sldMkLst>
          <pc:docMk/>
          <pc:sldMk cId="3959319687" sldId="2147481399"/>
        </pc:sldMkLst>
      </pc:sldChg>
      <pc:sldChg chg="del">
        <pc:chgData name="HENRIO, Edouard" userId="5c7148f7-abfa-4fb9-ad29-286627bf53ef" providerId="ADAL" clId="{D53110E3-2253-40D9-9ED2-302591ABF449}" dt="2024-03-07T16:01:05.908" v="4613" actId="47"/>
        <pc:sldMkLst>
          <pc:docMk/>
          <pc:sldMk cId="931920928" sldId="2147481402"/>
        </pc:sldMkLst>
      </pc:sldChg>
      <pc:sldChg chg="add">
        <pc:chgData name="HENRIO, Edouard" userId="5c7148f7-abfa-4fb9-ad29-286627bf53ef" providerId="ADAL" clId="{D53110E3-2253-40D9-9ED2-302591ABF449}" dt="2024-05-27T09:53:07.695" v="15546"/>
        <pc:sldMkLst>
          <pc:docMk/>
          <pc:sldMk cId="413589813" sldId="2147481406"/>
        </pc:sldMkLst>
      </pc:sldChg>
      <pc:sldChg chg="del">
        <pc:chgData name="HENRIO, Edouard" userId="5c7148f7-abfa-4fb9-ad29-286627bf53ef" providerId="ADAL" clId="{D53110E3-2253-40D9-9ED2-302591ABF449}" dt="2024-05-27T09:53:03.840" v="15545" actId="2696"/>
        <pc:sldMkLst>
          <pc:docMk/>
          <pc:sldMk cId="4155631524" sldId="2147481406"/>
        </pc:sldMkLst>
      </pc:sldChg>
      <pc:sldChg chg="addSp modSp">
        <pc:chgData name="HENRIO, Edouard" userId="5c7148f7-abfa-4fb9-ad29-286627bf53ef" providerId="ADAL" clId="{D53110E3-2253-40D9-9ED2-302591ABF449}" dt="2024-05-29T14:43:44.670" v="16081"/>
        <pc:sldMkLst>
          <pc:docMk/>
          <pc:sldMk cId="3229574289" sldId="2147481407"/>
        </pc:sldMkLst>
        <pc:spChg chg="add mod">
          <ac:chgData name="HENRIO, Edouard" userId="5c7148f7-abfa-4fb9-ad29-286627bf53ef" providerId="ADAL" clId="{D53110E3-2253-40D9-9ED2-302591ABF449}" dt="2024-05-29T14:43:44.670" v="16081"/>
          <ac:spMkLst>
            <pc:docMk/>
            <pc:sldMk cId="3229574289" sldId="2147481407"/>
            <ac:spMk id="8" creationId="{C84DEB15-609D-9C6C-EFBB-29D59453187D}"/>
          </ac:spMkLst>
        </pc:spChg>
        <pc:spChg chg="add mod">
          <ac:chgData name="HENRIO, Edouard" userId="5c7148f7-abfa-4fb9-ad29-286627bf53ef" providerId="ADAL" clId="{D53110E3-2253-40D9-9ED2-302591ABF449}" dt="2024-05-29T14:43:44.670" v="16081"/>
          <ac:spMkLst>
            <pc:docMk/>
            <pc:sldMk cId="3229574289" sldId="2147481407"/>
            <ac:spMk id="9" creationId="{43F84252-E052-A980-D30D-1B63D90A076A}"/>
          </ac:spMkLst>
        </pc:spChg>
      </pc:sldChg>
      <pc:sldChg chg="add del mod modShow">
        <pc:chgData name="HENRIO, Edouard" userId="5c7148f7-abfa-4fb9-ad29-286627bf53ef" providerId="ADAL" clId="{D53110E3-2253-40D9-9ED2-302591ABF449}" dt="2024-05-27T09:53:03.840" v="15545" actId="2696"/>
        <pc:sldMkLst>
          <pc:docMk/>
          <pc:sldMk cId="332520229" sldId="2147481408"/>
        </pc:sldMkLst>
      </pc:sldChg>
      <pc:sldChg chg="add">
        <pc:chgData name="HENRIO, Edouard" userId="5c7148f7-abfa-4fb9-ad29-286627bf53ef" providerId="ADAL" clId="{D53110E3-2253-40D9-9ED2-302591ABF449}" dt="2024-05-27T09:53:07.695" v="15546"/>
        <pc:sldMkLst>
          <pc:docMk/>
          <pc:sldMk cId="454306216" sldId="2147481408"/>
        </pc:sldMkLst>
      </pc:sldChg>
      <pc:sldChg chg="del mod modShow">
        <pc:chgData name="HENRIO, Edouard" userId="5c7148f7-abfa-4fb9-ad29-286627bf53ef" providerId="ADAL" clId="{D53110E3-2253-40D9-9ED2-302591ABF449}" dt="2024-05-27T09:52:58.456" v="15544" actId="47"/>
        <pc:sldMkLst>
          <pc:docMk/>
          <pc:sldMk cId="2276898899" sldId="2147481409"/>
        </pc:sldMkLst>
      </pc:sldChg>
      <pc:sldChg chg="modSp mod">
        <pc:chgData name="HENRIO, Edouard" userId="5c7148f7-abfa-4fb9-ad29-286627bf53ef" providerId="ADAL" clId="{D53110E3-2253-40D9-9ED2-302591ABF449}" dt="2024-02-23T14:22:11.414" v="848" actId="20577"/>
        <pc:sldMkLst>
          <pc:docMk/>
          <pc:sldMk cId="2523852459" sldId="2147481414"/>
        </pc:sldMkLst>
        <pc:spChg chg="mod">
          <ac:chgData name="HENRIO, Edouard" userId="5c7148f7-abfa-4fb9-ad29-286627bf53ef" providerId="ADAL" clId="{D53110E3-2253-40D9-9ED2-302591ABF449}" dt="2024-02-23T14:22:11.414" v="848" actId="20577"/>
          <ac:spMkLst>
            <pc:docMk/>
            <pc:sldMk cId="2523852459" sldId="2147481414"/>
            <ac:spMk id="3" creationId="{798DF0C1-754F-A51D-6282-B21ABFB6397D}"/>
          </ac:spMkLst>
        </pc:spChg>
      </pc:sldChg>
      <pc:sldChg chg="addSp delSp modSp new mod">
        <pc:chgData name="HENRIO, Edouard" userId="5c7148f7-abfa-4fb9-ad29-286627bf53ef" providerId="ADAL" clId="{D53110E3-2253-40D9-9ED2-302591ABF449}" dt="2024-05-29T15:11:25.497" v="16229" actId="12789"/>
        <pc:sldMkLst>
          <pc:docMk/>
          <pc:sldMk cId="3928444635" sldId="2147481415"/>
        </pc:sldMkLst>
        <pc:spChg chg="del">
          <ac:chgData name="HENRIO, Edouard" userId="5c7148f7-abfa-4fb9-ad29-286627bf53ef" providerId="ADAL" clId="{D53110E3-2253-40D9-9ED2-302591ABF449}" dt="2024-02-20T14:21:04.668" v="681" actId="478"/>
          <ac:spMkLst>
            <pc:docMk/>
            <pc:sldMk cId="3928444635" sldId="2147481415"/>
            <ac:spMk id="2" creationId="{D99A5FF0-C190-7FF7-8535-9E640D2E97AF}"/>
          </ac:spMkLst>
        </pc:spChg>
        <pc:spChg chg="mod">
          <ac:chgData name="HENRIO, Edouard" userId="5c7148f7-abfa-4fb9-ad29-286627bf53ef" providerId="ADAL" clId="{D53110E3-2253-40D9-9ED2-302591ABF449}" dt="2024-02-20T14:21:02.602" v="680" actId="20577"/>
          <ac:spMkLst>
            <pc:docMk/>
            <pc:sldMk cId="3928444635" sldId="2147481415"/>
            <ac:spMk id="3" creationId="{82C18E46-EEBD-D6DE-E6A3-7F5A27B8BA41}"/>
          </ac:spMkLst>
        </pc:spChg>
        <pc:spChg chg="add mod">
          <ac:chgData name="HENRIO, Edouard" userId="5c7148f7-abfa-4fb9-ad29-286627bf53ef" providerId="ADAL" clId="{D53110E3-2253-40D9-9ED2-302591ABF449}" dt="2024-05-29T15:10:35.084" v="16191" actId="1076"/>
          <ac:spMkLst>
            <pc:docMk/>
            <pc:sldMk cId="3928444635" sldId="2147481415"/>
            <ac:spMk id="5" creationId="{BD28F52F-29FF-ED93-C9E8-1776150C6014}"/>
          </ac:spMkLst>
        </pc:spChg>
        <pc:spChg chg="mod">
          <ac:chgData name="HENRIO, Edouard" userId="5c7148f7-abfa-4fb9-ad29-286627bf53ef" providerId="ADAL" clId="{D53110E3-2253-40D9-9ED2-302591ABF449}" dt="2024-05-29T15:10:35.084" v="16191" actId="1076"/>
          <ac:spMkLst>
            <pc:docMk/>
            <pc:sldMk cId="3928444635" sldId="2147481415"/>
            <ac:spMk id="8" creationId="{9CED62D4-9277-2C50-D7D6-2BB88BB05A3D}"/>
          </ac:spMkLst>
        </pc:spChg>
        <pc:spChg chg="add mod">
          <ac:chgData name="HENRIO, Edouard" userId="5c7148f7-abfa-4fb9-ad29-286627bf53ef" providerId="ADAL" clId="{D53110E3-2253-40D9-9ED2-302591ABF449}" dt="2024-05-29T15:02:24.405" v="16131"/>
          <ac:spMkLst>
            <pc:docMk/>
            <pc:sldMk cId="3928444635" sldId="2147481415"/>
            <ac:spMk id="9" creationId="{74B05A18-5255-103A-42A5-74AD3ED3F5A8}"/>
          </ac:spMkLst>
        </pc:spChg>
        <pc:spChg chg="mod">
          <ac:chgData name="HENRIO, Edouard" userId="5c7148f7-abfa-4fb9-ad29-286627bf53ef" providerId="ADAL" clId="{D53110E3-2253-40D9-9ED2-302591ABF449}" dt="2024-05-29T15:10:35.084" v="16191" actId="1076"/>
          <ac:spMkLst>
            <pc:docMk/>
            <pc:sldMk cId="3928444635" sldId="2147481415"/>
            <ac:spMk id="11" creationId="{5BD25EEA-443D-58B9-4FE4-1AA9F3A2813A}"/>
          </ac:spMkLst>
        </pc:spChg>
        <pc:spChg chg="add del mod">
          <ac:chgData name="HENRIO, Edouard" userId="5c7148f7-abfa-4fb9-ad29-286627bf53ef" providerId="ADAL" clId="{D53110E3-2253-40D9-9ED2-302591ABF449}" dt="2024-05-29T15:10:51.693" v="16195" actId="478"/>
          <ac:spMkLst>
            <pc:docMk/>
            <pc:sldMk cId="3928444635" sldId="2147481415"/>
            <ac:spMk id="12" creationId="{EFF6E94B-FF98-7567-7149-80B417B2B750}"/>
          </ac:spMkLst>
        </pc:spChg>
        <pc:spChg chg="add mod">
          <ac:chgData name="HENRIO, Edouard" userId="5c7148f7-abfa-4fb9-ad29-286627bf53ef" providerId="ADAL" clId="{D53110E3-2253-40D9-9ED2-302591ABF449}" dt="2024-05-29T15:11:02.547" v="16224" actId="20577"/>
          <ac:spMkLst>
            <pc:docMk/>
            <pc:sldMk cId="3928444635" sldId="2147481415"/>
            <ac:spMk id="13" creationId="{8BD21697-AAA4-D070-3561-B52AD5DDD8E8}"/>
          </ac:spMkLst>
        </pc:spChg>
        <pc:spChg chg="mod">
          <ac:chgData name="HENRIO, Edouard" userId="5c7148f7-abfa-4fb9-ad29-286627bf53ef" providerId="ADAL" clId="{D53110E3-2253-40D9-9ED2-302591ABF449}" dt="2024-05-29T15:10:38.012" v="16192" actId="552"/>
          <ac:spMkLst>
            <pc:docMk/>
            <pc:sldMk cId="3928444635" sldId="2147481415"/>
            <ac:spMk id="15" creationId="{D4B29489-EFA3-468C-76E6-AFFF7F95B5D5}"/>
          </ac:spMkLst>
        </pc:spChg>
        <pc:spChg chg="mod">
          <ac:chgData name="HENRIO, Edouard" userId="5c7148f7-abfa-4fb9-ad29-286627bf53ef" providerId="ADAL" clId="{D53110E3-2253-40D9-9ED2-302591ABF449}" dt="2024-05-29T15:10:45.102" v="16193" actId="553"/>
          <ac:spMkLst>
            <pc:docMk/>
            <pc:sldMk cId="3928444635" sldId="2147481415"/>
            <ac:spMk id="18" creationId="{463DB791-8203-0003-9E0D-858B62AF40AB}"/>
          </ac:spMkLst>
        </pc:spChg>
        <pc:spChg chg="mod">
          <ac:chgData name="HENRIO, Edouard" userId="5c7148f7-abfa-4fb9-ad29-286627bf53ef" providerId="ADAL" clId="{D53110E3-2253-40D9-9ED2-302591ABF449}" dt="2024-05-29T15:10:49.262" v="16194" actId="553"/>
          <ac:spMkLst>
            <pc:docMk/>
            <pc:sldMk cId="3928444635" sldId="2147481415"/>
            <ac:spMk id="21" creationId="{6B8B3FD3-CA64-4D66-FFD3-D75CCDE7F097}"/>
          </ac:spMkLst>
        </pc:spChg>
        <pc:graphicFrameChg chg="add del mod">
          <ac:chgData name="HENRIO, Edouard" userId="5c7148f7-abfa-4fb9-ad29-286627bf53ef" providerId="ADAL" clId="{D53110E3-2253-40D9-9ED2-302591ABF449}" dt="2024-05-29T15:02:04.399" v="16123"/>
          <ac:graphicFrameMkLst>
            <pc:docMk/>
            <pc:sldMk cId="3928444635" sldId="2147481415"/>
            <ac:graphicFrameMk id="2" creationId="{6CEC51F1-B4C3-41A7-4247-B57025016BB7}"/>
          </ac:graphicFrameMkLst>
        </pc:graphicFrameChg>
        <pc:picChg chg="add mod">
          <ac:chgData name="HENRIO, Edouard" userId="5c7148f7-abfa-4fb9-ad29-286627bf53ef" providerId="ADAL" clId="{D53110E3-2253-40D9-9ED2-302591ABF449}" dt="2024-05-29T15:10:16.801" v="16188" actId="12789"/>
          <ac:picMkLst>
            <pc:docMk/>
            <pc:sldMk cId="3928444635" sldId="2147481415"/>
            <ac:picMk id="4" creationId="{895243AE-1E29-A262-C367-0CA611FCEA1C}"/>
          </ac:picMkLst>
        </pc:picChg>
        <pc:picChg chg="add mod modCrop">
          <ac:chgData name="HENRIO, Edouard" userId="5c7148f7-abfa-4fb9-ad29-286627bf53ef" providerId="ADAL" clId="{D53110E3-2253-40D9-9ED2-302591ABF449}" dt="2024-05-29T15:11:25.497" v="16229" actId="12789"/>
          <ac:picMkLst>
            <pc:docMk/>
            <pc:sldMk cId="3928444635" sldId="2147481415"/>
            <ac:picMk id="6" creationId="{1DA698A0-1842-E669-6AE3-A337237CE70A}"/>
          </ac:picMkLst>
        </pc:picChg>
        <pc:picChg chg="mod">
          <ac:chgData name="HENRIO, Edouard" userId="5c7148f7-abfa-4fb9-ad29-286627bf53ef" providerId="ADAL" clId="{D53110E3-2253-40D9-9ED2-302591ABF449}" dt="2024-05-29T15:10:16.801" v="16188" actId="12789"/>
          <ac:picMkLst>
            <pc:docMk/>
            <pc:sldMk cId="3928444635" sldId="2147481415"/>
            <ac:picMk id="7" creationId="{103CA0EA-6C92-A1B3-930C-3B11A3B54083}"/>
          </ac:picMkLst>
        </pc:picChg>
        <pc:picChg chg="mod">
          <ac:chgData name="HENRIO, Edouard" userId="5c7148f7-abfa-4fb9-ad29-286627bf53ef" providerId="ADAL" clId="{D53110E3-2253-40D9-9ED2-302591ABF449}" dt="2024-05-29T15:10:16.801" v="16188" actId="12789"/>
          <ac:picMkLst>
            <pc:docMk/>
            <pc:sldMk cId="3928444635" sldId="2147481415"/>
            <ac:picMk id="10" creationId="{C53E58E4-7E9F-265F-DD66-BAB4F0B97513}"/>
          </ac:picMkLst>
        </pc:picChg>
        <pc:picChg chg="mod">
          <ac:chgData name="HENRIO, Edouard" userId="5c7148f7-abfa-4fb9-ad29-286627bf53ef" providerId="ADAL" clId="{D53110E3-2253-40D9-9ED2-302591ABF449}" dt="2024-05-29T15:10:38.012" v="16192" actId="552"/>
          <ac:picMkLst>
            <pc:docMk/>
            <pc:sldMk cId="3928444635" sldId="2147481415"/>
            <ac:picMk id="14" creationId="{18E0062C-385B-02C9-115E-1E3269F4A850}"/>
          </ac:picMkLst>
        </pc:picChg>
        <pc:picChg chg="mod">
          <ac:chgData name="HENRIO, Edouard" userId="5c7148f7-abfa-4fb9-ad29-286627bf53ef" providerId="ADAL" clId="{D53110E3-2253-40D9-9ED2-302591ABF449}" dt="2024-05-29T15:10:45.102" v="16193" actId="553"/>
          <ac:picMkLst>
            <pc:docMk/>
            <pc:sldMk cId="3928444635" sldId="2147481415"/>
            <ac:picMk id="17" creationId="{9F313335-A36D-AB7C-AAAF-866B8677F919}"/>
          </ac:picMkLst>
        </pc:picChg>
        <pc:picChg chg="mod">
          <ac:chgData name="HENRIO, Edouard" userId="5c7148f7-abfa-4fb9-ad29-286627bf53ef" providerId="ADAL" clId="{D53110E3-2253-40D9-9ED2-302591ABF449}" dt="2024-05-29T15:10:49.262" v="16194" actId="553"/>
          <ac:picMkLst>
            <pc:docMk/>
            <pc:sldMk cId="3928444635" sldId="2147481415"/>
            <ac:picMk id="20" creationId="{D6394DF4-B89A-4D7A-D973-F5EEF7DEB9A2}"/>
          </ac:picMkLst>
        </pc:picChg>
        <pc:picChg chg="add mod">
          <ac:chgData name="HENRIO, Edouard" userId="5c7148f7-abfa-4fb9-ad29-286627bf53ef" providerId="ADAL" clId="{D53110E3-2253-40D9-9ED2-302591ABF449}" dt="2024-05-29T15:11:25.497" v="16229" actId="12789"/>
          <ac:picMkLst>
            <pc:docMk/>
            <pc:sldMk cId="3928444635" sldId="2147481415"/>
            <ac:picMk id="1026" creationId="{63395E7B-8790-14B8-0799-290AC63420F1}"/>
          </ac:picMkLst>
        </pc:picChg>
      </pc:sldChg>
      <pc:sldChg chg="add del">
        <pc:chgData name="HENRIO, Edouard" userId="5c7148f7-abfa-4fb9-ad29-286627bf53ef" providerId="ADAL" clId="{D53110E3-2253-40D9-9ED2-302591ABF449}" dt="2024-02-20T14:21:09.419" v="683"/>
        <pc:sldMkLst>
          <pc:docMk/>
          <pc:sldMk cId="1053927192" sldId="2147481416"/>
        </pc:sldMkLst>
      </pc:sldChg>
      <pc:sldChg chg="addSp delSp modSp mod">
        <pc:chgData name="HENRIO, Edouard" userId="5c7148f7-abfa-4fb9-ad29-286627bf53ef" providerId="ADAL" clId="{D53110E3-2253-40D9-9ED2-302591ABF449}" dt="2024-05-22T12:15:00.851" v="12130" actId="478"/>
        <pc:sldMkLst>
          <pc:docMk/>
          <pc:sldMk cId="1732532695" sldId="2147481416"/>
        </pc:sldMkLst>
        <pc:spChg chg="add del mod">
          <ac:chgData name="HENRIO, Edouard" userId="5c7148f7-abfa-4fb9-ad29-286627bf53ef" providerId="ADAL" clId="{D53110E3-2253-40D9-9ED2-302591ABF449}" dt="2024-05-22T12:15:00.851" v="12130" actId="478"/>
          <ac:spMkLst>
            <pc:docMk/>
            <pc:sldMk cId="1732532695" sldId="2147481416"/>
            <ac:spMk id="2" creationId="{1AAB65A8-19B9-3244-B6AE-EE96D84C45B9}"/>
          </ac:spMkLst>
        </pc:spChg>
      </pc:sldChg>
      <pc:sldChg chg="addSp delSp modSp mod">
        <pc:chgData name="HENRIO, Edouard" userId="5c7148f7-abfa-4fb9-ad29-286627bf53ef" providerId="ADAL" clId="{D53110E3-2253-40D9-9ED2-302591ABF449}" dt="2024-05-29T15:00:37.001" v="16110" actId="20577"/>
        <pc:sldMkLst>
          <pc:docMk/>
          <pc:sldMk cId="3824454684" sldId="2147481417"/>
        </pc:sldMkLst>
        <pc:spChg chg="mod">
          <ac:chgData name="HENRIO, Edouard" userId="5c7148f7-abfa-4fb9-ad29-286627bf53ef" providerId="ADAL" clId="{D53110E3-2253-40D9-9ED2-302591ABF449}" dt="2024-05-29T15:00:37.001" v="16110" actId="20577"/>
          <ac:spMkLst>
            <pc:docMk/>
            <pc:sldMk cId="3824454684" sldId="2147481417"/>
            <ac:spMk id="2" creationId="{09153CF7-2EF0-4034-FABB-EF69E193CC6A}"/>
          </ac:spMkLst>
        </pc:spChg>
        <pc:spChg chg="del mod">
          <ac:chgData name="HENRIO, Edouard" userId="5c7148f7-abfa-4fb9-ad29-286627bf53ef" providerId="ADAL" clId="{D53110E3-2253-40D9-9ED2-302591ABF449}" dt="2024-03-07T15:56:05.642" v="4346" actId="478"/>
          <ac:spMkLst>
            <pc:docMk/>
            <pc:sldMk cId="3824454684" sldId="2147481417"/>
            <ac:spMk id="3" creationId="{9BD07E78-EFE6-2006-4C55-E5D11673B8E3}"/>
          </ac:spMkLst>
        </pc:spChg>
        <pc:spChg chg="add mod">
          <ac:chgData name="HENRIO, Edouard" userId="5c7148f7-abfa-4fb9-ad29-286627bf53ef" providerId="ADAL" clId="{D53110E3-2253-40D9-9ED2-302591ABF449}" dt="2024-03-07T15:55:15.577" v="4321" actId="1076"/>
          <ac:spMkLst>
            <pc:docMk/>
            <pc:sldMk cId="3824454684" sldId="2147481417"/>
            <ac:spMk id="5" creationId="{55846A21-DF7C-3477-69FE-8DC1A4802317}"/>
          </ac:spMkLst>
        </pc:spChg>
        <pc:spChg chg="add mod">
          <ac:chgData name="HENRIO, Edouard" userId="5c7148f7-abfa-4fb9-ad29-286627bf53ef" providerId="ADAL" clId="{D53110E3-2253-40D9-9ED2-302591ABF449}" dt="2024-03-07T15:55:18.016" v="4322" actId="1076"/>
          <ac:spMkLst>
            <pc:docMk/>
            <pc:sldMk cId="3824454684" sldId="2147481417"/>
            <ac:spMk id="6" creationId="{FF18B552-67BE-3B6C-3B9E-D402FD17644C}"/>
          </ac:spMkLst>
        </pc:spChg>
        <pc:spChg chg="add mod">
          <ac:chgData name="HENRIO, Edouard" userId="5c7148f7-abfa-4fb9-ad29-286627bf53ef" providerId="ADAL" clId="{D53110E3-2253-40D9-9ED2-302591ABF449}" dt="2024-03-07T15:55:36.151" v="4340" actId="14861"/>
          <ac:spMkLst>
            <pc:docMk/>
            <pc:sldMk cId="3824454684" sldId="2147481417"/>
            <ac:spMk id="7" creationId="{9D67B6B4-B458-CB3C-19E8-1409677B2667}"/>
          </ac:spMkLst>
        </pc:spChg>
        <pc:spChg chg="add del mod">
          <ac:chgData name="HENRIO, Edouard" userId="5c7148f7-abfa-4fb9-ad29-286627bf53ef" providerId="ADAL" clId="{D53110E3-2253-40D9-9ED2-302591ABF449}" dt="2024-03-07T15:56:07.401" v="4347" actId="478"/>
          <ac:spMkLst>
            <pc:docMk/>
            <pc:sldMk cId="3824454684" sldId="2147481417"/>
            <ac:spMk id="9" creationId="{56DE9BD4-6278-5715-F672-ED6EE7012498}"/>
          </ac:spMkLst>
        </pc:spChg>
        <pc:picChg chg="mod">
          <ac:chgData name="HENRIO, Edouard" userId="5c7148f7-abfa-4fb9-ad29-286627bf53ef" providerId="ADAL" clId="{D53110E3-2253-40D9-9ED2-302591ABF449}" dt="2024-03-07T15:56:09.266" v="4348" actId="1076"/>
          <ac:picMkLst>
            <pc:docMk/>
            <pc:sldMk cId="3824454684" sldId="2147481417"/>
            <ac:picMk id="4" creationId="{CB857379-99EF-755D-0C7D-B85070B7AA94}"/>
          </ac:picMkLst>
        </pc:picChg>
      </pc:sldChg>
      <pc:sldChg chg="addSp delSp modSp mod">
        <pc:chgData name="HENRIO, Edouard" userId="5c7148f7-abfa-4fb9-ad29-286627bf53ef" providerId="ADAL" clId="{D53110E3-2253-40D9-9ED2-302591ABF449}" dt="2024-03-07T15:56:58.130" v="4362" actId="1076"/>
        <pc:sldMkLst>
          <pc:docMk/>
          <pc:sldMk cId="4101049482" sldId="2147481418"/>
        </pc:sldMkLst>
        <pc:spChg chg="del mod">
          <ac:chgData name="HENRIO, Edouard" userId="5c7148f7-abfa-4fb9-ad29-286627bf53ef" providerId="ADAL" clId="{D53110E3-2253-40D9-9ED2-302591ABF449}" dt="2024-03-07T15:56:14.627" v="4349" actId="478"/>
          <ac:spMkLst>
            <pc:docMk/>
            <pc:sldMk cId="4101049482" sldId="2147481418"/>
            <ac:spMk id="3" creationId="{9BD07E78-EFE6-2006-4C55-E5D11673B8E3}"/>
          </ac:spMkLst>
        </pc:spChg>
        <pc:spChg chg="add mod">
          <ac:chgData name="HENRIO, Edouard" userId="5c7148f7-abfa-4fb9-ad29-286627bf53ef" providerId="ADAL" clId="{D53110E3-2253-40D9-9ED2-302591ABF449}" dt="2024-03-07T15:55:44.652" v="4342" actId="1076"/>
          <ac:spMkLst>
            <pc:docMk/>
            <pc:sldMk cId="4101049482" sldId="2147481418"/>
            <ac:spMk id="5" creationId="{5353FDC3-2002-A1D6-B6F0-E6C2852A45FF}"/>
          </ac:spMkLst>
        </pc:spChg>
        <pc:spChg chg="add mod">
          <ac:chgData name="HENRIO, Edouard" userId="5c7148f7-abfa-4fb9-ad29-286627bf53ef" providerId="ADAL" clId="{D53110E3-2253-40D9-9ED2-302591ABF449}" dt="2024-03-07T15:55:44.652" v="4342" actId="1076"/>
          <ac:spMkLst>
            <pc:docMk/>
            <pc:sldMk cId="4101049482" sldId="2147481418"/>
            <ac:spMk id="6" creationId="{0841E9B9-805C-E795-D64E-44CC8D5A198D}"/>
          </ac:spMkLst>
        </pc:spChg>
        <pc:spChg chg="add mod">
          <ac:chgData name="HENRIO, Edouard" userId="5c7148f7-abfa-4fb9-ad29-286627bf53ef" providerId="ADAL" clId="{D53110E3-2253-40D9-9ED2-302591ABF449}" dt="2024-03-07T15:55:44.652" v="4342" actId="1076"/>
          <ac:spMkLst>
            <pc:docMk/>
            <pc:sldMk cId="4101049482" sldId="2147481418"/>
            <ac:spMk id="7" creationId="{065C948C-E16F-D7F8-D3F4-495C164D692F}"/>
          </ac:spMkLst>
        </pc:spChg>
        <pc:spChg chg="add del mod">
          <ac:chgData name="HENRIO, Edouard" userId="5c7148f7-abfa-4fb9-ad29-286627bf53ef" providerId="ADAL" clId="{D53110E3-2253-40D9-9ED2-302591ABF449}" dt="2024-03-07T15:56:16.361" v="4350" actId="478"/>
          <ac:spMkLst>
            <pc:docMk/>
            <pc:sldMk cId="4101049482" sldId="2147481418"/>
            <ac:spMk id="9" creationId="{2CFD8978-5339-2AA7-E719-8BA87643930E}"/>
          </ac:spMkLst>
        </pc:spChg>
        <pc:picChg chg="mod">
          <ac:chgData name="HENRIO, Edouard" userId="5c7148f7-abfa-4fb9-ad29-286627bf53ef" providerId="ADAL" clId="{D53110E3-2253-40D9-9ED2-302591ABF449}" dt="2024-03-07T15:56:17.922" v="4351" actId="167"/>
          <ac:picMkLst>
            <pc:docMk/>
            <pc:sldMk cId="4101049482" sldId="2147481418"/>
            <ac:picMk id="4" creationId="{FE0DD6C2-39D9-1ED4-B8DF-B5C007EDA73F}"/>
          </ac:picMkLst>
        </pc:picChg>
        <pc:picChg chg="add mod">
          <ac:chgData name="HENRIO, Edouard" userId="5c7148f7-abfa-4fb9-ad29-286627bf53ef" providerId="ADAL" clId="{D53110E3-2253-40D9-9ED2-302591ABF449}" dt="2024-03-07T15:56:58.130" v="4362" actId="1076"/>
          <ac:picMkLst>
            <pc:docMk/>
            <pc:sldMk cId="4101049482" sldId="2147481418"/>
            <ac:picMk id="10" creationId="{9FDB5328-7629-8B8B-E290-925F775FE681}"/>
          </ac:picMkLst>
        </pc:picChg>
        <pc:picChg chg="add del mod">
          <ac:chgData name="HENRIO, Edouard" userId="5c7148f7-abfa-4fb9-ad29-286627bf53ef" providerId="ADAL" clId="{D53110E3-2253-40D9-9ED2-302591ABF449}" dt="2024-03-07T15:56:32.462" v="4354" actId="21"/>
          <ac:picMkLst>
            <pc:docMk/>
            <pc:sldMk cId="4101049482" sldId="2147481418"/>
            <ac:picMk id="11" creationId="{CAD8AE06-7D2B-6CA2-234F-1DC8E15546D4}"/>
          </ac:picMkLst>
        </pc:picChg>
      </pc:sldChg>
      <pc:sldChg chg="addSp delSp modSp mod">
        <pc:chgData name="HENRIO, Edouard" userId="5c7148f7-abfa-4fb9-ad29-286627bf53ef" providerId="ADAL" clId="{D53110E3-2253-40D9-9ED2-302591ABF449}" dt="2024-03-07T15:56:42.516" v="4359" actId="1076"/>
        <pc:sldMkLst>
          <pc:docMk/>
          <pc:sldMk cId="2657418220" sldId="2147481419"/>
        </pc:sldMkLst>
        <pc:spChg chg="del">
          <ac:chgData name="HENRIO, Edouard" userId="5c7148f7-abfa-4fb9-ad29-286627bf53ef" providerId="ADAL" clId="{D53110E3-2253-40D9-9ED2-302591ABF449}" dt="2024-03-07T15:56:22.722" v="4352" actId="478"/>
          <ac:spMkLst>
            <pc:docMk/>
            <pc:sldMk cId="2657418220" sldId="2147481419"/>
            <ac:spMk id="3" creationId="{9BD07E78-EFE6-2006-4C55-E5D11673B8E3}"/>
          </ac:spMkLst>
        </pc:spChg>
        <pc:spChg chg="add mod">
          <ac:chgData name="HENRIO, Edouard" userId="5c7148f7-abfa-4fb9-ad29-286627bf53ef" providerId="ADAL" clId="{D53110E3-2253-40D9-9ED2-302591ABF449}" dt="2024-03-07T15:55:55.410" v="4344"/>
          <ac:spMkLst>
            <pc:docMk/>
            <pc:sldMk cId="2657418220" sldId="2147481419"/>
            <ac:spMk id="4" creationId="{6DF82AC6-5530-6A61-DD9C-9C5AC8A785FB}"/>
          </ac:spMkLst>
        </pc:spChg>
        <pc:spChg chg="add mod">
          <ac:chgData name="HENRIO, Edouard" userId="5c7148f7-abfa-4fb9-ad29-286627bf53ef" providerId="ADAL" clId="{D53110E3-2253-40D9-9ED2-302591ABF449}" dt="2024-03-07T15:55:55.410" v="4344"/>
          <ac:spMkLst>
            <pc:docMk/>
            <pc:sldMk cId="2657418220" sldId="2147481419"/>
            <ac:spMk id="6" creationId="{CF9296B9-97F8-EF50-FC80-0B1140CAA3FF}"/>
          </ac:spMkLst>
        </pc:spChg>
        <pc:spChg chg="add mod">
          <ac:chgData name="HENRIO, Edouard" userId="5c7148f7-abfa-4fb9-ad29-286627bf53ef" providerId="ADAL" clId="{D53110E3-2253-40D9-9ED2-302591ABF449}" dt="2024-03-07T15:55:55.410" v="4344"/>
          <ac:spMkLst>
            <pc:docMk/>
            <pc:sldMk cId="2657418220" sldId="2147481419"/>
            <ac:spMk id="7" creationId="{61C95B89-CCA6-3097-51A1-4BD3CA16AC63}"/>
          </ac:spMkLst>
        </pc:spChg>
        <pc:spChg chg="add del mod">
          <ac:chgData name="HENRIO, Edouard" userId="5c7148f7-abfa-4fb9-ad29-286627bf53ef" providerId="ADAL" clId="{D53110E3-2253-40D9-9ED2-302591ABF449}" dt="2024-03-07T15:56:37.027" v="4356" actId="478"/>
          <ac:spMkLst>
            <pc:docMk/>
            <pc:sldMk cId="2657418220" sldId="2147481419"/>
            <ac:spMk id="9" creationId="{A2EB3DA7-B260-960B-3DE4-BA37D860534D}"/>
          </ac:spMkLst>
        </pc:spChg>
        <pc:picChg chg="add mod">
          <ac:chgData name="HENRIO, Edouard" userId="5c7148f7-abfa-4fb9-ad29-286627bf53ef" providerId="ADAL" clId="{D53110E3-2253-40D9-9ED2-302591ABF449}" dt="2024-03-07T15:56:42.516" v="4359" actId="1076"/>
          <ac:picMkLst>
            <pc:docMk/>
            <pc:sldMk cId="2657418220" sldId="2147481419"/>
            <ac:picMk id="10" creationId="{A71E5082-150F-F1F6-820A-1F0CA38B8A85}"/>
          </ac:picMkLst>
        </pc:picChg>
      </pc:sldChg>
      <pc:sldChg chg="addSp delSp modSp mod">
        <pc:chgData name="HENRIO, Edouard" userId="5c7148f7-abfa-4fb9-ad29-286627bf53ef" providerId="ADAL" clId="{D53110E3-2253-40D9-9ED2-302591ABF449}" dt="2024-05-29T15:06:20.442" v="16169" actId="12788"/>
        <pc:sldMkLst>
          <pc:docMk/>
          <pc:sldMk cId="1486632925" sldId="2147481426"/>
        </pc:sldMkLst>
        <pc:spChg chg="del">
          <ac:chgData name="HENRIO, Edouard" userId="5c7148f7-abfa-4fb9-ad29-286627bf53ef" providerId="ADAL" clId="{D53110E3-2253-40D9-9ED2-302591ABF449}" dt="2024-05-22T14:21:39.780" v="12235" actId="478"/>
          <ac:spMkLst>
            <pc:docMk/>
            <pc:sldMk cId="1486632925" sldId="2147481426"/>
            <ac:spMk id="2" creationId="{6E5990F2-BDA4-7A82-9EC9-43B517A3990D}"/>
          </ac:spMkLst>
        </pc:spChg>
        <pc:spChg chg="del mod topLvl">
          <ac:chgData name="HENRIO, Edouard" userId="5c7148f7-abfa-4fb9-ad29-286627bf53ef" providerId="ADAL" clId="{D53110E3-2253-40D9-9ED2-302591ABF449}" dt="2024-05-29T15:06:17.227" v="16167" actId="478"/>
          <ac:spMkLst>
            <pc:docMk/>
            <pc:sldMk cId="1486632925" sldId="2147481426"/>
            <ac:spMk id="5" creationId="{BD28F52F-29FF-ED93-C9E8-1776150C6014}"/>
          </ac:spMkLst>
        </pc:spChg>
        <pc:spChg chg="mod topLvl">
          <ac:chgData name="HENRIO, Edouard" userId="5c7148f7-abfa-4fb9-ad29-286627bf53ef" providerId="ADAL" clId="{D53110E3-2253-40D9-9ED2-302591ABF449}" dt="2024-05-29T15:06:20.442" v="16169" actId="12788"/>
          <ac:spMkLst>
            <pc:docMk/>
            <pc:sldMk cId="1486632925" sldId="2147481426"/>
            <ac:spMk id="8" creationId="{9CED62D4-9277-2C50-D7D6-2BB88BB05A3D}"/>
          </ac:spMkLst>
        </pc:spChg>
        <pc:spChg chg="del">
          <ac:chgData name="HENRIO, Edouard" userId="5c7148f7-abfa-4fb9-ad29-286627bf53ef" providerId="ADAL" clId="{D53110E3-2253-40D9-9ED2-302591ABF449}" dt="2024-05-29T15:06:08.666" v="16163" actId="478"/>
          <ac:spMkLst>
            <pc:docMk/>
            <pc:sldMk cId="1486632925" sldId="2147481426"/>
            <ac:spMk id="11" creationId="{5BD25EEA-443D-58B9-4FE4-1AA9F3A2813A}"/>
          </ac:spMkLst>
        </pc:spChg>
        <pc:grpChg chg="add del mod">
          <ac:chgData name="HENRIO, Edouard" userId="5c7148f7-abfa-4fb9-ad29-286627bf53ef" providerId="ADAL" clId="{D53110E3-2253-40D9-9ED2-302591ABF449}" dt="2024-05-29T15:06:16.104" v="16166" actId="165"/>
          <ac:grpSpMkLst>
            <pc:docMk/>
            <pc:sldMk cId="1486632925" sldId="2147481426"/>
            <ac:grpSpMk id="6" creationId="{E0E62307-FC51-C1C5-A8B1-8C30D62229A1}"/>
          </ac:grpSpMkLst>
        </pc:grpChg>
        <pc:picChg chg="add del">
          <ac:chgData name="HENRIO, Edouard" userId="5c7148f7-abfa-4fb9-ad29-286627bf53ef" providerId="ADAL" clId="{D53110E3-2253-40D9-9ED2-302591ABF449}" dt="2024-05-29T15:05:27.912" v="16149" actId="21"/>
          <ac:picMkLst>
            <pc:docMk/>
            <pc:sldMk cId="1486632925" sldId="2147481426"/>
            <ac:picMk id="2" creationId="{753AAC97-BB8E-E97D-84B6-5866D170787E}"/>
          </ac:picMkLst>
        </pc:picChg>
        <pc:picChg chg="del mod topLvl">
          <ac:chgData name="HENRIO, Edouard" userId="5c7148f7-abfa-4fb9-ad29-286627bf53ef" providerId="ADAL" clId="{D53110E3-2253-40D9-9ED2-302591ABF449}" dt="2024-05-29T15:06:17.227" v="16167" actId="478"/>
          <ac:picMkLst>
            <pc:docMk/>
            <pc:sldMk cId="1486632925" sldId="2147481426"/>
            <ac:picMk id="4" creationId="{895243AE-1E29-A262-C367-0CA611FCEA1C}"/>
          </ac:picMkLst>
        </pc:picChg>
        <pc:picChg chg="mod topLvl">
          <ac:chgData name="HENRIO, Edouard" userId="5c7148f7-abfa-4fb9-ad29-286627bf53ef" providerId="ADAL" clId="{D53110E3-2253-40D9-9ED2-302591ABF449}" dt="2024-05-29T15:06:18.895" v="16168" actId="12788"/>
          <ac:picMkLst>
            <pc:docMk/>
            <pc:sldMk cId="1486632925" sldId="2147481426"/>
            <ac:picMk id="7" creationId="{103CA0EA-6C92-A1B3-930C-3B11A3B54083}"/>
          </ac:picMkLst>
        </pc:picChg>
        <pc:picChg chg="del mod">
          <ac:chgData name="HENRIO, Edouard" userId="5c7148f7-abfa-4fb9-ad29-286627bf53ef" providerId="ADAL" clId="{D53110E3-2253-40D9-9ED2-302591ABF449}" dt="2024-05-29T15:06:08.666" v="16163" actId="478"/>
          <ac:picMkLst>
            <pc:docMk/>
            <pc:sldMk cId="1486632925" sldId="2147481426"/>
            <ac:picMk id="10" creationId="{C53E58E4-7E9F-265F-DD66-BAB4F0B97513}"/>
          </ac:picMkLst>
        </pc:picChg>
      </pc:sldChg>
      <pc:sldChg chg="addSp modSp mod">
        <pc:chgData name="HENRIO, Edouard" userId="5c7148f7-abfa-4fb9-ad29-286627bf53ef" providerId="ADAL" clId="{D53110E3-2253-40D9-9ED2-302591ABF449}" dt="2024-05-17T12:31:05.471" v="12111" actId="20577"/>
        <pc:sldMkLst>
          <pc:docMk/>
          <pc:sldMk cId="1592835836" sldId="2147481427"/>
        </pc:sldMkLst>
        <pc:spChg chg="add mod">
          <ac:chgData name="HENRIO, Edouard" userId="5c7148f7-abfa-4fb9-ad29-286627bf53ef" providerId="ADAL" clId="{D53110E3-2253-40D9-9ED2-302591ABF449}" dt="2024-05-17T12:31:05.471" v="12111" actId="20577"/>
          <ac:spMkLst>
            <pc:docMk/>
            <pc:sldMk cId="1592835836" sldId="2147481427"/>
            <ac:spMk id="6" creationId="{0F049D17-D50E-72C2-9F33-8B1801FD3CE3}"/>
          </ac:spMkLst>
        </pc:spChg>
      </pc:sldChg>
      <pc:sldChg chg="addSp delSp modSp mod">
        <pc:chgData name="HENRIO, Edouard" userId="5c7148f7-abfa-4fb9-ad29-286627bf53ef" providerId="ADAL" clId="{D53110E3-2253-40D9-9ED2-302591ABF449}" dt="2024-05-29T14:44:14.001" v="16092"/>
        <pc:sldMkLst>
          <pc:docMk/>
          <pc:sldMk cId="4220268473" sldId="2147481428"/>
        </pc:sldMkLst>
        <pc:picChg chg="add del">
          <ac:chgData name="HENRIO, Edouard" userId="5c7148f7-abfa-4fb9-ad29-286627bf53ef" providerId="ADAL" clId="{D53110E3-2253-40D9-9ED2-302591ABF449}" dt="2024-05-29T14:44:08.986" v="16089" actId="21"/>
          <ac:picMkLst>
            <pc:docMk/>
            <pc:sldMk cId="4220268473" sldId="2147481428"/>
            <ac:picMk id="2" creationId="{2ABCAAA4-0552-CC9A-8238-8916816FF610}"/>
          </ac:picMkLst>
        </pc:picChg>
        <pc:picChg chg="add mod">
          <ac:chgData name="HENRIO, Edouard" userId="5c7148f7-abfa-4fb9-ad29-286627bf53ef" providerId="ADAL" clId="{D53110E3-2253-40D9-9ED2-302591ABF449}" dt="2024-05-29T14:44:14.001" v="16092"/>
          <ac:picMkLst>
            <pc:docMk/>
            <pc:sldMk cId="4220268473" sldId="2147481428"/>
            <ac:picMk id="4" creationId="{32FA9CD2-1ED5-178A-2FAF-F8B1E43511D0}"/>
          </ac:picMkLst>
        </pc:picChg>
        <pc:picChg chg="del mod">
          <ac:chgData name="HENRIO, Edouard" userId="5c7148f7-abfa-4fb9-ad29-286627bf53ef" providerId="ADAL" clId="{D53110E3-2253-40D9-9ED2-302591ABF449}" dt="2024-05-29T14:44:13.048" v="16091" actId="21"/>
          <ac:picMkLst>
            <pc:docMk/>
            <pc:sldMk cId="4220268473" sldId="2147481428"/>
            <ac:picMk id="7" creationId="{103CA0EA-6C92-A1B3-930C-3B11A3B54083}"/>
          </ac:picMkLst>
        </pc:picChg>
      </pc:sldChg>
      <pc:sldChg chg="addSp delSp modSp mod">
        <pc:chgData name="HENRIO, Edouard" userId="5c7148f7-abfa-4fb9-ad29-286627bf53ef" providerId="ADAL" clId="{D53110E3-2253-40D9-9ED2-302591ABF449}" dt="2024-05-29T14:44:25.396" v="16097" actId="14826"/>
        <pc:sldMkLst>
          <pc:docMk/>
          <pc:sldMk cId="484667238" sldId="2147481430"/>
        </pc:sldMkLst>
        <pc:picChg chg="add del mod">
          <ac:chgData name="HENRIO, Edouard" userId="5c7148f7-abfa-4fb9-ad29-286627bf53ef" providerId="ADAL" clId="{D53110E3-2253-40D9-9ED2-302591ABF449}" dt="2024-05-29T14:44:25.396" v="16097" actId="14826"/>
          <ac:picMkLst>
            <pc:docMk/>
            <pc:sldMk cId="484667238" sldId="2147481430"/>
            <ac:picMk id="7" creationId="{103CA0EA-6C92-A1B3-930C-3B11A3B54083}"/>
          </ac:picMkLst>
        </pc:picChg>
      </pc:sldChg>
      <pc:sldChg chg="addSp delSp modSp del mod modClrScheme chgLayout">
        <pc:chgData name="HENRIO, Edouard" userId="5c7148f7-abfa-4fb9-ad29-286627bf53ef" providerId="ADAL" clId="{D53110E3-2253-40D9-9ED2-302591ABF449}" dt="2024-05-27T09:53:03.840" v="15545" actId="2696"/>
        <pc:sldMkLst>
          <pc:docMk/>
          <pc:sldMk cId="241920681" sldId="2147481431"/>
        </pc:sldMkLst>
        <pc:spChg chg="add del mod ord">
          <ac:chgData name="HENRIO, Edouard" userId="5c7148f7-abfa-4fb9-ad29-286627bf53ef" providerId="ADAL" clId="{D53110E3-2253-40D9-9ED2-302591ABF449}" dt="2024-03-07T15:59:35.775" v="4533" actId="478"/>
          <ac:spMkLst>
            <pc:docMk/>
            <pc:sldMk cId="241920681" sldId="2147481431"/>
            <ac:spMk id="2" creationId="{54495744-25E8-CD9D-E7F8-7858F89178F7}"/>
          </ac:spMkLst>
        </pc:spChg>
        <pc:spChg chg="mod ord">
          <ac:chgData name="HENRIO, Edouard" userId="5c7148f7-abfa-4fb9-ad29-286627bf53ef" providerId="ADAL" clId="{D53110E3-2253-40D9-9ED2-302591ABF449}" dt="2024-03-07T15:59:32.771" v="4532" actId="700"/>
          <ac:spMkLst>
            <pc:docMk/>
            <pc:sldMk cId="241920681" sldId="2147481431"/>
            <ac:spMk id="5" creationId="{345F714E-B0DB-4AC0-A544-A6932E332BDD}"/>
          </ac:spMkLst>
        </pc:spChg>
      </pc:sldChg>
      <pc:sldChg chg="add">
        <pc:chgData name="HENRIO, Edouard" userId="5c7148f7-abfa-4fb9-ad29-286627bf53ef" providerId="ADAL" clId="{D53110E3-2253-40D9-9ED2-302591ABF449}" dt="2024-05-27T09:53:07.695" v="15546"/>
        <pc:sldMkLst>
          <pc:docMk/>
          <pc:sldMk cId="3168027292" sldId="2147481431"/>
        </pc:sldMkLst>
      </pc:sldChg>
      <pc:sldChg chg="addSp delSp modSp del mod modClrScheme chgLayout">
        <pc:chgData name="HENRIO, Edouard" userId="5c7148f7-abfa-4fb9-ad29-286627bf53ef" providerId="ADAL" clId="{D53110E3-2253-40D9-9ED2-302591ABF449}" dt="2024-05-27T09:53:03.840" v="15545" actId="2696"/>
        <pc:sldMkLst>
          <pc:docMk/>
          <pc:sldMk cId="2667478616" sldId="2147481432"/>
        </pc:sldMkLst>
        <pc:spChg chg="add del mod ord">
          <ac:chgData name="HENRIO, Edouard" userId="5c7148f7-abfa-4fb9-ad29-286627bf53ef" providerId="ADAL" clId="{D53110E3-2253-40D9-9ED2-302591ABF449}" dt="2024-03-07T15:59:39.661" v="4534" actId="478"/>
          <ac:spMkLst>
            <pc:docMk/>
            <pc:sldMk cId="2667478616" sldId="2147481432"/>
            <ac:spMk id="2" creationId="{2DAC621C-1044-F989-1CE4-D40E6CBEBF41}"/>
          </ac:spMkLst>
        </pc:spChg>
        <pc:spChg chg="mod ord">
          <ac:chgData name="HENRIO, Edouard" userId="5c7148f7-abfa-4fb9-ad29-286627bf53ef" providerId="ADAL" clId="{D53110E3-2253-40D9-9ED2-302591ABF449}" dt="2024-03-07T15:59:32.771" v="4532" actId="700"/>
          <ac:spMkLst>
            <pc:docMk/>
            <pc:sldMk cId="2667478616" sldId="2147481432"/>
            <ac:spMk id="5" creationId="{345F714E-B0DB-4AC0-A544-A6932E332BDD}"/>
          </ac:spMkLst>
        </pc:spChg>
      </pc:sldChg>
      <pc:sldChg chg="add">
        <pc:chgData name="HENRIO, Edouard" userId="5c7148f7-abfa-4fb9-ad29-286627bf53ef" providerId="ADAL" clId="{D53110E3-2253-40D9-9ED2-302591ABF449}" dt="2024-05-27T09:53:07.695" v="15546"/>
        <pc:sldMkLst>
          <pc:docMk/>
          <pc:sldMk cId="3610923720" sldId="2147481432"/>
        </pc:sldMkLst>
      </pc:sldChg>
      <pc:sldChg chg="addSp delSp modSp del mod modClrScheme chgLayout">
        <pc:chgData name="HENRIO, Edouard" userId="5c7148f7-abfa-4fb9-ad29-286627bf53ef" providerId="ADAL" clId="{D53110E3-2253-40D9-9ED2-302591ABF449}" dt="2024-05-27T09:53:03.840" v="15545" actId="2696"/>
        <pc:sldMkLst>
          <pc:docMk/>
          <pc:sldMk cId="436686117" sldId="2147481433"/>
        </pc:sldMkLst>
        <pc:spChg chg="mod ord">
          <ac:chgData name="HENRIO, Edouard" userId="5c7148f7-abfa-4fb9-ad29-286627bf53ef" providerId="ADAL" clId="{D53110E3-2253-40D9-9ED2-302591ABF449}" dt="2024-03-07T15:59:32.771" v="4532" actId="700"/>
          <ac:spMkLst>
            <pc:docMk/>
            <pc:sldMk cId="436686117" sldId="2147481433"/>
            <ac:spMk id="5" creationId="{345F714E-B0DB-4AC0-A544-A6932E332BDD}"/>
          </ac:spMkLst>
        </pc:spChg>
        <pc:spChg chg="add del mod ord">
          <ac:chgData name="HENRIO, Edouard" userId="5c7148f7-abfa-4fb9-ad29-286627bf53ef" providerId="ADAL" clId="{D53110E3-2253-40D9-9ED2-302591ABF449}" dt="2024-03-07T15:59:43.343" v="4535" actId="478"/>
          <ac:spMkLst>
            <pc:docMk/>
            <pc:sldMk cId="436686117" sldId="2147481433"/>
            <ac:spMk id="7" creationId="{5A1055A7-DE88-2426-6A10-C98A13F1E60B}"/>
          </ac:spMkLst>
        </pc:spChg>
      </pc:sldChg>
      <pc:sldChg chg="add">
        <pc:chgData name="HENRIO, Edouard" userId="5c7148f7-abfa-4fb9-ad29-286627bf53ef" providerId="ADAL" clId="{D53110E3-2253-40D9-9ED2-302591ABF449}" dt="2024-05-27T09:53:07.695" v="15546"/>
        <pc:sldMkLst>
          <pc:docMk/>
          <pc:sldMk cId="1531125760" sldId="2147481433"/>
        </pc:sldMkLst>
      </pc:sldChg>
      <pc:sldChg chg="add">
        <pc:chgData name="HENRIO, Edouard" userId="5c7148f7-abfa-4fb9-ad29-286627bf53ef" providerId="ADAL" clId="{D53110E3-2253-40D9-9ED2-302591ABF449}" dt="2024-05-27T09:53:07.695" v="15546"/>
        <pc:sldMkLst>
          <pc:docMk/>
          <pc:sldMk cId="2872751103" sldId="2147481434"/>
        </pc:sldMkLst>
      </pc:sldChg>
      <pc:sldChg chg="addSp delSp modSp del mod modClrScheme chgLayout">
        <pc:chgData name="HENRIO, Edouard" userId="5c7148f7-abfa-4fb9-ad29-286627bf53ef" providerId="ADAL" clId="{D53110E3-2253-40D9-9ED2-302591ABF449}" dt="2024-05-27T09:53:03.840" v="15545" actId="2696"/>
        <pc:sldMkLst>
          <pc:docMk/>
          <pc:sldMk cId="3632670280" sldId="2147481434"/>
        </pc:sldMkLst>
        <pc:spChg chg="add del mod ord">
          <ac:chgData name="HENRIO, Edouard" userId="5c7148f7-abfa-4fb9-ad29-286627bf53ef" providerId="ADAL" clId="{D53110E3-2253-40D9-9ED2-302591ABF449}" dt="2024-03-07T15:59:49.386" v="4536" actId="478"/>
          <ac:spMkLst>
            <pc:docMk/>
            <pc:sldMk cId="3632670280" sldId="2147481434"/>
            <ac:spMk id="2" creationId="{695FCC49-96C9-B854-2842-18FE42248178}"/>
          </ac:spMkLst>
        </pc:spChg>
        <pc:spChg chg="mod ord">
          <ac:chgData name="HENRIO, Edouard" userId="5c7148f7-abfa-4fb9-ad29-286627bf53ef" providerId="ADAL" clId="{D53110E3-2253-40D9-9ED2-302591ABF449}" dt="2024-03-07T15:59:32.771" v="4532" actId="700"/>
          <ac:spMkLst>
            <pc:docMk/>
            <pc:sldMk cId="3632670280" sldId="2147481434"/>
            <ac:spMk id="5" creationId="{345F714E-B0DB-4AC0-A544-A6932E332BDD}"/>
          </ac:spMkLst>
        </pc:spChg>
      </pc:sldChg>
      <pc:sldChg chg="modSp mod">
        <pc:chgData name="HENRIO, Edouard" userId="5c7148f7-abfa-4fb9-ad29-286627bf53ef" providerId="ADAL" clId="{D53110E3-2253-40D9-9ED2-302591ABF449}" dt="2024-05-27T09:52:25.699" v="15540" actId="113"/>
        <pc:sldMkLst>
          <pc:docMk/>
          <pc:sldMk cId="2410083233" sldId="2147481435"/>
        </pc:sldMkLst>
        <pc:spChg chg="mod">
          <ac:chgData name="HENRIO, Edouard" userId="5c7148f7-abfa-4fb9-ad29-286627bf53ef" providerId="ADAL" clId="{D53110E3-2253-40D9-9ED2-302591ABF449}" dt="2024-05-27T09:52:25.699" v="15540" actId="113"/>
          <ac:spMkLst>
            <pc:docMk/>
            <pc:sldMk cId="2410083233" sldId="2147481435"/>
            <ac:spMk id="9" creationId="{9AD8FA80-D5E3-4090-937C-AA9F9330F5A6}"/>
          </ac:spMkLst>
        </pc:spChg>
      </pc:sldChg>
      <pc:sldChg chg="modSp mod">
        <pc:chgData name="HENRIO, Edouard" userId="5c7148f7-abfa-4fb9-ad29-286627bf53ef" providerId="ADAL" clId="{D53110E3-2253-40D9-9ED2-302591ABF449}" dt="2024-05-27T09:52:32.206" v="15541"/>
        <pc:sldMkLst>
          <pc:docMk/>
          <pc:sldMk cId="2390705556" sldId="2147481436"/>
        </pc:sldMkLst>
        <pc:spChg chg="mod">
          <ac:chgData name="HENRIO, Edouard" userId="5c7148f7-abfa-4fb9-ad29-286627bf53ef" providerId="ADAL" clId="{D53110E3-2253-40D9-9ED2-302591ABF449}" dt="2024-05-27T09:52:32.206" v="15541"/>
          <ac:spMkLst>
            <pc:docMk/>
            <pc:sldMk cId="2390705556" sldId="2147481436"/>
            <ac:spMk id="9" creationId="{9AD8FA80-D5E3-4090-937C-AA9F9330F5A6}"/>
          </ac:spMkLst>
        </pc:spChg>
      </pc:sldChg>
      <pc:sldChg chg="modSp new mod">
        <pc:chgData name="HENRIO, Edouard" userId="5c7148f7-abfa-4fb9-ad29-286627bf53ef" providerId="ADAL" clId="{D53110E3-2253-40D9-9ED2-302591ABF449}" dt="2024-02-23T14:33:31.392" v="1408" actId="20577"/>
        <pc:sldMkLst>
          <pc:docMk/>
          <pc:sldMk cId="4261563678" sldId="2147481437"/>
        </pc:sldMkLst>
        <pc:spChg chg="mod">
          <ac:chgData name="HENRIO, Edouard" userId="5c7148f7-abfa-4fb9-ad29-286627bf53ef" providerId="ADAL" clId="{D53110E3-2253-40D9-9ED2-302591ABF449}" dt="2024-02-23T14:33:31.392" v="1408" actId="20577"/>
          <ac:spMkLst>
            <pc:docMk/>
            <pc:sldMk cId="4261563678" sldId="2147481437"/>
            <ac:spMk id="2" creationId="{8DA9DAD9-7502-1867-48C4-3C6E6AC002C5}"/>
          </ac:spMkLst>
        </pc:spChg>
      </pc:sldChg>
      <pc:sldChg chg="del">
        <pc:chgData name="HENRIO, Edouard" userId="5c7148f7-abfa-4fb9-ad29-286627bf53ef" providerId="ADAL" clId="{D53110E3-2253-40D9-9ED2-302591ABF449}" dt="2024-05-24T09:29:10.510" v="15150" actId="47"/>
        <pc:sldMkLst>
          <pc:docMk/>
          <pc:sldMk cId="990596116" sldId="2147481438"/>
        </pc:sldMkLst>
      </pc:sldChg>
      <pc:sldChg chg="modSp add del mod">
        <pc:chgData name="HENRIO, Edouard" userId="5c7148f7-abfa-4fb9-ad29-286627bf53ef" providerId="ADAL" clId="{D53110E3-2253-40D9-9ED2-302591ABF449}" dt="2024-05-24T09:29:21.819" v="15152" actId="47"/>
        <pc:sldMkLst>
          <pc:docMk/>
          <pc:sldMk cId="2551971173" sldId="2147481439"/>
        </pc:sldMkLst>
        <pc:spChg chg="mod">
          <ac:chgData name="HENRIO, Edouard" userId="5c7148f7-abfa-4fb9-ad29-286627bf53ef" providerId="ADAL" clId="{D53110E3-2253-40D9-9ED2-302591ABF449}" dt="2024-04-19T09:04:50.215" v="8665" actId="552"/>
          <ac:spMkLst>
            <pc:docMk/>
            <pc:sldMk cId="2551971173" sldId="2147481439"/>
            <ac:spMk id="5" creationId="{531ED2F5-BE51-56BC-CFD6-031CAFAB9901}"/>
          </ac:spMkLst>
        </pc:spChg>
        <pc:spChg chg="mod">
          <ac:chgData name="HENRIO, Edouard" userId="5c7148f7-abfa-4fb9-ad29-286627bf53ef" providerId="ADAL" clId="{D53110E3-2253-40D9-9ED2-302591ABF449}" dt="2024-04-19T09:04:50.215" v="8665" actId="552"/>
          <ac:spMkLst>
            <pc:docMk/>
            <pc:sldMk cId="2551971173" sldId="2147481439"/>
            <ac:spMk id="12" creationId="{3F4D933C-3E29-0D9D-A81C-50347DD80CF7}"/>
          </ac:spMkLst>
        </pc:spChg>
        <pc:spChg chg="mod">
          <ac:chgData name="HENRIO, Edouard" userId="5c7148f7-abfa-4fb9-ad29-286627bf53ef" providerId="ADAL" clId="{D53110E3-2253-40D9-9ED2-302591ABF449}" dt="2024-04-19T09:04:50.215" v="8665" actId="552"/>
          <ac:spMkLst>
            <pc:docMk/>
            <pc:sldMk cId="2551971173" sldId="2147481439"/>
            <ac:spMk id="13" creationId="{C7757319-8D96-BFFE-0DA1-B0EB82FE91D5}"/>
          </ac:spMkLst>
        </pc:spChg>
        <pc:spChg chg="mod">
          <ac:chgData name="HENRIO, Edouard" userId="5c7148f7-abfa-4fb9-ad29-286627bf53ef" providerId="ADAL" clId="{D53110E3-2253-40D9-9ED2-302591ABF449}" dt="2024-04-19T09:04:50.215" v="8665" actId="552"/>
          <ac:spMkLst>
            <pc:docMk/>
            <pc:sldMk cId="2551971173" sldId="2147481439"/>
            <ac:spMk id="15" creationId="{984771A3-634D-53D6-1853-E3E3B6E1B0DC}"/>
          </ac:spMkLst>
        </pc:spChg>
        <pc:spChg chg="mod">
          <ac:chgData name="HENRIO, Edouard" userId="5c7148f7-abfa-4fb9-ad29-286627bf53ef" providerId="ADAL" clId="{D53110E3-2253-40D9-9ED2-302591ABF449}" dt="2024-04-19T09:04:50.215" v="8665" actId="552"/>
          <ac:spMkLst>
            <pc:docMk/>
            <pc:sldMk cId="2551971173" sldId="2147481439"/>
            <ac:spMk id="16" creationId="{B33974E0-FE30-3E82-1FD6-7B4FE823BB1B}"/>
          </ac:spMkLst>
        </pc:spChg>
        <pc:spChg chg="mod">
          <ac:chgData name="HENRIO, Edouard" userId="5c7148f7-abfa-4fb9-ad29-286627bf53ef" providerId="ADAL" clId="{D53110E3-2253-40D9-9ED2-302591ABF449}" dt="2024-04-19T09:04:50.215" v="8665" actId="552"/>
          <ac:spMkLst>
            <pc:docMk/>
            <pc:sldMk cId="2551971173" sldId="2147481439"/>
            <ac:spMk id="17" creationId="{05053E61-2DCF-3986-5F93-D4B368FA5B72}"/>
          </ac:spMkLst>
        </pc:spChg>
        <pc:spChg chg="mod">
          <ac:chgData name="HENRIO, Edouard" userId="5c7148f7-abfa-4fb9-ad29-286627bf53ef" providerId="ADAL" clId="{D53110E3-2253-40D9-9ED2-302591ABF449}" dt="2024-04-19T09:04:50.215" v="8665" actId="552"/>
          <ac:spMkLst>
            <pc:docMk/>
            <pc:sldMk cId="2551971173" sldId="2147481439"/>
            <ac:spMk id="18" creationId="{3ED14151-0B6C-7567-FCC9-1D57CB5E79D0}"/>
          </ac:spMkLst>
        </pc:spChg>
      </pc:sldChg>
      <pc:sldChg chg="setBg">
        <pc:chgData name="HENRIO, Edouard" userId="5c7148f7-abfa-4fb9-ad29-286627bf53ef" providerId="ADAL" clId="{D53110E3-2253-40D9-9ED2-302591ABF449}" dt="2024-05-29T14:43:34.719" v="16080"/>
        <pc:sldMkLst>
          <pc:docMk/>
          <pc:sldMk cId="1510124791" sldId="2147481440"/>
        </pc:sldMkLst>
      </pc:sldChg>
      <pc:sldChg chg="del">
        <pc:chgData name="HENRIO, Edouard" userId="5c7148f7-abfa-4fb9-ad29-286627bf53ef" providerId="ADAL" clId="{D53110E3-2253-40D9-9ED2-302591ABF449}" dt="2024-05-24T09:28:52.632" v="15147" actId="47"/>
        <pc:sldMkLst>
          <pc:docMk/>
          <pc:sldMk cId="1721550936" sldId="2147481441"/>
        </pc:sldMkLst>
      </pc:sldChg>
      <pc:sldChg chg="addSp modSp">
        <pc:chgData name="HENRIO, Edouard" userId="5c7148f7-abfa-4fb9-ad29-286627bf53ef" providerId="ADAL" clId="{D53110E3-2253-40D9-9ED2-302591ABF449}" dt="2024-05-29T14:41:03.909" v="16078"/>
        <pc:sldMkLst>
          <pc:docMk/>
          <pc:sldMk cId="288322715" sldId="2147481443"/>
        </pc:sldMkLst>
        <pc:spChg chg="add mod">
          <ac:chgData name="HENRIO, Edouard" userId="5c7148f7-abfa-4fb9-ad29-286627bf53ef" providerId="ADAL" clId="{D53110E3-2253-40D9-9ED2-302591ABF449}" dt="2024-05-29T14:41:03.909" v="16078"/>
          <ac:spMkLst>
            <pc:docMk/>
            <pc:sldMk cId="288322715" sldId="2147481443"/>
            <ac:spMk id="2" creationId="{3DC17DFD-1BB1-D2C3-1927-980D2F02E1A7}"/>
          </ac:spMkLst>
        </pc:spChg>
        <pc:spChg chg="add mod">
          <ac:chgData name="HENRIO, Edouard" userId="5c7148f7-abfa-4fb9-ad29-286627bf53ef" providerId="ADAL" clId="{D53110E3-2253-40D9-9ED2-302591ABF449}" dt="2024-05-29T14:41:03.909" v="16078"/>
          <ac:spMkLst>
            <pc:docMk/>
            <pc:sldMk cId="288322715" sldId="2147481443"/>
            <ac:spMk id="3" creationId="{E1173A1F-55C5-FE0B-2EA0-2035E560A1A1}"/>
          </ac:spMkLst>
        </pc:spChg>
      </pc:sldChg>
      <pc:sldChg chg="setBg">
        <pc:chgData name="HENRIO, Edouard" userId="5c7148f7-abfa-4fb9-ad29-286627bf53ef" providerId="ADAL" clId="{D53110E3-2253-40D9-9ED2-302591ABF449}" dt="2024-05-29T14:41:12.888" v="16079"/>
        <pc:sldMkLst>
          <pc:docMk/>
          <pc:sldMk cId="1983833391" sldId="2147481445"/>
        </pc:sldMkLst>
      </pc:sldChg>
      <pc:sldChg chg="addSp modSp del mod">
        <pc:chgData name="HENRIO, Edouard" userId="5c7148f7-abfa-4fb9-ad29-286627bf53ef" providerId="ADAL" clId="{D53110E3-2253-40D9-9ED2-302591ABF449}" dt="2024-05-24T09:28:58.950" v="15148" actId="47"/>
        <pc:sldMkLst>
          <pc:docMk/>
          <pc:sldMk cId="3849969636" sldId="2147481446"/>
        </pc:sldMkLst>
        <pc:spChg chg="add mod">
          <ac:chgData name="HENRIO, Edouard" userId="5c7148f7-abfa-4fb9-ad29-286627bf53ef" providerId="ADAL" clId="{D53110E3-2253-40D9-9ED2-302591ABF449}" dt="2024-04-19T09:06:25.799" v="8774" actId="20577"/>
          <ac:spMkLst>
            <pc:docMk/>
            <pc:sldMk cId="3849969636" sldId="2147481446"/>
            <ac:spMk id="2" creationId="{919FB750-F1DB-A154-4A7C-60D013C1B9D1}"/>
          </ac:spMkLst>
        </pc:spChg>
        <pc:spChg chg="add mod">
          <ac:chgData name="HENRIO, Edouard" userId="5c7148f7-abfa-4fb9-ad29-286627bf53ef" providerId="ADAL" clId="{D53110E3-2253-40D9-9ED2-302591ABF449}" dt="2024-04-19T09:06:49.251" v="8880" actId="20577"/>
          <ac:spMkLst>
            <pc:docMk/>
            <pc:sldMk cId="3849969636" sldId="2147481446"/>
            <ac:spMk id="4" creationId="{EB0E0891-7EF0-9973-3AE0-ACE84D60C60C}"/>
          </ac:spMkLst>
        </pc:spChg>
      </pc:sldChg>
      <pc:sldChg chg="del">
        <pc:chgData name="HENRIO, Edouard" userId="5c7148f7-abfa-4fb9-ad29-286627bf53ef" providerId="ADAL" clId="{D53110E3-2253-40D9-9ED2-302591ABF449}" dt="2024-05-24T09:29:03.028" v="15149" actId="47"/>
        <pc:sldMkLst>
          <pc:docMk/>
          <pc:sldMk cId="1957683411" sldId="2147481447"/>
        </pc:sldMkLst>
      </pc:sldChg>
      <pc:sldChg chg="addSp delSp modSp new mod">
        <pc:chgData name="HENRIO, Edouard" userId="5c7148f7-abfa-4fb9-ad29-286627bf53ef" providerId="ADAL" clId="{D53110E3-2253-40D9-9ED2-302591ABF449}" dt="2024-02-27T11:03:40.886" v="1698" actId="122"/>
        <pc:sldMkLst>
          <pc:docMk/>
          <pc:sldMk cId="665817789" sldId="2147481448"/>
        </pc:sldMkLst>
        <pc:spChg chg="del">
          <ac:chgData name="HENRIO, Edouard" userId="5c7148f7-abfa-4fb9-ad29-286627bf53ef" providerId="ADAL" clId="{D53110E3-2253-40D9-9ED2-302591ABF449}" dt="2024-02-27T10:59:08.715" v="1410" actId="478"/>
          <ac:spMkLst>
            <pc:docMk/>
            <pc:sldMk cId="665817789" sldId="2147481448"/>
            <ac:spMk id="2" creationId="{EF525282-25BF-D503-56CE-77401C3E8495}"/>
          </ac:spMkLst>
        </pc:spChg>
        <pc:graphicFrameChg chg="add mod modGraphic">
          <ac:chgData name="HENRIO, Edouard" userId="5c7148f7-abfa-4fb9-ad29-286627bf53ef" providerId="ADAL" clId="{D53110E3-2253-40D9-9ED2-302591ABF449}" dt="2024-02-27T11:03:40.886" v="1698" actId="122"/>
          <ac:graphicFrameMkLst>
            <pc:docMk/>
            <pc:sldMk cId="665817789" sldId="2147481448"/>
            <ac:graphicFrameMk id="4" creationId="{868DAC96-CB41-D4D4-D037-AA7301259B0A}"/>
          </ac:graphicFrameMkLst>
        </pc:graphicFrameChg>
      </pc:sldChg>
      <pc:sldChg chg="addSp delSp modSp del mod modClrScheme chgLayout">
        <pc:chgData name="HENRIO, Edouard" userId="5c7148f7-abfa-4fb9-ad29-286627bf53ef" providerId="ADAL" clId="{D53110E3-2253-40D9-9ED2-302591ABF449}" dt="2024-03-07T16:10:03.957" v="4760" actId="47"/>
        <pc:sldMkLst>
          <pc:docMk/>
          <pc:sldMk cId="4279065420" sldId="2147481450"/>
        </pc:sldMkLst>
        <pc:spChg chg="add mod ord">
          <ac:chgData name="HENRIO, Edouard" userId="5c7148f7-abfa-4fb9-ad29-286627bf53ef" providerId="ADAL" clId="{D53110E3-2253-40D9-9ED2-302591ABF449}" dt="2024-03-07T16:00:45.180" v="4607" actId="207"/>
          <ac:spMkLst>
            <pc:docMk/>
            <pc:sldMk cId="4279065420" sldId="2147481450"/>
            <ac:spMk id="2" creationId="{CD6D123D-ED1B-BD34-351B-C93482E5EBF9}"/>
          </ac:spMkLst>
        </pc:spChg>
        <pc:spChg chg="del mod ord">
          <ac:chgData name="HENRIO, Edouard" userId="5c7148f7-abfa-4fb9-ad29-286627bf53ef" providerId="ADAL" clId="{D53110E3-2253-40D9-9ED2-302591ABF449}" dt="2024-03-07T16:00:23.470" v="4573" actId="478"/>
          <ac:spMkLst>
            <pc:docMk/>
            <pc:sldMk cId="4279065420" sldId="2147481450"/>
            <ac:spMk id="6" creationId="{7B27A3FB-2F2C-1A23-F041-4E3847C00D1B}"/>
          </ac:spMkLst>
        </pc:spChg>
        <pc:graphicFrameChg chg="add del mod">
          <ac:chgData name="HENRIO, Edouard" userId="5c7148f7-abfa-4fb9-ad29-286627bf53ef" providerId="ADAL" clId="{D53110E3-2253-40D9-9ED2-302591ABF449}" dt="2024-03-07T16:07:07.305" v="4626"/>
          <ac:graphicFrameMkLst>
            <pc:docMk/>
            <pc:sldMk cId="4279065420" sldId="2147481450"/>
            <ac:graphicFrameMk id="3" creationId="{3FC7B698-DDFF-0ED3-7334-BC78D3841E15}"/>
          </ac:graphicFrameMkLst>
        </pc:graphicFrameChg>
        <pc:graphicFrameChg chg="add del">
          <ac:chgData name="HENRIO, Edouard" userId="5c7148f7-abfa-4fb9-ad29-286627bf53ef" providerId="ADAL" clId="{D53110E3-2253-40D9-9ED2-302591ABF449}" dt="2024-03-07T16:07:09.106" v="4627" actId="478"/>
          <ac:graphicFrameMkLst>
            <pc:docMk/>
            <pc:sldMk cId="4279065420" sldId="2147481450"/>
            <ac:graphicFrameMk id="17" creationId="{1DC7455A-C60B-0464-678B-9FF73A190C19}"/>
          </ac:graphicFrameMkLst>
        </pc:graphicFrameChg>
      </pc:sldChg>
      <pc:sldChg chg="addSp delSp modSp add del mod modShow delCm">
        <pc:chgData name="HENRIO, Edouard" userId="5c7148f7-abfa-4fb9-ad29-286627bf53ef" providerId="ADAL" clId="{D53110E3-2253-40D9-9ED2-302591ABF449}" dt="2024-03-26T12:40:12.957" v="8664" actId="20577"/>
        <pc:sldMkLst>
          <pc:docMk/>
          <pc:sldMk cId="1228357790" sldId="2147481451"/>
        </pc:sldMkLst>
        <pc:spChg chg="add mod">
          <ac:chgData name="HENRIO, Edouard" userId="5c7148f7-abfa-4fb9-ad29-286627bf53ef" providerId="ADAL" clId="{D53110E3-2253-40D9-9ED2-302591ABF449}" dt="2024-03-07T16:16:01.552" v="4830" actId="208"/>
          <ac:spMkLst>
            <pc:docMk/>
            <pc:sldMk cId="1228357790" sldId="2147481451"/>
            <ac:spMk id="2" creationId="{91251FF5-1F06-0806-3D41-656118FAF9D6}"/>
          </ac:spMkLst>
        </pc:spChg>
        <pc:spChg chg="add mod">
          <ac:chgData name="HENRIO, Edouard" userId="5c7148f7-abfa-4fb9-ad29-286627bf53ef" providerId="ADAL" clId="{D53110E3-2253-40D9-9ED2-302591ABF449}" dt="2024-03-07T16:15:58.918" v="4829" actId="207"/>
          <ac:spMkLst>
            <pc:docMk/>
            <pc:sldMk cId="1228357790" sldId="2147481451"/>
            <ac:spMk id="3" creationId="{223A6AC2-1279-8AC8-81DB-5ACBFA5F8947}"/>
          </ac:spMkLst>
        </pc:spChg>
        <pc:spChg chg="del">
          <ac:chgData name="HENRIO, Edouard" userId="5c7148f7-abfa-4fb9-ad29-286627bf53ef" providerId="ADAL" clId="{D53110E3-2253-40D9-9ED2-302591ABF449}" dt="2024-03-26T12:23:11.489" v="4957" actId="478"/>
          <ac:spMkLst>
            <pc:docMk/>
            <pc:sldMk cId="1228357790" sldId="2147481451"/>
            <ac:spMk id="5" creationId="{F9F389B4-0AD2-0613-DD27-B8F41026D863}"/>
          </ac:spMkLst>
        </pc:spChg>
        <pc:graphicFrameChg chg="mod modGraphic">
          <ac:chgData name="HENRIO, Edouard" userId="5c7148f7-abfa-4fb9-ad29-286627bf53ef" providerId="ADAL" clId="{D53110E3-2253-40D9-9ED2-302591ABF449}" dt="2024-03-26T12:40:12.957" v="8664" actId="20577"/>
          <ac:graphicFrameMkLst>
            <pc:docMk/>
            <pc:sldMk cId="1228357790" sldId="2147481451"/>
            <ac:graphicFrameMk id="4" creationId="{868DAC96-CB41-D4D4-D037-AA7301259B0A}"/>
          </ac:graphicFrameMkLst>
        </pc:graphicFrameChg>
        <pc:extLst>
          <p:ext xmlns:p="http://schemas.openxmlformats.org/presentationml/2006/main" uri="{D6D511B9-2390-475A-947B-AFAB55BFBCF1}">
            <pc226:cmChg xmlns:pc226="http://schemas.microsoft.com/office/powerpoint/2022/06/main/command" chg="del">
              <pc226:chgData name="HENRIO, Edouard" userId="5c7148f7-abfa-4fb9-ad29-286627bf53ef" providerId="ADAL" clId="{D53110E3-2253-40D9-9ED2-302591ABF449}" dt="2024-03-07T16:05:14.271" v="4623"/>
              <pc2:cmMkLst xmlns:pc2="http://schemas.microsoft.com/office/powerpoint/2019/9/main/command">
                <pc:docMk/>
                <pc:sldMk cId="1228357790" sldId="2147481451"/>
                <pc2:cmMk id="{B3FA9268-7F7F-46B3-98D8-6CAAF98A05D1}"/>
              </pc2:cmMkLst>
            </pc226:cmChg>
          </p:ext>
        </pc:extLst>
      </pc:sldChg>
      <pc:sldChg chg="modSp new del mod ord">
        <pc:chgData name="HENRIO, Edouard" userId="5c7148f7-abfa-4fb9-ad29-286627bf53ef" providerId="ADAL" clId="{D53110E3-2253-40D9-9ED2-302591ABF449}" dt="2024-05-27T09:53:17.203" v="15547" actId="47"/>
        <pc:sldMkLst>
          <pc:docMk/>
          <pc:sldMk cId="3743689127" sldId="2147481452"/>
        </pc:sldMkLst>
        <pc:spChg chg="mod">
          <ac:chgData name="HENRIO, Edouard" userId="5c7148f7-abfa-4fb9-ad29-286627bf53ef" providerId="ADAL" clId="{D53110E3-2253-40D9-9ED2-302591ABF449}" dt="2024-03-05T09:34:28.393" v="4160" actId="14100"/>
          <ac:spMkLst>
            <pc:docMk/>
            <pc:sldMk cId="3743689127" sldId="2147481452"/>
            <ac:spMk id="2" creationId="{5FBEB8B5-A4CC-ADB2-80A6-EB127078C5C1}"/>
          </ac:spMkLst>
        </pc:spChg>
      </pc:sldChg>
      <pc:sldChg chg="new">
        <pc:chgData name="HENRIO, Edouard" userId="5c7148f7-abfa-4fb9-ad29-286627bf53ef" providerId="ADAL" clId="{D53110E3-2253-40D9-9ED2-302591ABF449}" dt="2024-03-07T15:58:27.958" v="4374" actId="680"/>
        <pc:sldMkLst>
          <pc:docMk/>
          <pc:sldMk cId="3660349666" sldId="2147481453"/>
        </pc:sldMkLst>
      </pc:sldChg>
      <pc:sldChg chg="add del">
        <pc:chgData name="HENRIO, Edouard" userId="5c7148f7-abfa-4fb9-ad29-286627bf53ef" providerId="ADAL" clId="{D53110E3-2253-40D9-9ED2-302591ABF449}" dt="2024-05-24T09:30:32.992" v="15155" actId="47"/>
        <pc:sldMkLst>
          <pc:docMk/>
          <pc:sldMk cId="1268621796" sldId="2147481454"/>
        </pc:sldMkLst>
      </pc:sldChg>
      <pc:sldChg chg="addSp delSp modSp add del ord">
        <pc:chgData name="HENRIO, Edouard" userId="5c7148f7-abfa-4fb9-ad29-286627bf53ef" providerId="ADAL" clId="{D53110E3-2253-40D9-9ED2-302591ABF449}" dt="2024-05-29T14:43:56.153" v="16085" actId="47"/>
        <pc:sldMkLst>
          <pc:docMk/>
          <pc:sldMk cId="1963259222" sldId="2147481455"/>
        </pc:sldMkLst>
        <pc:spChg chg="add del mod">
          <ac:chgData name="HENRIO, Edouard" userId="5c7148f7-abfa-4fb9-ad29-286627bf53ef" providerId="ADAL" clId="{D53110E3-2253-40D9-9ED2-302591ABF449}" dt="2024-05-29T14:43:47.953" v="16083"/>
          <ac:spMkLst>
            <pc:docMk/>
            <pc:sldMk cId="1963259222" sldId="2147481455"/>
            <ac:spMk id="3" creationId="{D9445455-E82F-A8F0-8B79-0D630354F7B3}"/>
          </ac:spMkLst>
        </pc:spChg>
        <pc:spChg chg="add del mod">
          <ac:chgData name="HENRIO, Edouard" userId="5c7148f7-abfa-4fb9-ad29-286627bf53ef" providerId="ADAL" clId="{D53110E3-2253-40D9-9ED2-302591ABF449}" dt="2024-05-29T14:43:47.953" v="16083"/>
          <ac:spMkLst>
            <pc:docMk/>
            <pc:sldMk cId="1963259222" sldId="2147481455"/>
            <ac:spMk id="4" creationId="{69DDB3CD-8843-3FB6-ADFA-0F2F3637A110}"/>
          </ac:spMkLst>
        </pc:spChg>
      </pc:sldChg>
      <pc:sldChg chg="add">
        <pc:chgData name="HENRIO, Edouard" userId="5c7148f7-abfa-4fb9-ad29-286627bf53ef" providerId="ADAL" clId="{D53110E3-2253-40D9-9ED2-302591ABF449}" dt="2024-03-07T16:01:20.061" v="4614"/>
        <pc:sldMkLst>
          <pc:docMk/>
          <pc:sldMk cId="3334764948" sldId="2147481456"/>
        </pc:sldMkLst>
      </pc:sldChg>
      <pc:sldChg chg="addSp delSp modSp add del mod modClrScheme chgLayout">
        <pc:chgData name="HENRIO, Edouard" userId="5c7148f7-abfa-4fb9-ad29-286627bf53ef" providerId="ADAL" clId="{D53110E3-2253-40D9-9ED2-302591ABF449}" dt="2024-05-28T09:25:11.933" v="15985" actId="478"/>
        <pc:sldMkLst>
          <pc:docMk/>
          <pc:sldMk cId="1203554301" sldId="2147481457"/>
        </pc:sldMkLst>
        <pc:spChg chg="add del mod ord">
          <ac:chgData name="HENRIO, Edouard" userId="5c7148f7-abfa-4fb9-ad29-286627bf53ef" providerId="ADAL" clId="{D53110E3-2253-40D9-9ED2-302591ABF449}" dt="2024-03-07T16:13:39.575" v="4795" actId="478"/>
          <ac:spMkLst>
            <pc:docMk/>
            <pc:sldMk cId="1203554301" sldId="2147481457"/>
            <ac:spMk id="4" creationId="{2082418F-94C3-6F16-3C73-8F2D985D9039}"/>
          </ac:spMkLst>
        </pc:spChg>
        <pc:spChg chg="add del mod ord">
          <ac:chgData name="HENRIO, Edouard" userId="5c7148f7-abfa-4fb9-ad29-286627bf53ef" providerId="ADAL" clId="{D53110E3-2253-40D9-9ED2-302591ABF449}" dt="2024-03-07T16:13:36.451" v="4794" actId="700"/>
          <ac:spMkLst>
            <pc:docMk/>
            <pc:sldMk cId="1203554301" sldId="2147481457"/>
            <ac:spMk id="6" creationId="{80AC9E56-2414-DE72-B73A-16E2CEA93C02}"/>
          </ac:spMkLst>
        </pc:spChg>
        <pc:spChg chg="del">
          <ac:chgData name="HENRIO, Edouard" userId="5c7148f7-abfa-4fb9-ad29-286627bf53ef" providerId="ADAL" clId="{D53110E3-2253-40D9-9ED2-302591ABF449}" dt="2024-05-28T09:25:11.933" v="15985" actId="478"/>
          <ac:spMkLst>
            <pc:docMk/>
            <pc:sldMk cId="1203554301" sldId="2147481457"/>
            <ac:spMk id="19" creationId="{36736309-53A4-6DAC-94F3-B07482F9AF26}"/>
          </ac:spMkLst>
        </pc:spChg>
        <pc:spChg chg="mod ord">
          <ac:chgData name="HENRIO, Edouard" userId="5c7148f7-abfa-4fb9-ad29-286627bf53ef" providerId="ADAL" clId="{D53110E3-2253-40D9-9ED2-302591ABF449}" dt="2024-03-07T16:13:36.451" v="4794" actId="700"/>
          <ac:spMkLst>
            <pc:docMk/>
            <pc:sldMk cId="1203554301" sldId="2147481457"/>
            <ac:spMk id="22" creationId="{92557DC4-B18F-4199-93D0-1D081E24520F}"/>
          </ac:spMkLst>
        </pc:spChg>
      </pc:sldChg>
      <pc:sldChg chg="addSp delSp modSp add del mod">
        <pc:chgData name="HENRIO, Edouard" userId="5c7148f7-abfa-4fb9-ad29-286627bf53ef" providerId="ADAL" clId="{D53110E3-2253-40D9-9ED2-302591ABF449}" dt="2024-05-28T09:25:17.973" v="15987" actId="478"/>
        <pc:sldMkLst>
          <pc:docMk/>
          <pc:sldMk cId="2310254202" sldId="2147481458"/>
        </pc:sldMkLst>
        <pc:spChg chg="del mod">
          <ac:chgData name="HENRIO, Edouard" userId="5c7148f7-abfa-4fb9-ad29-286627bf53ef" providerId="ADAL" clId="{D53110E3-2253-40D9-9ED2-302591ABF449}" dt="2024-05-28T09:25:17.973" v="15987" actId="478"/>
          <ac:spMkLst>
            <pc:docMk/>
            <pc:sldMk cId="2310254202" sldId="2147481458"/>
            <ac:spMk id="2" creationId="{C00B6F9E-0DCF-E86A-D53A-300E5AA32A95}"/>
          </ac:spMkLst>
        </pc:spChg>
        <pc:spChg chg="add mod">
          <ac:chgData name="HENRIO, Edouard" userId="5c7148f7-abfa-4fb9-ad29-286627bf53ef" providerId="ADAL" clId="{D53110E3-2253-40D9-9ED2-302591ABF449}" dt="2024-03-07T16:11:32.400" v="4781" actId="1582"/>
          <ac:spMkLst>
            <pc:docMk/>
            <pc:sldMk cId="2310254202" sldId="2147481458"/>
            <ac:spMk id="3" creationId="{976D257D-4BC0-0742-FE8C-8A114779B823}"/>
          </ac:spMkLst>
        </pc:spChg>
        <pc:spChg chg="add mod">
          <ac:chgData name="HENRIO, Edouard" userId="5c7148f7-abfa-4fb9-ad29-286627bf53ef" providerId="ADAL" clId="{D53110E3-2253-40D9-9ED2-302591ABF449}" dt="2024-03-07T16:11:56.400" v="4782" actId="11530"/>
          <ac:spMkLst>
            <pc:docMk/>
            <pc:sldMk cId="2310254202" sldId="2147481458"/>
            <ac:spMk id="4" creationId="{8EA79147-F271-1D74-40CC-BA03C9DB25CB}"/>
          </ac:spMkLst>
        </pc:spChg>
        <pc:spChg chg="mod">
          <ac:chgData name="HENRIO, Edouard" userId="5c7148f7-abfa-4fb9-ad29-286627bf53ef" providerId="ADAL" clId="{D53110E3-2253-40D9-9ED2-302591ABF449}" dt="2024-03-07T16:16:16.304" v="4833" actId="12789"/>
          <ac:spMkLst>
            <pc:docMk/>
            <pc:sldMk cId="2310254202" sldId="2147481458"/>
            <ac:spMk id="26" creationId="{66568384-2D4C-4A7C-8BD3-FEB9ED186715}"/>
          </ac:spMkLst>
        </pc:spChg>
        <pc:spChg chg="mod">
          <ac:chgData name="HENRIO, Edouard" userId="5c7148f7-abfa-4fb9-ad29-286627bf53ef" providerId="ADAL" clId="{D53110E3-2253-40D9-9ED2-302591ABF449}" dt="2024-03-07T16:19:05.722" v="4842" actId="20577"/>
          <ac:spMkLst>
            <pc:docMk/>
            <pc:sldMk cId="2310254202" sldId="2147481458"/>
            <ac:spMk id="45" creationId="{F408FC67-A24F-47D4-941B-1EB9CBAD83BF}"/>
          </ac:spMkLst>
        </pc:spChg>
        <pc:spChg chg="mod">
          <ac:chgData name="HENRIO, Edouard" userId="5c7148f7-abfa-4fb9-ad29-286627bf53ef" providerId="ADAL" clId="{D53110E3-2253-40D9-9ED2-302591ABF449}" dt="2024-03-07T16:19:03.448" v="4840" actId="20577"/>
          <ac:spMkLst>
            <pc:docMk/>
            <pc:sldMk cId="2310254202" sldId="2147481458"/>
            <ac:spMk id="47" creationId="{3920B3C7-7398-4748-82C4-DC29BD597B6E}"/>
          </ac:spMkLst>
        </pc:spChg>
        <pc:spChg chg="mod">
          <ac:chgData name="HENRIO, Edouard" userId="5c7148f7-abfa-4fb9-ad29-286627bf53ef" providerId="ADAL" clId="{D53110E3-2253-40D9-9ED2-302591ABF449}" dt="2024-03-07T16:16:16.304" v="4833" actId="12789"/>
          <ac:spMkLst>
            <pc:docMk/>
            <pc:sldMk cId="2310254202" sldId="2147481458"/>
            <ac:spMk id="55" creationId="{7DE47A7C-F676-4D13-B01D-5D6552D5F68A}"/>
          </ac:spMkLst>
        </pc:spChg>
      </pc:sldChg>
      <pc:sldChg chg="addSp delSp modSp add mod ord">
        <pc:chgData name="HENRIO, Edouard" userId="5c7148f7-abfa-4fb9-ad29-286627bf53ef" providerId="ADAL" clId="{D53110E3-2253-40D9-9ED2-302591ABF449}" dt="2024-03-07T16:19:21.009" v="4844"/>
        <pc:sldMkLst>
          <pc:docMk/>
          <pc:sldMk cId="13073656" sldId="2147481459"/>
        </pc:sldMkLst>
        <pc:spChg chg="mod">
          <ac:chgData name="HENRIO, Edouard" userId="5c7148f7-abfa-4fb9-ad29-286627bf53ef" providerId="ADAL" clId="{D53110E3-2253-40D9-9ED2-302591ABF449}" dt="2024-03-07T16:14:55.620" v="4810" actId="1076"/>
          <ac:spMkLst>
            <pc:docMk/>
            <pc:sldMk cId="13073656" sldId="2147481459"/>
            <ac:spMk id="2" creationId="{CD6D123D-ED1B-BD34-351B-C93482E5EBF9}"/>
          </ac:spMkLst>
        </pc:spChg>
        <pc:spChg chg="add del mod">
          <ac:chgData name="HENRIO, Edouard" userId="5c7148f7-abfa-4fb9-ad29-286627bf53ef" providerId="ADAL" clId="{D53110E3-2253-40D9-9ED2-302591ABF449}" dt="2024-03-07T16:14:34.714" v="4802" actId="478"/>
          <ac:spMkLst>
            <pc:docMk/>
            <pc:sldMk cId="13073656" sldId="2147481459"/>
            <ac:spMk id="4" creationId="{420F03FF-B1DC-6113-5968-6B1325DEBF87}"/>
          </ac:spMkLst>
        </pc:spChg>
        <pc:spChg chg="add del mod">
          <ac:chgData name="HENRIO, Edouard" userId="5c7148f7-abfa-4fb9-ad29-286627bf53ef" providerId="ADAL" clId="{D53110E3-2253-40D9-9ED2-302591ABF449}" dt="2024-03-07T16:15:14.192" v="4817"/>
          <ac:spMkLst>
            <pc:docMk/>
            <pc:sldMk cId="13073656" sldId="2147481459"/>
            <ac:spMk id="5" creationId="{56172BC9-B8D2-D089-E658-C9F8F6898ECD}"/>
          </ac:spMkLst>
        </pc:spChg>
        <pc:spChg chg="add del mod">
          <ac:chgData name="HENRIO, Edouard" userId="5c7148f7-abfa-4fb9-ad29-286627bf53ef" providerId="ADAL" clId="{D53110E3-2253-40D9-9ED2-302591ABF449}" dt="2024-03-07T16:15:14.192" v="4817"/>
          <ac:spMkLst>
            <pc:docMk/>
            <pc:sldMk cId="13073656" sldId="2147481459"/>
            <ac:spMk id="6" creationId="{712F1C42-64DD-924B-8F55-4CD636001766}"/>
          </ac:spMkLst>
        </pc:spChg>
        <pc:spChg chg="mod">
          <ac:chgData name="HENRIO, Edouard" userId="5c7148f7-abfa-4fb9-ad29-286627bf53ef" providerId="ADAL" clId="{D53110E3-2253-40D9-9ED2-302591ABF449}" dt="2024-03-07T16:14:50.703" v="4808" actId="1076"/>
          <ac:spMkLst>
            <pc:docMk/>
            <pc:sldMk cId="13073656" sldId="2147481459"/>
            <ac:spMk id="216" creationId="{6D86404E-48CC-D5D7-7F48-00E2E92CAF57}"/>
          </ac:spMkLst>
        </pc:spChg>
        <pc:spChg chg="mod">
          <ac:chgData name="HENRIO, Edouard" userId="5c7148f7-abfa-4fb9-ad29-286627bf53ef" providerId="ADAL" clId="{D53110E3-2253-40D9-9ED2-302591ABF449}" dt="2024-03-07T16:14:50.703" v="4808" actId="1076"/>
          <ac:spMkLst>
            <pc:docMk/>
            <pc:sldMk cId="13073656" sldId="2147481459"/>
            <ac:spMk id="239" creationId="{74D76361-9BB6-9572-5670-8ADC7470DC40}"/>
          </ac:spMkLst>
        </pc:spChg>
        <pc:spChg chg="mod">
          <ac:chgData name="HENRIO, Edouard" userId="5c7148f7-abfa-4fb9-ad29-286627bf53ef" providerId="ADAL" clId="{D53110E3-2253-40D9-9ED2-302591ABF449}" dt="2024-03-07T16:14:50.703" v="4808" actId="1076"/>
          <ac:spMkLst>
            <pc:docMk/>
            <pc:sldMk cId="13073656" sldId="2147481459"/>
            <ac:spMk id="240" creationId="{58FA798A-E995-095E-4C01-401D922F8B17}"/>
          </ac:spMkLst>
        </pc:spChg>
        <pc:spChg chg="mod">
          <ac:chgData name="HENRIO, Edouard" userId="5c7148f7-abfa-4fb9-ad29-286627bf53ef" providerId="ADAL" clId="{D53110E3-2253-40D9-9ED2-302591ABF449}" dt="2024-03-07T16:14:50.703" v="4808" actId="1076"/>
          <ac:spMkLst>
            <pc:docMk/>
            <pc:sldMk cId="13073656" sldId="2147481459"/>
            <ac:spMk id="241" creationId="{3CDA5543-428D-E194-05A2-8F6E572D2ECC}"/>
          </ac:spMkLst>
        </pc:spChg>
        <pc:spChg chg="mod">
          <ac:chgData name="HENRIO, Edouard" userId="5c7148f7-abfa-4fb9-ad29-286627bf53ef" providerId="ADAL" clId="{D53110E3-2253-40D9-9ED2-302591ABF449}" dt="2024-03-07T16:14:50.703" v="4808" actId="1076"/>
          <ac:spMkLst>
            <pc:docMk/>
            <pc:sldMk cId="13073656" sldId="2147481459"/>
            <ac:spMk id="243" creationId="{1B1B4CBE-4F7F-D560-2D1C-826723DE210A}"/>
          </ac:spMkLst>
        </pc:spChg>
        <pc:spChg chg="mod">
          <ac:chgData name="HENRIO, Edouard" userId="5c7148f7-abfa-4fb9-ad29-286627bf53ef" providerId="ADAL" clId="{D53110E3-2253-40D9-9ED2-302591ABF449}" dt="2024-03-07T16:14:50.703" v="4808" actId="1076"/>
          <ac:spMkLst>
            <pc:docMk/>
            <pc:sldMk cId="13073656" sldId="2147481459"/>
            <ac:spMk id="244" creationId="{8F476FDE-44E4-5834-2E5A-D5F9D40B58F2}"/>
          </ac:spMkLst>
        </pc:spChg>
        <pc:spChg chg="mod">
          <ac:chgData name="HENRIO, Edouard" userId="5c7148f7-abfa-4fb9-ad29-286627bf53ef" providerId="ADAL" clId="{D53110E3-2253-40D9-9ED2-302591ABF449}" dt="2024-03-07T16:14:50.703" v="4808" actId="1076"/>
          <ac:spMkLst>
            <pc:docMk/>
            <pc:sldMk cId="13073656" sldId="2147481459"/>
            <ac:spMk id="245" creationId="{50E7F537-E31F-2D46-B0A0-392580BE2136}"/>
          </ac:spMkLst>
        </pc:spChg>
        <pc:spChg chg="mod">
          <ac:chgData name="HENRIO, Edouard" userId="5c7148f7-abfa-4fb9-ad29-286627bf53ef" providerId="ADAL" clId="{D53110E3-2253-40D9-9ED2-302591ABF449}" dt="2024-03-07T16:15:10.170" v="4815" actId="1076"/>
          <ac:spMkLst>
            <pc:docMk/>
            <pc:sldMk cId="13073656" sldId="2147481459"/>
            <ac:spMk id="246" creationId="{F65A8CC2-77EB-2872-4E64-BC167F789E48}"/>
          </ac:spMkLst>
        </pc:spChg>
        <pc:spChg chg="mod">
          <ac:chgData name="HENRIO, Edouard" userId="5c7148f7-abfa-4fb9-ad29-286627bf53ef" providerId="ADAL" clId="{D53110E3-2253-40D9-9ED2-302591ABF449}" dt="2024-03-07T16:15:09.855" v="4814" actId="1076"/>
          <ac:spMkLst>
            <pc:docMk/>
            <pc:sldMk cId="13073656" sldId="2147481459"/>
            <ac:spMk id="251" creationId="{A2876ADA-4040-7CD9-F3E5-8DE68BCAD0D2}"/>
          </ac:spMkLst>
        </pc:spChg>
        <pc:spChg chg="del mod">
          <ac:chgData name="HENRIO, Edouard" userId="5c7148f7-abfa-4fb9-ad29-286627bf53ef" providerId="ADAL" clId="{D53110E3-2253-40D9-9ED2-302591ABF449}" dt="2024-03-07T16:09:38.692" v="4755" actId="478"/>
          <ac:spMkLst>
            <pc:docMk/>
            <pc:sldMk cId="13073656" sldId="2147481459"/>
            <ac:spMk id="265" creationId="{2687F7DB-C970-783E-AF52-427D19D69B92}"/>
          </ac:spMkLst>
        </pc:spChg>
        <pc:spChg chg="del">
          <ac:chgData name="HENRIO, Edouard" userId="5c7148f7-abfa-4fb9-ad29-286627bf53ef" providerId="ADAL" clId="{D53110E3-2253-40D9-9ED2-302591ABF449}" dt="2024-03-07T16:09:37.108" v="4753" actId="478"/>
          <ac:spMkLst>
            <pc:docMk/>
            <pc:sldMk cId="13073656" sldId="2147481459"/>
            <ac:spMk id="266" creationId="{09238F16-BFFF-4F28-092A-62846B964190}"/>
          </ac:spMkLst>
        </pc:spChg>
        <pc:grpChg chg="del">
          <ac:chgData name="HENRIO, Edouard" userId="5c7148f7-abfa-4fb9-ad29-286627bf53ef" providerId="ADAL" clId="{D53110E3-2253-40D9-9ED2-302591ABF449}" dt="2024-03-07T16:14:47.499" v="4807" actId="478"/>
          <ac:grpSpMkLst>
            <pc:docMk/>
            <pc:sldMk cId="13073656" sldId="2147481459"/>
            <ac:grpSpMk id="217" creationId="{A3413321-6A94-55C2-CFCD-380D7C847453}"/>
          </ac:grpSpMkLst>
        </pc:grpChg>
        <pc:grpChg chg="mod">
          <ac:chgData name="HENRIO, Edouard" userId="5c7148f7-abfa-4fb9-ad29-286627bf53ef" providerId="ADAL" clId="{D53110E3-2253-40D9-9ED2-302591ABF449}" dt="2024-03-07T16:14:50.703" v="4808" actId="1076"/>
          <ac:grpSpMkLst>
            <pc:docMk/>
            <pc:sldMk cId="13073656" sldId="2147481459"/>
            <ac:grpSpMk id="252" creationId="{CE5005E5-2CB1-93C4-9099-2209E6D57174}"/>
          </ac:grpSpMkLst>
        </pc:grpChg>
        <pc:graphicFrameChg chg="add mod modGraphic">
          <ac:chgData name="HENRIO, Edouard" userId="5c7148f7-abfa-4fb9-ad29-286627bf53ef" providerId="ADAL" clId="{D53110E3-2253-40D9-9ED2-302591ABF449}" dt="2024-03-07T16:14:43.174" v="4806" actId="122"/>
          <ac:graphicFrameMkLst>
            <pc:docMk/>
            <pc:sldMk cId="13073656" sldId="2147481459"/>
            <ac:graphicFrameMk id="3" creationId="{B04B9928-985F-990B-785F-A4FF8D45FBC9}"/>
          </ac:graphicFrameMkLst>
        </pc:graphicFrameChg>
        <pc:graphicFrameChg chg="add del">
          <ac:chgData name="HENRIO, Edouard" userId="5c7148f7-abfa-4fb9-ad29-286627bf53ef" providerId="ADAL" clId="{D53110E3-2253-40D9-9ED2-302591ABF449}" dt="2024-03-07T16:15:25.203" v="4819" actId="478"/>
          <ac:graphicFrameMkLst>
            <pc:docMk/>
            <pc:sldMk cId="13073656" sldId="2147481459"/>
            <ac:graphicFrameMk id="7" creationId="{62896ACE-1878-9CC5-4C5F-8DA03AE9C77B}"/>
          </ac:graphicFrameMkLst>
        </pc:graphicFrameChg>
        <pc:graphicFrameChg chg="del">
          <ac:chgData name="HENRIO, Edouard" userId="5c7148f7-abfa-4fb9-ad29-286627bf53ef" providerId="ADAL" clId="{D53110E3-2253-40D9-9ED2-302591ABF449}" dt="2024-03-07T16:07:13.003" v="4629" actId="478"/>
          <ac:graphicFrameMkLst>
            <pc:docMk/>
            <pc:sldMk cId="13073656" sldId="2147481459"/>
            <ac:graphicFrameMk id="17" creationId="{1DC7455A-C60B-0464-678B-9FF73A190C19}"/>
          </ac:graphicFrameMkLst>
        </pc:graphicFrameChg>
        <pc:cxnChg chg="mod">
          <ac:chgData name="HENRIO, Edouard" userId="5c7148f7-abfa-4fb9-ad29-286627bf53ef" providerId="ADAL" clId="{D53110E3-2253-40D9-9ED2-302591ABF449}" dt="2024-03-07T16:14:50.703" v="4808" actId="1076"/>
          <ac:cxnSpMkLst>
            <pc:docMk/>
            <pc:sldMk cId="13073656" sldId="2147481459"/>
            <ac:cxnSpMk id="238" creationId="{83C94673-F450-7FCC-E959-41611302E61F}"/>
          </ac:cxnSpMkLst>
        </pc:cxnChg>
        <pc:cxnChg chg="mod">
          <ac:chgData name="HENRIO, Edouard" userId="5c7148f7-abfa-4fb9-ad29-286627bf53ef" providerId="ADAL" clId="{D53110E3-2253-40D9-9ED2-302591ABF449}" dt="2024-03-07T16:14:50.703" v="4808" actId="1076"/>
          <ac:cxnSpMkLst>
            <pc:docMk/>
            <pc:sldMk cId="13073656" sldId="2147481459"/>
            <ac:cxnSpMk id="242" creationId="{48BA2477-A39A-82E4-F81D-4950937F95BC}"/>
          </ac:cxnSpMkLst>
        </pc:cxnChg>
      </pc:sldChg>
      <pc:sldChg chg="delSp mod">
        <pc:chgData name="HENRIO, Edouard" userId="5c7148f7-abfa-4fb9-ad29-286627bf53ef" providerId="ADAL" clId="{D53110E3-2253-40D9-9ED2-302591ABF449}" dt="2024-05-24T09:28:18.484" v="15146" actId="478"/>
        <pc:sldMkLst>
          <pc:docMk/>
          <pc:sldMk cId="1723512651" sldId="2147481460"/>
        </pc:sldMkLst>
        <pc:spChg chg="del">
          <ac:chgData name="HENRIO, Edouard" userId="5c7148f7-abfa-4fb9-ad29-286627bf53ef" providerId="ADAL" clId="{D53110E3-2253-40D9-9ED2-302591ABF449}" dt="2024-05-24T09:28:18.484" v="15146" actId="478"/>
          <ac:spMkLst>
            <pc:docMk/>
            <pc:sldMk cId="1723512651" sldId="2147481460"/>
            <ac:spMk id="4" creationId="{C4611F83-C766-AC65-F532-EDD8BE76BE96}"/>
          </ac:spMkLst>
        </pc:spChg>
      </pc:sldChg>
      <pc:sldChg chg="addSp delSp modSp mod">
        <pc:chgData name="HENRIO, Edouard" userId="5c7148f7-abfa-4fb9-ad29-286627bf53ef" providerId="ADAL" clId="{D53110E3-2253-40D9-9ED2-302591ABF449}" dt="2024-05-24T09:30:03.429" v="15153"/>
        <pc:sldMkLst>
          <pc:docMk/>
          <pc:sldMk cId="4048011549" sldId="2147481461"/>
        </pc:sldMkLst>
        <pc:spChg chg="del">
          <ac:chgData name="HENRIO, Edouard" userId="5c7148f7-abfa-4fb9-ad29-286627bf53ef" providerId="ADAL" clId="{D53110E3-2253-40D9-9ED2-302591ABF449}" dt="2024-05-24T09:28:15.727" v="15145" actId="478"/>
          <ac:spMkLst>
            <pc:docMk/>
            <pc:sldMk cId="4048011549" sldId="2147481461"/>
            <ac:spMk id="2" creationId="{B590A364-B1FC-0453-E539-6B9B0C71391D}"/>
          </ac:spMkLst>
        </pc:spChg>
        <pc:spChg chg="add mod">
          <ac:chgData name="HENRIO, Edouard" userId="5c7148f7-abfa-4fb9-ad29-286627bf53ef" providerId="ADAL" clId="{D53110E3-2253-40D9-9ED2-302591ABF449}" dt="2024-05-24T09:30:03.429" v="15153"/>
          <ac:spMkLst>
            <pc:docMk/>
            <pc:sldMk cId="4048011549" sldId="2147481461"/>
            <ac:spMk id="3" creationId="{1D638882-2DF4-0E48-D645-B48F77B41B62}"/>
          </ac:spMkLst>
        </pc:spChg>
        <pc:spChg chg="add mod">
          <ac:chgData name="HENRIO, Edouard" userId="5c7148f7-abfa-4fb9-ad29-286627bf53ef" providerId="ADAL" clId="{D53110E3-2253-40D9-9ED2-302591ABF449}" dt="2024-05-24T09:30:03.429" v="15153"/>
          <ac:spMkLst>
            <pc:docMk/>
            <pc:sldMk cId="4048011549" sldId="2147481461"/>
            <ac:spMk id="4" creationId="{D0EA7456-A353-ADF8-632B-45A3A327F937}"/>
          </ac:spMkLst>
        </pc:spChg>
        <pc:spChg chg="mod">
          <ac:chgData name="HENRIO, Edouard" userId="5c7148f7-abfa-4fb9-ad29-286627bf53ef" providerId="ADAL" clId="{D53110E3-2253-40D9-9ED2-302591ABF449}" dt="2024-04-19T09:17:12.271" v="8892" actId="20577"/>
          <ac:spMkLst>
            <pc:docMk/>
            <pc:sldMk cId="4048011549" sldId="2147481461"/>
            <ac:spMk id="45" creationId="{F408FC67-A24F-47D4-941B-1EB9CBAD83BF}"/>
          </ac:spMkLst>
        </pc:spChg>
        <pc:spChg chg="mod">
          <ac:chgData name="HENRIO, Edouard" userId="5c7148f7-abfa-4fb9-ad29-286627bf53ef" providerId="ADAL" clId="{D53110E3-2253-40D9-9ED2-302591ABF449}" dt="2024-04-19T09:17:09.456" v="8889" actId="20577"/>
          <ac:spMkLst>
            <pc:docMk/>
            <pc:sldMk cId="4048011549" sldId="2147481461"/>
            <ac:spMk id="47" creationId="{3920B3C7-7398-4748-82C4-DC29BD597B6E}"/>
          </ac:spMkLst>
        </pc:spChg>
      </pc:sldChg>
      <pc:sldChg chg="delSp add mod">
        <pc:chgData name="HENRIO, Edouard" userId="5c7148f7-abfa-4fb9-ad29-286627bf53ef" providerId="ADAL" clId="{D53110E3-2253-40D9-9ED2-302591ABF449}" dt="2024-05-28T09:25:35.989" v="15988" actId="478"/>
        <pc:sldMkLst>
          <pc:docMk/>
          <pc:sldMk cId="1582801622" sldId="2147481462"/>
        </pc:sldMkLst>
        <pc:spChg chg="del">
          <ac:chgData name="HENRIO, Edouard" userId="5c7148f7-abfa-4fb9-ad29-286627bf53ef" providerId="ADAL" clId="{D53110E3-2253-40D9-9ED2-302591ABF449}" dt="2024-05-28T09:25:35.989" v="15988" actId="478"/>
          <ac:spMkLst>
            <pc:docMk/>
            <pc:sldMk cId="1582801622" sldId="2147481462"/>
            <ac:spMk id="2" creationId="{54010598-F592-20BF-FB08-F822699E4009}"/>
          </ac:spMkLst>
        </pc:spChg>
      </pc:sldChg>
      <pc:sldChg chg="delSp modSp new del mod">
        <pc:chgData name="HENRIO, Edouard" userId="5c7148f7-abfa-4fb9-ad29-286627bf53ef" providerId="ADAL" clId="{D53110E3-2253-40D9-9ED2-302591ABF449}" dt="2024-03-07T16:21:29.120" v="4901" actId="2696"/>
        <pc:sldMkLst>
          <pc:docMk/>
          <pc:sldMk cId="1791852588" sldId="2147481462"/>
        </pc:sldMkLst>
        <pc:spChg chg="del">
          <ac:chgData name="HENRIO, Edouard" userId="5c7148f7-abfa-4fb9-ad29-286627bf53ef" providerId="ADAL" clId="{D53110E3-2253-40D9-9ED2-302591ABF449}" dt="2024-03-07T16:21:06.325" v="4875" actId="478"/>
          <ac:spMkLst>
            <pc:docMk/>
            <pc:sldMk cId="1791852588" sldId="2147481462"/>
            <ac:spMk id="2" creationId="{AA479271-DF10-DCEC-D666-566575BB60E2}"/>
          </ac:spMkLst>
        </pc:spChg>
        <pc:spChg chg="mod">
          <ac:chgData name="HENRIO, Edouard" userId="5c7148f7-abfa-4fb9-ad29-286627bf53ef" providerId="ADAL" clId="{D53110E3-2253-40D9-9ED2-302591ABF449}" dt="2024-03-07T16:21:04.762" v="4874" actId="20577"/>
          <ac:spMkLst>
            <pc:docMk/>
            <pc:sldMk cId="1791852588" sldId="2147481462"/>
            <ac:spMk id="3" creationId="{501601F9-293C-77D4-94E2-5BE73B73FA13}"/>
          </ac:spMkLst>
        </pc:spChg>
      </pc:sldChg>
      <pc:sldChg chg="delSp modSp new mod">
        <pc:chgData name="HENRIO, Edouard" userId="5c7148f7-abfa-4fb9-ad29-286627bf53ef" providerId="ADAL" clId="{D53110E3-2253-40D9-9ED2-302591ABF449}" dt="2024-03-07T16:21:18.512" v="4900" actId="478"/>
        <pc:sldMkLst>
          <pc:docMk/>
          <pc:sldMk cId="277193703" sldId="2147481463"/>
        </pc:sldMkLst>
        <pc:spChg chg="del">
          <ac:chgData name="HENRIO, Edouard" userId="5c7148f7-abfa-4fb9-ad29-286627bf53ef" providerId="ADAL" clId="{D53110E3-2253-40D9-9ED2-302591ABF449}" dt="2024-03-07T16:21:18.512" v="4900" actId="478"/>
          <ac:spMkLst>
            <pc:docMk/>
            <pc:sldMk cId="277193703" sldId="2147481463"/>
            <ac:spMk id="2" creationId="{E3745200-A0D3-EA52-ACD6-63602695375D}"/>
          </ac:spMkLst>
        </pc:spChg>
        <pc:spChg chg="mod">
          <ac:chgData name="HENRIO, Edouard" userId="5c7148f7-abfa-4fb9-ad29-286627bf53ef" providerId="ADAL" clId="{D53110E3-2253-40D9-9ED2-302591ABF449}" dt="2024-03-07T16:21:16.477" v="4899" actId="20577"/>
          <ac:spMkLst>
            <pc:docMk/>
            <pc:sldMk cId="277193703" sldId="2147481463"/>
            <ac:spMk id="3" creationId="{0CC09F09-E8F2-F904-CE8A-E9927FE3FEF8}"/>
          </ac:spMkLst>
        </pc:spChg>
      </pc:sldChg>
      <pc:sldChg chg="del">
        <pc:chgData name="HENRIO, Edouard" userId="5c7148f7-abfa-4fb9-ad29-286627bf53ef" providerId="ADAL" clId="{D53110E3-2253-40D9-9ED2-302591ABF449}" dt="2024-05-24T09:31:26.195" v="15157" actId="47"/>
        <pc:sldMkLst>
          <pc:docMk/>
          <pc:sldMk cId="1734010563" sldId="2147481464"/>
        </pc:sldMkLst>
      </pc:sldChg>
      <pc:sldChg chg="del">
        <pc:chgData name="HENRIO, Edouard" userId="5c7148f7-abfa-4fb9-ad29-286627bf53ef" providerId="ADAL" clId="{D53110E3-2253-40D9-9ED2-302591ABF449}" dt="2024-05-29T14:44:44.241" v="16098" actId="47"/>
        <pc:sldMkLst>
          <pc:docMk/>
          <pc:sldMk cId="2329875973" sldId="2147481465"/>
        </pc:sldMkLst>
      </pc:sldChg>
      <pc:sldChg chg="addSp delSp modSp mod modShow">
        <pc:chgData name="HENRIO, Edouard" userId="5c7148f7-abfa-4fb9-ad29-286627bf53ef" providerId="ADAL" clId="{D53110E3-2253-40D9-9ED2-302591ABF449}" dt="2024-05-27T09:53:20.513" v="15548" actId="21"/>
        <pc:sldMkLst>
          <pc:docMk/>
          <pc:sldMk cId="4251552819" sldId="2147481466"/>
        </pc:sldMkLst>
        <pc:spChg chg="add del mod">
          <ac:chgData name="HENRIO, Edouard" userId="5c7148f7-abfa-4fb9-ad29-286627bf53ef" providerId="ADAL" clId="{D53110E3-2253-40D9-9ED2-302591ABF449}" dt="2024-05-22T13:27:13.252" v="12216" actId="478"/>
          <ac:spMkLst>
            <pc:docMk/>
            <pc:sldMk cId="4251552819" sldId="2147481466"/>
            <ac:spMk id="2" creationId="{031352D7-C0B9-1610-599F-FE6757FE05D6}"/>
          </ac:spMkLst>
        </pc:spChg>
        <pc:spChg chg="del mod">
          <ac:chgData name="HENRIO, Edouard" userId="5c7148f7-abfa-4fb9-ad29-286627bf53ef" providerId="ADAL" clId="{D53110E3-2253-40D9-9ED2-302591ABF449}" dt="2024-05-27T09:53:20.513" v="15548" actId="21"/>
          <ac:spMkLst>
            <pc:docMk/>
            <pc:sldMk cId="4251552819" sldId="2147481466"/>
            <ac:spMk id="4" creationId="{4842F1DE-EDFF-C250-B024-7D5F1BC49797}"/>
          </ac:spMkLst>
        </pc:spChg>
        <pc:spChg chg="mod">
          <ac:chgData name="HENRIO, Edouard" userId="5c7148f7-abfa-4fb9-ad29-286627bf53ef" providerId="ADAL" clId="{D53110E3-2253-40D9-9ED2-302591ABF449}" dt="2024-05-27T09:45:48.719" v="15196" actId="20577"/>
          <ac:spMkLst>
            <pc:docMk/>
            <pc:sldMk cId="4251552819" sldId="2147481466"/>
            <ac:spMk id="5" creationId="{D2C2B4F0-2A96-74E1-423A-7344876FC0D1}"/>
          </ac:spMkLst>
        </pc:spChg>
        <pc:spChg chg="mod">
          <ac:chgData name="HENRIO, Edouard" userId="5c7148f7-abfa-4fb9-ad29-286627bf53ef" providerId="ADAL" clId="{D53110E3-2253-40D9-9ED2-302591ABF449}" dt="2024-05-27T09:46:14.462" v="15214" actId="20577"/>
          <ac:spMkLst>
            <pc:docMk/>
            <pc:sldMk cId="4251552819" sldId="2147481466"/>
            <ac:spMk id="7" creationId="{F0A4C460-D0E2-9B67-79FA-6E6BF566F924}"/>
          </ac:spMkLst>
        </pc:spChg>
        <pc:spChg chg="mod">
          <ac:chgData name="HENRIO, Edouard" userId="5c7148f7-abfa-4fb9-ad29-286627bf53ef" providerId="ADAL" clId="{D53110E3-2253-40D9-9ED2-302591ABF449}" dt="2024-05-27T09:46:23.687" v="15245" actId="113"/>
          <ac:spMkLst>
            <pc:docMk/>
            <pc:sldMk cId="4251552819" sldId="2147481466"/>
            <ac:spMk id="8" creationId="{F2F8F800-7CBD-7755-07E3-650827CAA7D0}"/>
          </ac:spMkLst>
        </pc:spChg>
        <pc:spChg chg="mod">
          <ac:chgData name="HENRIO, Edouard" userId="5c7148f7-abfa-4fb9-ad29-286627bf53ef" providerId="ADAL" clId="{D53110E3-2253-40D9-9ED2-302591ABF449}" dt="2024-05-27T09:46:33.608" v="15256" actId="20577"/>
          <ac:spMkLst>
            <pc:docMk/>
            <pc:sldMk cId="4251552819" sldId="2147481466"/>
            <ac:spMk id="9" creationId="{0BE7F632-9CA6-1CAE-CEE9-508EB7046CAF}"/>
          </ac:spMkLst>
        </pc:spChg>
        <pc:spChg chg="mod">
          <ac:chgData name="HENRIO, Edouard" userId="5c7148f7-abfa-4fb9-ad29-286627bf53ef" providerId="ADAL" clId="{D53110E3-2253-40D9-9ED2-302591ABF449}" dt="2024-05-27T09:46:53.285" v="15271"/>
          <ac:spMkLst>
            <pc:docMk/>
            <pc:sldMk cId="4251552819" sldId="2147481466"/>
            <ac:spMk id="11" creationId="{94B7A988-0FFB-E7F6-C562-E01DCB591492}"/>
          </ac:spMkLst>
        </pc:spChg>
        <pc:spChg chg="mod">
          <ac:chgData name="HENRIO, Edouard" userId="5c7148f7-abfa-4fb9-ad29-286627bf53ef" providerId="ADAL" clId="{D53110E3-2253-40D9-9ED2-302591ABF449}" dt="2024-05-27T09:48:18.975" v="15367" actId="113"/>
          <ac:spMkLst>
            <pc:docMk/>
            <pc:sldMk cId="4251552819" sldId="2147481466"/>
            <ac:spMk id="12" creationId="{8549B85D-CA52-F907-32AC-2E430788A681}"/>
          </ac:spMkLst>
        </pc:spChg>
        <pc:spChg chg="mod">
          <ac:chgData name="HENRIO, Edouard" userId="5c7148f7-abfa-4fb9-ad29-286627bf53ef" providerId="ADAL" clId="{D53110E3-2253-40D9-9ED2-302591ABF449}" dt="2024-05-27T09:47:27.644" v="15324"/>
          <ac:spMkLst>
            <pc:docMk/>
            <pc:sldMk cId="4251552819" sldId="2147481466"/>
            <ac:spMk id="13" creationId="{7F8D42DD-DB2A-8D67-462E-B666FA327617}"/>
          </ac:spMkLst>
        </pc:spChg>
        <pc:spChg chg="mod">
          <ac:chgData name="HENRIO, Edouard" userId="5c7148f7-abfa-4fb9-ad29-286627bf53ef" providerId="ADAL" clId="{D53110E3-2253-40D9-9ED2-302591ABF449}" dt="2024-05-27T09:47:33.180" v="15327" actId="113"/>
          <ac:spMkLst>
            <pc:docMk/>
            <pc:sldMk cId="4251552819" sldId="2147481466"/>
            <ac:spMk id="14" creationId="{9DCBF4C1-6745-09C5-A71C-4CD3E62A8E1C}"/>
          </ac:spMkLst>
        </pc:spChg>
        <pc:spChg chg="mod">
          <ac:chgData name="HENRIO, Edouard" userId="5c7148f7-abfa-4fb9-ad29-286627bf53ef" providerId="ADAL" clId="{D53110E3-2253-40D9-9ED2-302591ABF449}" dt="2024-05-27T09:47:42.292" v="15338" actId="20577"/>
          <ac:spMkLst>
            <pc:docMk/>
            <pc:sldMk cId="4251552819" sldId="2147481466"/>
            <ac:spMk id="15" creationId="{C660B7B5-1DEB-A7C2-9D22-BC8FE8A1371C}"/>
          </ac:spMkLst>
        </pc:spChg>
        <pc:spChg chg="mod">
          <ac:chgData name="HENRIO, Edouard" userId="5c7148f7-abfa-4fb9-ad29-286627bf53ef" providerId="ADAL" clId="{D53110E3-2253-40D9-9ED2-302591ABF449}" dt="2024-05-27T09:48:51.296" v="15389"/>
          <ac:spMkLst>
            <pc:docMk/>
            <pc:sldMk cId="4251552819" sldId="2147481466"/>
            <ac:spMk id="23" creationId="{EF22DD2C-05F3-E44F-691B-E31F91B75270}"/>
          </ac:spMkLst>
        </pc:spChg>
        <pc:spChg chg="mod">
          <ac:chgData name="HENRIO, Edouard" userId="5c7148f7-abfa-4fb9-ad29-286627bf53ef" providerId="ADAL" clId="{D53110E3-2253-40D9-9ED2-302591ABF449}" dt="2024-05-27T09:49:06.815" v="15421" actId="113"/>
          <ac:spMkLst>
            <pc:docMk/>
            <pc:sldMk cId="4251552819" sldId="2147481466"/>
            <ac:spMk id="24" creationId="{B54EA835-DC7A-59AB-0B43-888353845A86}"/>
          </ac:spMkLst>
        </pc:spChg>
        <pc:spChg chg="mod">
          <ac:chgData name="HENRIO, Edouard" userId="5c7148f7-abfa-4fb9-ad29-286627bf53ef" providerId="ADAL" clId="{D53110E3-2253-40D9-9ED2-302591ABF449}" dt="2024-05-27T09:48:31.478" v="15372"/>
          <ac:spMkLst>
            <pc:docMk/>
            <pc:sldMk cId="4251552819" sldId="2147481466"/>
            <ac:spMk id="25" creationId="{36C2F090-E5D5-805F-9D15-5EE11D9CB644}"/>
          </ac:spMkLst>
        </pc:spChg>
        <pc:spChg chg="mod">
          <ac:chgData name="HENRIO, Edouard" userId="5c7148f7-abfa-4fb9-ad29-286627bf53ef" providerId="ADAL" clId="{D53110E3-2253-40D9-9ED2-302591ABF449}" dt="2024-05-27T09:49:08.713" v="15423" actId="20577"/>
          <ac:spMkLst>
            <pc:docMk/>
            <pc:sldMk cId="4251552819" sldId="2147481466"/>
            <ac:spMk id="26" creationId="{0ACD8736-1A37-E512-783C-8B98123ECC5A}"/>
          </ac:spMkLst>
        </pc:spChg>
        <pc:spChg chg="mod">
          <ac:chgData name="HENRIO, Edouard" userId="5c7148f7-abfa-4fb9-ad29-286627bf53ef" providerId="ADAL" clId="{D53110E3-2253-40D9-9ED2-302591ABF449}" dt="2024-05-27T09:49:53.702" v="15431" actId="20577"/>
          <ac:spMkLst>
            <pc:docMk/>
            <pc:sldMk cId="4251552819" sldId="2147481466"/>
            <ac:spMk id="27" creationId="{5119CA58-8796-6D0B-C5EE-14466F602593}"/>
          </ac:spMkLst>
        </pc:spChg>
        <pc:spChg chg="mod">
          <ac:chgData name="HENRIO, Edouard" userId="5c7148f7-abfa-4fb9-ad29-286627bf53ef" providerId="ADAL" clId="{D53110E3-2253-40D9-9ED2-302591ABF449}" dt="2024-05-27T09:50:59.304" v="15493" actId="14100"/>
          <ac:spMkLst>
            <pc:docMk/>
            <pc:sldMk cId="4251552819" sldId="2147481466"/>
            <ac:spMk id="29" creationId="{6E81242D-0E8A-0768-EE36-7A36723E716E}"/>
          </ac:spMkLst>
        </pc:spChg>
        <pc:spChg chg="mod">
          <ac:chgData name="HENRIO, Edouard" userId="5c7148f7-abfa-4fb9-ad29-286627bf53ef" providerId="ADAL" clId="{D53110E3-2253-40D9-9ED2-302591ABF449}" dt="2024-05-27T09:51:03.193" v="15502" actId="20577"/>
          <ac:spMkLst>
            <pc:docMk/>
            <pc:sldMk cId="4251552819" sldId="2147481466"/>
            <ac:spMk id="30" creationId="{ED9BC5B2-9B11-C727-9118-62D214DC5651}"/>
          </ac:spMkLst>
        </pc:spChg>
        <pc:spChg chg="mod">
          <ac:chgData name="HENRIO, Edouard" userId="5c7148f7-abfa-4fb9-ad29-286627bf53ef" providerId="ADAL" clId="{D53110E3-2253-40D9-9ED2-302591ABF449}" dt="2024-05-27T09:50:56.439" v="15492" actId="1076"/>
          <ac:spMkLst>
            <pc:docMk/>
            <pc:sldMk cId="4251552819" sldId="2147481466"/>
            <ac:spMk id="31" creationId="{91C27CED-291C-09CD-A363-02F70A41CBC6}"/>
          </ac:spMkLst>
        </pc:spChg>
        <pc:spChg chg="mod">
          <ac:chgData name="HENRIO, Edouard" userId="5c7148f7-abfa-4fb9-ad29-286627bf53ef" providerId="ADAL" clId="{D53110E3-2253-40D9-9ED2-302591ABF449}" dt="2024-05-27T09:50:56.439" v="15492" actId="1076"/>
          <ac:spMkLst>
            <pc:docMk/>
            <pc:sldMk cId="4251552819" sldId="2147481466"/>
            <ac:spMk id="32" creationId="{4381AC0B-823A-B5E3-F3CE-291FCC44FD5B}"/>
          </ac:spMkLst>
        </pc:spChg>
        <pc:spChg chg="mod">
          <ac:chgData name="HENRIO, Edouard" userId="5c7148f7-abfa-4fb9-ad29-286627bf53ef" providerId="ADAL" clId="{D53110E3-2253-40D9-9ED2-302591ABF449}" dt="2024-05-27T09:50:56.439" v="15492" actId="1076"/>
          <ac:spMkLst>
            <pc:docMk/>
            <pc:sldMk cId="4251552819" sldId="2147481466"/>
            <ac:spMk id="33" creationId="{11182950-3114-C55C-EC4B-4B9A33FE906F}"/>
          </ac:spMkLst>
        </pc:spChg>
        <pc:spChg chg="mod">
          <ac:chgData name="HENRIO, Edouard" userId="5c7148f7-abfa-4fb9-ad29-286627bf53ef" providerId="ADAL" clId="{D53110E3-2253-40D9-9ED2-302591ABF449}" dt="2024-05-27T09:50:56.439" v="15492" actId="1076"/>
          <ac:spMkLst>
            <pc:docMk/>
            <pc:sldMk cId="4251552819" sldId="2147481466"/>
            <ac:spMk id="34" creationId="{17FA8EFD-7058-FBFB-B9FE-D3B81B4F0252}"/>
          </ac:spMkLst>
        </pc:spChg>
        <pc:cxnChg chg="mod">
          <ac:chgData name="HENRIO, Edouard" userId="5c7148f7-abfa-4fb9-ad29-286627bf53ef" providerId="ADAL" clId="{D53110E3-2253-40D9-9ED2-302591ABF449}" dt="2024-03-15T09:37:17.886" v="4956" actId="1582"/>
          <ac:cxnSpMkLst>
            <pc:docMk/>
            <pc:sldMk cId="4251552819" sldId="2147481466"/>
            <ac:cxnSpMk id="20" creationId="{A4B3B986-A9D4-5E94-4771-63738D26CFBA}"/>
          </ac:cxnSpMkLst>
        </pc:cxnChg>
      </pc:sldChg>
      <pc:sldChg chg="del">
        <pc:chgData name="HENRIO, Edouard" userId="5c7148f7-abfa-4fb9-ad29-286627bf53ef" providerId="ADAL" clId="{D53110E3-2253-40D9-9ED2-302591ABF449}" dt="2024-05-27T09:51:37.652" v="15503" actId="47"/>
        <pc:sldMkLst>
          <pc:docMk/>
          <pc:sldMk cId="2675261718" sldId="2147481467"/>
        </pc:sldMkLst>
      </pc:sldChg>
      <pc:sldChg chg="delSp modSp add mod ord">
        <pc:chgData name="HENRIO, Edouard" userId="5c7148f7-abfa-4fb9-ad29-286627bf53ef" providerId="ADAL" clId="{D53110E3-2253-40D9-9ED2-302591ABF449}" dt="2024-03-26T12:38:08.851" v="8231" actId="20577"/>
        <pc:sldMkLst>
          <pc:docMk/>
          <pc:sldMk cId="2610313471" sldId="2147481468"/>
        </pc:sldMkLst>
        <pc:graphicFrameChg chg="mod modGraphic">
          <ac:chgData name="HENRIO, Edouard" userId="5c7148f7-abfa-4fb9-ad29-286627bf53ef" providerId="ADAL" clId="{D53110E3-2253-40D9-9ED2-302591ABF449}" dt="2024-03-26T12:38:08.851" v="8231" actId="20577"/>
          <ac:graphicFrameMkLst>
            <pc:docMk/>
            <pc:sldMk cId="2610313471" sldId="2147481468"/>
            <ac:graphicFrameMk id="4" creationId="{868DAC96-CB41-D4D4-D037-AA7301259B0A}"/>
          </ac:graphicFrameMkLst>
        </pc:graphicFrameChg>
        <pc:picChg chg="del">
          <ac:chgData name="HENRIO, Edouard" userId="5c7148f7-abfa-4fb9-ad29-286627bf53ef" providerId="ADAL" clId="{D53110E3-2253-40D9-9ED2-302591ABF449}" dt="2024-03-26T12:28:09.378" v="5445" actId="478"/>
          <ac:picMkLst>
            <pc:docMk/>
            <pc:sldMk cId="2610313471" sldId="2147481468"/>
            <ac:picMk id="6" creationId="{72849DC2-CFE2-0A98-040D-FAC2A5B90FD9}"/>
          </ac:picMkLst>
        </pc:picChg>
        <pc:picChg chg="del">
          <ac:chgData name="HENRIO, Edouard" userId="5c7148f7-abfa-4fb9-ad29-286627bf53ef" providerId="ADAL" clId="{D53110E3-2253-40D9-9ED2-302591ABF449}" dt="2024-03-26T12:28:09.834" v="5446" actId="478"/>
          <ac:picMkLst>
            <pc:docMk/>
            <pc:sldMk cId="2610313471" sldId="2147481468"/>
            <ac:picMk id="8" creationId="{6572ED70-55A4-6F03-084D-819F653A7777}"/>
          </ac:picMkLst>
        </pc:picChg>
      </pc:sldChg>
      <pc:sldChg chg="addSp delSp modSp add mod">
        <pc:chgData name="HENRIO, Edouard" userId="5c7148f7-abfa-4fb9-ad29-286627bf53ef" providerId="ADAL" clId="{D53110E3-2253-40D9-9ED2-302591ABF449}" dt="2024-05-24T09:26:17.384" v="15144" actId="20577"/>
        <pc:sldMkLst>
          <pc:docMk/>
          <pc:sldMk cId="3767276350" sldId="2147481469"/>
        </pc:sldMkLst>
        <pc:spChg chg="add mod">
          <ac:chgData name="HENRIO, Edouard" userId="5c7148f7-abfa-4fb9-ad29-286627bf53ef" providerId="ADAL" clId="{D53110E3-2253-40D9-9ED2-302591ABF449}" dt="2024-04-26T09:29:22.995" v="10700" actId="1076"/>
          <ac:spMkLst>
            <pc:docMk/>
            <pc:sldMk cId="3767276350" sldId="2147481469"/>
            <ac:spMk id="5" creationId="{9E0DE324-07DD-1C49-36D9-4F0A95EDA99B}"/>
          </ac:spMkLst>
        </pc:spChg>
        <pc:spChg chg="add mod">
          <ac:chgData name="HENRIO, Edouard" userId="5c7148f7-abfa-4fb9-ad29-286627bf53ef" providerId="ADAL" clId="{D53110E3-2253-40D9-9ED2-302591ABF449}" dt="2024-05-02T15:16:00.065" v="11315" actId="790"/>
          <ac:spMkLst>
            <pc:docMk/>
            <pc:sldMk cId="3767276350" sldId="2147481469"/>
            <ac:spMk id="6" creationId="{6159C621-682D-AEAE-D2F3-43D2532F969B}"/>
          </ac:spMkLst>
        </pc:spChg>
        <pc:spChg chg="add del mod">
          <ac:chgData name="HENRIO, Edouard" userId="5c7148f7-abfa-4fb9-ad29-286627bf53ef" providerId="ADAL" clId="{D53110E3-2253-40D9-9ED2-302591ABF449}" dt="2024-05-23T17:41:22.343" v="14368" actId="478"/>
          <ac:spMkLst>
            <pc:docMk/>
            <pc:sldMk cId="3767276350" sldId="2147481469"/>
            <ac:spMk id="9" creationId="{66338D19-18CF-26AA-B690-F26903F5AA09}"/>
          </ac:spMkLst>
        </pc:spChg>
        <pc:graphicFrameChg chg="mod modGraphic">
          <ac:chgData name="HENRIO, Edouard" userId="5c7148f7-abfa-4fb9-ad29-286627bf53ef" providerId="ADAL" clId="{D53110E3-2253-40D9-9ED2-302591ABF449}" dt="2024-05-24T09:26:17.384" v="15144" actId="20577"/>
          <ac:graphicFrameMkLst>
            <pc:docMk/>
            <pc:sldMk cId="3767276350" sldId="2147481469"/>
            <ac:graphicFrameMk id="4" creationId="{868DAC96-CB41-D4D4-D037-AA7301259B0A}"/>
          </ac:graphicFrameMkLst>
        </pc:graphicFrameChg>
        <pc:graphicFrameChg chg="add del mod modGraphic">
          <ac:chgData name="HENRIO, Edouard" userId="5c7148f7-abfa-4fb9-ad29-286627bf53ef" providerId="ADAL" clId="{D53110E3-2253-40D9-9ED2-302591ABF449}" dt="2024-05-17T12:17:25.622" v="11539" actId="21"/>
          <ac:graphicFrameMkLst>
            <pc:docMk/>
            <pc:sldMk cId="3767276350" sldId="2147481469"/>
            <ac:graphicFrameMk id="8" creationId="{90CBBB78-4B12-8028-6B75-193F49D0F257}"/>
          </ac:graphicFrameMkLst>
        </pc:graphicFrameChg>
      </pc:sldChg>
      <pc:sldChg chg="addSp modSp add del mod">
        <pc:chgData name="HENRIO, Edouard" userId="5c7148f7-abfa-4fb9-ad29-286627bf53ef" providerId="ADAL" clId="{D53110E3-2253-40D9-9ED2-302591ABF449}" dt="2024-05-24T09:31:35.196" v="15158" actId="2696"/>
        <pc:sldMkLst>
          <pc:docMk/>
          <pc:sldMk cId="3733874089" sldId="2147481470"/>
        </pc:sldMkLst>
        <pc:graphicFrameChg chg="mod modGraphic">
          <ac:chgData name="HENRIO, Edouard" userId="5c7148f7-abfa-4fb9-ad29-286627bf53ef" providerId="ADAL" clId="{D53110E3-2253-40D9-9ED2-302591ABF449}" dt="2024-05-22T12:39:48.768" v="12190" actId="14100"/>
          <ac:graphicFrameMkLst>
            <pc:docMk/>
            <pc:sldMk cId="3733874089" sldId="2147481470"/>
            <ac:graphicFrameMk id="4" creationId="{868DAC96-CB41-D4D4-D037-AA7301259B0A}"/>
          </ac:graphicFrameMkLst>
        </pc:graphicFrameChg>
        <pc:graphicFrameChg chg="add mod modGraphic">
          <ac:chgData name="HENRIO, Edouard" userId="5c7148f7-abfa-4fb9-ad29-286627bf53ef" providerId="ADAL" clId="{D53110E3-2253-40D9-9ED2-302591ABF449}" dt="2024-05-17T12:17:45.948" v="11543" actId="2166"/>
          <ac:graphicFrameMkLst>
            <pc:docMk/>
            <pc:sldMk cId="3733874089" sldId="2147481470"/>
            <ac:graphicFrameMk id="5" creationId="{91A330FA-47DE-B730-D241-84F67E59BCE3}"/>
          </ac:graphicFrameMkLst>
        </pc:graphicFrameChg>
      </pc:sldChg>
      <pc:sldChg chg="modSp add mod">
        <pc:chgData name="HENRIO, Edouard" userId="5c7148f7-abfa-4fb9-ad29-286627bf53ef" providerId="ADAL" clId="{D53110E3-2253-40D9-9ED2-302591ABF449}" dt="2024-05-24T09:31:51.197" v="15160" actId="14100"/>
        <pc:sldMkLst>
          <pc:docMk/>
          <pc:sldMk cId="3821220696" sldId="2147481470"/>
        </pc:sldMkLst>
        <pc:spChg chg="mod">
          <ac:chgData name="HENRIO, Edouard" userId="5c7148f7-abfa-4fb9-ad29-286627bf53ef" providerId="ADAL" clId="{D53110E3-2253-40D9-9ED2-302591ABF449}" dt="2024-05-24T09:31:51.197" v="15160" actId="14100"/>
          <ac:spMkLst>
            <pc:docMk/>
            <pc:sldMk cId="3821220696" sldId="2147481470"/>
            <ac:spMk id="2" creationId="{91251FF5-1F06-0806-3D41-656118FAF9D6}"/>
          </ac:spMkLst>
        </pc:spChg>
      </pc:sldChg>
      <pc:sldChg chg="addSp delSp modSp add del mod">
        <pc:chgData name="HENRIO, Edouard" userId="5c7148f7-abfa-4fb9-ad29-286627bf53ef" providerId="ADAL" clId="{D53110E3-2253-40D9-9ED2-302591ABF449}" dt="2024-05-27T09:51:37.652" v="15503" actId="47"/>
        <pc:sldMkLst>
          <pc:docMk/>
          <pc:sldMk cId="2603257548" sldId="2147481471"/>
        </pc:sldMkLst>
        <pc:spChg chg="mod">
          <ac:chgData name="HENRIO, Edouard" userId="5c7148f7-abfa-4fb9-ad29-286627bf53ef" providerId="ADAL" clId="{D53110E3-2253-40D9-9ED2-302591ABF449}" dt="2024-04-26T09:27:42.976" v="10565" actId="1076"/>
          <ac:spMkLst>
            <pc:docMk/>
            <pc:sldMk cId="2603257548" sldId="2147481471"/>
            <ac:spMk id="5" creationId="{9E0DE324-07DD-1C49-36D9-4F0A95EDA99B}"/>
          </ac:spMkLst>
        </pc:spChg>
        <pc:spChg chg="add mod">
          <ac:chgData name="HENRIO, Edouard" userId="5c7148f7-abfa-4fb9-ad29-286627bf53ef" providerId="ADAL" clId="{D53110E3-2253-40D9-9ED2-302591ABF449}" dt="2024-04-26T09:28:36.925" v="10694" actId="790"/>
          <ac:spMkLst>
            <pc:docMk/>
            <pc:sldMk cId="2603257548" sldId="2147481471"/>
            <ac:spMk id="7" creationId="{FA103747-9BCA-38E7-DF88-2892961129CF}"/>
          </ac:spMkLst>
        </pc:spChg>
        <pc:graphicFrameChg chg="del">
          <ac:chgData name="HENRIO, Edouard" userId="5c7148f7-abfa-4fb9-ad29-286627bf53ef" providerId="ADAL" clId="{D53110E3-2253-40D9-9ED2-302591ABF449}" dt="2024-04-26T09:20:36.501" v="10008" actId="478"/>
          <ac:graphicFrameMkLst>
            <pc:docMk/>
            <pc:sldMk cId="2603257548" sldId="2147481471"/>
            <ac:graphicFrameMk id="4" creationId="{868DAC96-CB41-D4D4-D037-AA7301259B0A}"/>
          </ac:graphicFrameMkLst>
        </pc:graphicFrameChg>
        <pc:graphicFrameChg chg="add mod modGraphic">
          <ac:chgData name="HENRIO, Edouard" userId="5c7148f7-abfa-4fb9-ad29-286627bf53ef" providerId="ADAL" clId="{D53110E3-2253-40D9-9ED2-302591ABF449}" dt="2024-05-02T15:22:19.804" v="11533" actId="20577"/>
          <ac:graphicFrameMkLst>
            <pc:docMk/>
            <pc:sldMk cId="2603257548" sldId="2147481471"/>
            <ac:graphicFrameMk id="6" creationId="{476532A4-0194-0CA1-321E-752BF08118DB}"/>
          </ac:graphicFrameMkLst>
        </pc:graphicFrameChg>
        <pc:cxnChg chg="add">
          <ac:chgData name="HENRIO, Edouard" userId="5c7148f7-abfa-4fb9-ad29-286627bf53ef" providerId="ADAL" clId="{D53110E3-2253-40D9-9ED2-302591ABF449}" dt="2024-04-26T09:28:22.600" v="10651" actId="11529"/>
          <ac:cxnSpMkLst>
            <pc:docMk/>
            <pc:sldMk cId="2603257548" sldId="2147481471"/>
            <ac:cxnSpMk id="9" creationId="{F70D5F91-5A5F-5292-303F-B921258B9F18}"/>
          </ac:cxnSpMkLst>
        </pc:cxnChg>
      </pc:sldChg>
      <pc:sldChg chg="addSp delSp modSp add mod ord modShow">
        <pc:chgData name="HENRIO, Edouard" userId="5c7148f7-abfa-4fb9-ad29-286627bf53ef" providerId="ADAL" clId="{D53110E3-2253-40D9-9ED2-302591ABF449}" dt="2024-05-27T09:53:26.365" v="15564" actId="20577"/>
        <pc:sldMkLst>
          <pc:docMk/>
          <pc:sldMk cId="1987958293" sldId="2147481475"/>
        </pc:sldMkLst>
        <pc:spChg chg="add mod">
          <ac:chgData name="HENRIO, Edouard" userId="5c7148f7-abfa-4fb9-ad29-286627bf53ef" providerId="ADAL" clId="{D53110E3-2253-40D9-9ED2-302591ABF449}" dt="2024-05-27T09:53:26.365" v="15564" actId="20577"/>
          <ac:spMkLst>
            <pc:docMk/>
            <pc:sldMk cId="1987958293" sldId="2147481475"/>
            <ac:spMk id="2" creationId="{A5EA2A4E-5CCD-C815-4F88-21F081736A1A}"/>
          </ac:spMkLst>
        </pc:spChg>
        <pc:spChg chg="del">
          <ac:chgData name="HENRIO, Edouard" userId="5c7148f7-abfa-4fb9-ad29-286627bf53ef" providerId="ADAL" clId="{D53110E3-2253-40D9-9ED2-302591ABF449}" dt="2024-05-27T09:45:02.632" v="15166" actId="478"/>
          <ac:spMkLst>
            <pc:docMk/>
            <pc:sldMk cId="1987958293" sldId="2147481475"/>
            <ac:spMk id="4" creationId="{4842F1DE-EDFF-C250-B024-7D5F1BC49797}"/>
          </ac:spMkLst>
        </pc:spChg>
        <pc:spChg chg="mod">
          <ac:chgData name="HENRIO, Edouard" userId="5c7148f7-abfa-4fb9-ad29-286627bf53ef" providerId="ADAL" clId="{D53110E3-2253-40D9-9ED2-302591ABF449}" dt="2024-05-22T14:05:45.983" v="12224" actId="20577"/>
          <ac:spMkLst>
            <pc:docMk/>
            <pc:sldMk cId="1987958293" sldId="2147481475"/>
            <ac:spMk id="15" creationId="{C660B7B5-1DEB-A7C2-9D22-BC8FE8A1371C}"/>
          </ac:spMkLst>
        </pc:spChg>
      </pc:sldChg>
      <pc:sldChg chg="addSp delSp modSp new del mod modShow">
        <pc:chgData name="HENRIO, Edouard" userId="5c7148f7-abfa-4fb9-ad29-286627bf53ef" providerId="ADAL" clId="{D53110E3-2253-40D9-9ED2-302591ABF449}" dt="2024-05-31T07:55:12.396" v="16403" actId="47"/>
        <pc:sldMkLst>
          <pc:docMk/>
          <pc:sldMk cId="2572013485" sldId="2147481476"/>
        </pc:sldMkLst>
        <pc:spChg chg="del mod">
          <ac:chgData name="HENRIO, Edouard" userId="5c7148f7-abfa-4fb9-ad29-286627bf53ef" providerId="ADAL" clId="{D53110E3-2253-40D9-9ED2-302591ABF449}" dt="2024-05-27T09:54:03.558" v="15565" actId="478"/>
          <ac:spMkLst>
            <pc:docMk/>
            <pc:sldMk cId="2572013485" sldId="2147481476"/>
            <ac:spMk id="2" creationId="{B46DA225-206B-6197-B30B-F871089FBA30}"/>
          </ac:spMkLst>
        </pc:spChg>
        <pc:spChg chg="mod">
          <ac:chgData name="HENRIO, Edouard" userId="5c7148f7-abfa-4fb9-ad29-286627bf53ef" providerId="ADAL" clId="{D53110E3-2253-40D9-9ED2-302591ABF449}" dt="2024-05-27T09:59:14.108" v="15746" actId="790"/>
          <ac:spMkLst>
            <pc:docMk/>
            <pc:sldMk cId="2572013485" sldId="2147481476"/>
            <ac:spMk id="3" creationId="{DF45BDCA-00FE-4986-8819-913ABE428EB0}"/>
          </ac:spMkLst>
        </pc:spChg>
        <pc:spChg chg="add del mod">
          <ac:chgData name="HENRIO, Edouard" userId="5c7148f7-abfa-4fb9-ad29-286627bf53ef" providerId="ADAL" clId="{D53110E3-2253-40D9-9ED2-302591ABF449}" dt="2024-05-27T09:55:05.291" v="15591" actId="478"/>
          <ac:spMkLst>
            <pc:docMk/>
            <pc:sldMk cId="2572013485" sldId="2147481476"/>
            <ac:spMk id="5" creationId="{1B5A5DAD-64C2-4B94-27DA-713E3C758394}"/>
          </ac:spMkLst>
        </pc:spChg>
        <pc:spChg chg="add mod topLvl">
          <ac:chgData name="HENRIO, Edouard" userId="5c7148f7-abfa-4fb9-ad29-286627bf53ef" providerId="ADAL" clId="{D53110E3-2253-40D9-9ED2-302591ABF449}" dt="2024-05-28T12:18:51.364" v="16077" actId="1076"/>
          <ac:spMkLst>
            <pc:docMk/>
            <pc:sldMk cId="2572013485" sldId="2147481476"/>
            <ac:spMk id="8" creationId="{6592A5AF-6D8E-EBD1-351B-1C70FDCCB207}"/>
          </ac:spMkLst>
        </pc:spChg>
        <pc:spChg chg="add del mod">
          <ac:chgData name="HENRIO, Edouard" userId="5c7148f7-abfa-4fb9-ad29-286627bf53ef" providerId="ADAL" clId="{D53110E3-2253-40D9-9ED2-302591ABF449}" dt="2024-05-27T09:57:11.347" v="15711" actId="478"/>
          <ac:spMkLst>
            <pc:docMk/>
            <pc:sldMk cId="2572013485" sldId="2147481476"/>
            <ac:spMk id="9" creationId="{0BF7BD7A-4116-96EE-AD0B-4D653B787B60}"/>
          </ac:spMkLst>
        </pc:spChg>
        <pc:spChg chg="add mod ord topLvl">
          <ac:chgData name="HENRIO, Edouard" userId="5c7148f7-abfa-4fb9-ad29-286627bf53ef" providerId="ADAL" clId="{D53110E3-2253-40D9-9ED2-302591ABF449}" dt="2024-05-27T10:01:08.927" v="15935" actId="1076"/>
          <ac:spMkLst>
            <pc:docMk/>
            <pc:sldMk cId="2572013485" sldId="2147481476"/>
            <ac:spMk id="10" creationId="{7AE0959D-DCD4-7C71-3A15-66B50DF06FEE}"/>
          </ac:spMkLst>
        </pc:spChg>
        <pc:spChg chg="add del">
          <ac:chgData name="HENRIO, Edouard" userId="5c7148f7-abfa-4fb9-ad29-286627bf53ef" providerId="ADAL" clId="{D53110E3-2253-40D9-9ED2-302591ABF449}" dt="2024-05-27T09:58:18.710" v="15735"/>
          <ac:spMkLst>
            <pc:docMk/>
            <pc:sldMk cId="2572013485" sldId="2147481476"/>
            <ac:spMk id="11" creationId="{A9ECEC47-5F63-29B6-C3B7-37D3969A226A}"/>
          </ac:spMkLst>
        </pc:spChg>
        <pc:spChg chg="mod topLvl">
          <ac:chgData name="HENRIO, Edouard" userId="5c7148f7-abfa-4fb9-ad29-286627bf53ef" providerId="ADAL" clId="{D53110E3-2253-40D9-9ED2-302591ABF449}" dt="2024-05-27T10:01:08.927" v="15935" actId="1076"/>
          <ac:spMkLst>
            <pc:docMk/>
            <pc:sldMk cId="2572013485" sldId="2147481476"/>
            <ac:spMk id="14" creationId="{48E2AF97-88F7-D6DB-895C-B55A98126E24}"/>
          </ac:spMkLst>
        </pc:spChg>
        <pc:spChg chg="mod topLvl">
          <ac:chgData name="HENRIO, Edouard" userId="5c7148f7-abfa-4fb9-ad29-286627bf53ef" providerId="ADAL" clId="{D53110E3-2253-40D9-9ED2-302591ABF449}" dt="2024-05-28T12:18:51.364" v="16077" actId="1076"/>
          <ac:spMkLst>
            <pc:docMk/>
            <pc:sldMk cId="2572013485" sldId="2147481476"/>
            <ac:spMk id="16" creationId="{F55E39AD-41EC-9D3D-0A8C-82B167799720}"/>
          </ac:spMkLst>
        </pc:spChg>
        <pc:spChg chg="mod topLvl">
          <ac:chgData name="HENRIO, Edouard" userId="5c7148f7-abfa-4fb9-ad29-286627bf53ef" providerId="ADAL" clId="{D53110E3-2253-40D9-9ED2-302591ABF449}" dt="2024-05-27T10:01:08.927" v="15935" actId="1076"/>
          <ac:spMkLst>
            <pc:docMk/>
            <pc:sldMk cId="2572013485" sldId="2147481476"/>
            <ac:spMk id="18" creationId="{E03822E0-5EA5-E67F-1D61-B3635810DA96}"/>
          </ac:spMkLst>
        </pc:spChg>
        <pc:spChg chg="mod topLvl">
          <ac:chgData name="HENRIO, Edouard" userId="5c7148f7-abfa-4fb9-ad29-286627bf53ef" providerId="ADAL" clId="{D53110E3-2253-40D9-9ED2-302591ABF449}" dt="2024-05-28T12:18:51.364" v="16077" actId="1076"/>
          <ac:spMkLst>
            <pc:docMk/>
            <pc:sldMk cId="2572013485" sldId="2147481476"/>
            <ac:spMk id="20" creationId="{4A452B7C-FB8A-B13F-9C4E-D53BCAE0D712}"/>
          </ac:spMkLst>
        </pc:spChg>
        <pc:spChg chg="mod topLvl">
          <ac:chgData name="HENRIO, Edouard" userId="5c7148f7-abfa-4fb9-ad29-286627bf53ef" providerId="ADAL" clId="{D53110E3-2253-40D9-9ED2-302591ABF449}" dt="2024-05-27T10:01:08.927" v="15935" actId="1076"/>
          <ac:spMkLst>
            <pc:docMk/>
            <pc:sldMk cId="2572013485" sldId="2147481476"/>
            <ac:spMk id="22" creationId="{55A61CDE-7ACD-3461-C26E-6DBFC42D1613}"/>
          </ac:spMkLst>
        </pc:spChg>
        <pc:spChg chg="mod topLvl">
          <ac:chgData name="HENRIO, Edouard" userId="5c7148f7-abfa-4fb9-ad29-286627bf53ef" providerId="ADAL" clId="{D53110E3-2253-40D9-9ED2-302591ABF449}" dt="2024-05-28T12:18:51.364" v="16077" actId="1076"/>
          <ac:spMkLst>
            <pc:docMk/>
            <pc:sldMk cId="2572013485" sldId="2147481476"/>
            <ac:spMk id="24" creationId="{10FB8F80-F065-C6FD-9442-D9AE1D2F5873}"/>
          </ac:spMkLst>
        </pc:spChg>
        <pc:spChg chg="mod topLvl">
          <ac:chgData name="HENRIO, Edouard" userId="5c7148f7-abfa-4fb9-ad29-286627bf53ef" providerId="ADAL" clId="{D53110E3-2253-40D9-9ED2-302591ABF449}" dt="2024-05-27T10:01:08.927" v="15935" actId="1076"/>
          <ac:spMkLst>
            <pc:docMk/>
            <pc:sldMk cId="2572013485" sldId="2147481476"/>
            <ac:spMk id="26" creationId="{40323EDF-E6CE-BBDF-92D4-096B44775051}"/>
          </ac:spMkLst>
        </pc:spChg>
        <pc:spChg chg="mod topLvl">
          <ac:chgData name="HENRIO, Edouard" userId="5c7148f7-abfa-4fb9-ad29-286627bf53ef" providerId="ADAL" clId="{D53110E3-2253-40D9-9ED2-302591ABF449}" dt="2024-05-28T12:18:51.364" v="16077" actId="1076"/>
          <ac:spMkLst>
            <pc:docMk/>
            <pc:sldMk cId="2572013485" sldId="2147481476"/>
            <ac:spMk id="28" creationId="{C0C28481-B977-2EA4-6A77-362A19A97E3C}"/>
          </ac:spMkLst>
        </pc:spChg>
        <pc:grpChg chg="add del mod">
          <ac:chgData name="HENRIO, Edouard" userId="5c7148f7-abfa-4fb9-ad29-286627bf53ef" providerId="ADAL" clId="{D53110E3-2253-40D9-9ED2-302591ABF449}" dt="2024-05-27T10:00:06.579" v="15778" actId="165"/>
          <ac:grpSpMkLst>
            <pc:docMk/>
            <pc:sldMk cId="2572013485" sldId="2147481476"/>
            <ac:grpSpMk id="12" creationId="{9DC1354C-36A5-7DAC-7226-6ED3F4D1A3B2}"/>
          </ac:grpSpMkLst>
        </pc:grpChg>
        <pc:grpChg chg="add del mod">
          <ac:chgData name="HENRIO, Edouard" userId="5c7148f7-abfa-4fb9-ad29-286627bf53ef" providerId="ADAL" clId="{D53110E3-2253-40D9-9ED2-302591ABF449}" dt="2024-05-27T10:00:06.579" v="15778" actId="165"/>
          <ac:grpSpMkLst>
            <pc:docMk/>
            <pc:sldMk cId="2572013485" sldId="2147481476"/>
            <ac:grpSpMk id="13" creationId="{530407C7-01BB-BCF9-C945-B600B57EBAE6}"/>
          </ac:grpSpMkLst>
        </pc:grpChg>
        <pc:grpChg chg="add del mod">
          <ac:chgData name="HENRIO, Edouard" userId="5c7148f7-abfa-4fb9-ad29-286627bf53ef" providerId="ADAL" clId="{D53110E3-2253-40D9-9ED2-302591ABF449}" dt="2024-05-27T10:00:06.579" v="15778" actId="165"/>
          <ac:grpSpMkLst>
            <pc:docMk/>
            <pc:sldMk cId="2572013485" sldId="2147481476"/>
            <ac:grpSpMk id="17" creationId="{256C7983-EDA3-8D32-0DFA-15FF103DA0A4}"/>
          </ac:grpSpMkLst>
        </pc:grpChg>
        <pc:grpChg chg="add del mod">
          <ac:chgData name="HENRIO, Edouard" userId="5c7148f7-abfa-4fb9-ad29-286627bf53ef" providerId="ADAL" clId="{D53110E3-2253-40D9-9ED2-302591ABF449}" dt="2024-05-27T10:00:06.579" v="15778" actId="165"/>
          <ac:grpSpMkLst>
            <pc:docMk/>
            <pc:sldMk cId="2572013485" sldId="2147481476"/>
            <ac:grpSpMk id="21" creationId="{2F81E26E-615A-7A08-BEE4-0CFD0D96B298}"/>
          </ac:grpSpMkLst>
        </pc:grpChg>
        <pc:grpChg chg="add del mod">
          <ac:chgData name="HENRIO, Edouard" userId="5c7148f7-abfa-4fb9-ad29-286627bf53ef" providerId="ADAL" clId="{D53110E3-2253-40D9-9ED2-302591ABF449}" dt="2024-05-27T10:00:06.579" v="15778" actId="165"/>
          <ac:grpSpMkLst>
            <pc:docMk/>
            <pc:sldMk cId="2572013485" sldId="2147481476"/>
            <ac:grpSpMk id="25" creationId="{68966A69-E379-DFEF-D662-80C53EC1C421}"/>
          </ac:grpSpMkLst>
        </pc:grpChg>
        <pc:picChg chg="mod">
          <ac:chgData name="HENRIO, Edouard" userId="5c7148f7-abfa-4fb9-ad29-286627bf53ef" providerId="ADAL" clId="{D53110E3-2253-40D9-9ED2-302591ABF449}" dt="2024-05-28T12:18:41.074" v="16076" actId="1076"/>
          <ac:picMkLst>
            <pc:docMk/>
            <pc:sldMk cId="2572013485" sldId="2147481476"/>
            <ac:picMk id="2" creationId="{77C6F581-7639-61B5-0E77-D4DAA2B8F008}"/>
          </ac:picMkLst>
        </pc:picChg>
        <pc:picChg chg="add mod topLvl">
          <ac:chgData name="HENRIO, Edouard" userId="5c7148f7-abfa-4fb9-ad29-286627bf53ef" providerId="ADAL" clId="{D53110E3-2253-40D9-9ED2-302591ABF449}" dt="2024-05-28T12:18:41.074" v="16076" actId="1076"/>
          <ac:picMkLst>
            <pc:docMk/>
            <pc:sldMk cId="2572013485" sldId="2147481476"/>
            <ac:picMk id="7" creationId="{23C202F0-B7DC-8C30-C5C8-D0F68345B8E5}"/>
          </ac:picMkLst>
        </pc:picChg>
        <pc:picChg chg="mod topLvl">
          <ac:chgData name="HENRIO, Edouard" userId="5c7148f7-abfa-4fb9-ad29-286627bf53ef" providerId="ADAL" clId="{D53110E3-2253-40D9-9ED2-302591ABF449}" dt="2024-05-27T10:00:06.579" v="15778" actId="165"/>
          <ac:picMkLst>
            <pc:docMk/>
            <pc:sldMk cId="2572013485" sldId="2147481476"/>
            <ac:picMk id="15" creationId="{8C1BB760-AA48-452E-6F55-BE2D09FC17EF}"/>
          </ac:picMkLst>
        </pc:picChg>
        <pc:picChg chg="mod topLvl">
          <ac:chgData name="HENRIO, Edouard" userId="5c7148f7-abfa-4fb9-ad29-286627bf53ef" providerId="ADAL" clId="{D53110E3-2253-40D9-9ED2-302591ABF449}" dt="2024-05-28T12:18:41.074" v="16076" actId="1076"/>
          <ac:picMkLst>
            <pc:docMk/>
            <pc:sldMk cId="2572013485" sldId="2147481476"/>
            <ac:picMk id="19" creationId="{FF689B91-98AD-0899-9BCC-8F381483C050}"/>
          </ac:picMkLst>
        </pc:picChg>
        <pc:picChg chg="mod topLvl">
          <ac:chgData name="HENRIO, Edouard" userId="5c7148f7-abfa-4fb9-ad29-286627bf53ef" providerId="ADAL" clId="{D53110E3-2253-40D9-9ED2-302591ABF449}" dt="2024-05-28T12:18:41.074" v="16076" actId="1076"/>
          <ac:picMkLst>
            <pc:docMk/>
            <pc:sldMk cId="2572013485" sldId="2147481476"/>
            <ac:picMk id="23" creationId="{AD2FEE19-F6D9-2721-6310-DDEF63A8B8A3}"/>
          </ac:picMkLst>
        </pc:picChg>
        <pc:picChg chg="mod topLvl">
          <ac:chgData name="HENRIO, Edouard" userId="5c7148f7-abfa-4fb9-ad29-286627bf53ef" providerId="ADAL" clId="{D53110E3-2253-40D9-9ED2-302591ABF449}" dt="2024-05-28T12:18:41.074" v="16076" actId="1076"/>
          <ac:picMkLst>
            <pc:docMk/>
            <pc:sldMk cId="2572013485" sldId="2147481476"/>
            <ac:picMk id="27" creationId="{CE4F85F9-A967-56C6-00F4-723F8F1F21CA}"/>
          </ac:picMkLst>
        </pc:picChg>
        <pc:picChg chg="add del mod">
          <ac:chgData name="HENRIO, Edouard" userId="5c7148f7-abfa-4fb9-ad29-286627bf53ef" providerId="ADAL" clId="{D53110E3-2253-40D9-9ED2-302591ABF449}" dt="2024-05-27T09:59:38.545" v="15768" actId="478"/>
          <ac:picMkLst>
            <pc:docMk/>
            <pc:sldMk cId="2572013485" sldId="2147481476"/>
            <ac:picMk id="1026" creationId="{5430E47F-6CFB-4F25-7A57-68BBEB5F9F38}"/>
          </ac:picMkLst>
        </pc:picChg>
        <pc:picChg chg="add del mod">
          <ac:chgData name="HENRIO, Edouard" userId="5c7148f7-abfa-4fb9-ad29-286627bf53ef" providerId="ADAL" clId="{D53110E3-2253-40D9-9ED2-302591ABF449}" dt="2024-05-27T09:59:38.545" v="15768" actId="478"/>
          <ac:picMkLst>
            <pc:docMk/>
            <pc:sldMk cId="2572013485" sldId="2147481476"/>
            <ac:picMk id="1028" creationId="{FBAD0679-41B7-264C-6799-B4BDEAF7C7A5}"/>
          </ac:picMkLst>
        </pc:picChg>
        <pc:picChg chg="add del mod">
          <ac:chgData name="HENRIO, Edouard" userId="5c7148f7-abfa-4fb9-ad29-286627bf53ef" providerId="ADAL" clId="{D53110E3-2253-40D9-9ED2-302591ABF449}" dt="2024-05-27T09:59:38.545" v="15768" actId="478"/>
          <ac:picMkLst>
            <pc:docMk/>
            <pc:sldMk cId="2572013485" sldId="2147481476"/>
            <ac:picMk id="1032" creationId="{2EBC0BE7-8A40-62CB-E393-446526BB52C0}"/>
          </ac:picMkLst>
        </pc:picChg>
        <pc:picChg chg="add del mod">
          <ac:chgData name="HENRIO, Edouard" userId="5c7148f7-abfa-4fb9-ad29-286627bf53ef" providerId="ADAL" clId="{D53110E3-2253-40D9-9ED2-302591ABF449}" dt="2024-05-27T09:59:39.709" v="15769" actId="478"/>
          <ac:picMkLst>
            <pc:docMk/>
            <pc:sldMk cId="2572013485" sldId="2147481476"/>
            <ac:picMk id="1034" creationId="{9D282D7D-E5EF-E2DB-6258-D985818C5792}"/>
          </ac:picMkLst>
        </pc:picChg>
      </pc:sldChg>
      <pc:sldChg chg="add">
        <pc:chgData name="HENRIO, Edouard" userId="5c7148f7-abfa-4fb9-ad29-286627bf53ef" providerId="ADAL" clId="{D53110E3-2253-40D9-9ED2-302591ABF449}" dt="2024-05-24T09:30:30.591" v="15154"/>
        <pc:sldMkLst>
          <pc:docMk/>
          <pc:sldMk cId="1470086245" sldId="2147481478"/>
        </pc:sldMkLst>
      </pc:sldChg>
      <pc:sldChg chg="ord">
        <pc:chgData name="HENRIO, Edouard" userId="5c7148f7-abfa-4fb9-ad29-286627bf53ef" providerId="ADAL" clId="{D53110E3-2253-40D9-9ED2-302591ABF449}" dt="2024-05-27T09:44:52.900" v="15163"/>
        <pc:sldMkLst>
          <pc:docMk/>
          <pc:sldMk cId="3876079171" sldId="2147481480"/>
        </pc:sldMkLst>
      </pc:sldChg>
      <pc:sldChg chg="delSp modSp new mod">
        <pc:chgData name="HENRIO, Edouard" userId="5c7148f7-abfa-4fb9-ad29-286627bf53ef" providerId="ADAL" clId="{D53110E3-2253-40D9-9ED2-302591ABF449}" dt="2024-05-27T09:51:49.659" v="15513" actId="478"/>
        <pc:sldMkLst>
          <pc:docMk/>
          <pc:sldMk cId="4054122257" sldId="2147481485"/>
        </pc:sldMkLst>
        <pc:spChg chg="del">
          <ac:chgData name="HENRIO, Edouard" userId="5c7148f7-abfa-4fb9-ad29-286627bf53ef" providerId="ADAL" clId="{D53110E3-2253-40D9-9ED2-302591ABF449}" dt="2024-05-27T09:51:47.002" v="15512" actId="478"/>
          <ac:spMkLst>
            <pc:docMk/>
            <pc:sldMk cId="4054122257" sldId="2147481485"/>
            <ac:spMk id="2" creationId="{628180E4-BE00-B8EB-64A6-22033386ADAD}"/>
          </ac:spMkLst>
        </pc:spChg>
        <pc:spChg chg="mod">
          <ac:chgData name="HENRIO, Edouard" userId="5c7148f7-abfa-4fb9-ad29-286627bf53ef" providerId="ADAL" clId="{D53110E3-2253-40D9-9ED2-302591ABF449}" dt="2024-05-27T09:51:45.820" v="15511" actId="20577"/>
          <ac:spMkLst>
            <pc:docMk/>
            <pc:sldMk cId="4054122257" sldId="2147481485"/>
            <ac:spMk id="3" creationId="{4CD45B33-9486-32A6-6CF0-6CCC4CDC502C}"/>
          </ac:spMkLst>
        </pc:spChg>
        <pc:spChg chg="del">
          <ac:chgData name="HENRIO, Edouard" userId="5c7148f7-abfa-4fb9-ad29-286627bf53ef" providerId="ADAL" clId="{D53110E3-2253-40D9-9ED2-302591ABF449}" dt="2024-05-27T09:51:49.659" v="15513" actId="478"/>
          <ac:spMkLst>
            <pc:docMk/>
            <pc:sldMk cId="4054122257" sldId="2147481485"/>
            <ac:spMk id="4" creationId="{F4B41A4B-1417-79A6-26BD-D0F7D432B140}"/>
          </ac:spMkLst>
        </pc:spChg>
      </pc:sldChg>
      <pc:sldChg chg="add del mod modShow">
        <pc:chgData name="HENRIO, Edouard" userId="5c7148f7-abfa-4fb9-ad29-286627bf53ef" providerId="ADAL" clId="{D53110E3-2253-40D9-9ED2-302591ABF449}" dt="2024-05-31T07:56:36.392" v="16448" actId="47"/>
        <pc:sldMkLst>
          <pc:docMk/>
          <pc:sldMk cId="4218265138" sldId="2147481486"/>
        </pc:sldMkLst>
      </pc:sldChg>
      <pc:sldChg chg="add">
        <pc:chgData name="HENRIO, Edouard" userId="5c7148f7-abfa-4fb9-ad29-286627bf53ef" providerId="ADAL" clId="{D53110E3-2253-40D9-9ED2-302591ABF449}" dt="2024-05-29T14:43:54.491" v="16084"/>
        <pc:sldMkLst>
          <pc:docMk/>
          <pc:sldMk cId="3841549454" sldId="2147481487"/>
        </pc:sldMkLst>
      </pc:sldChg>
      <pc:sldChg chg="add del">
        <pc:chgData name="HENRIO, Edouard" userId="5c7148f7-abfa-4fb9-ad29-286627bf53ef" providerId="ADAL" clId="{D53110E3-2253-40D9-9ED2-302591ABF449}" dt="2024-05-29T15:05:25.397" v="16147"/>
        <pc:sldMkLst>
          <pc:docMk/>
          <pc:sldMk cId="1075386349" sldId="2147481488"/>
        </pc:sldMkLst>
      </pc:sldChg>
      <pc:sldChg chg="add del">
        <pc:chgData name="HENRIO, Edouard" userId="5c7148f7-abfa-4fb9-ad29-286627bf53ef" providerId="ADAL" clId="{D53110E3-2253-40D9-9ED2-302591ABF449}" dt="2024-05-29T14:44:07.576" v="16087"/>
        <pc:sldMkLst>
          <pc:docMk/>
          <pc:sldMk cId="1237264573" sldId="2147481488"/>
        </pc:sldMkLst>
      </pc:sldChg>
      <pc:sldChg chg="addSp delSp modSp add mod">
        <pc:chgData name="HENRIO, Edouard" userId="5c7148f7-abfa-4fb9-ad29-286627bf53ef" providerId="ADAL" clId="{D53110E3-2253-40D9-9ED2-302591ABF449}" dt="2024-05-29T15:06:04.736" v="16162" actId="14826"/>
        <pc:sldMkLst>
          <pc:docMk/>
          <pc:sldMk cId="2803579720" sldId="2147481488"/>
        </pc:sldMkLst>
        <pc:spChg chg="del">
          <ac:chgData name="HENRIO, Edouard" userId="5c7148f7-abfa-4fb9-ad29-286627bf53ef" providerId="ADAL" clId="{D53110E3-2253-40D9-9ED2-302591ABF449}" dt="2024-05-29T15:05:49.526" v="16155" actId="478"/>
          <ac:spMkLst>
            <pc:docMk/>
            <pc:sldMk cId="2803579720" sldId="2147481488"/>
            <ac:spMk id="5" creationId="{BD28F52F-29FF-ED93-C9E8-1776150C6014}"/>
          </ac:spMkLst>
        </pc:spChg>
        <pc:spChg chg="del">
          <ac:chgData name="HENRIO, Edouard" userId="5c7148f7-abfa-4fb9-ad29-286627bf53ef" providerId="ADAL" clId="{D53110E3-2253-40D9-9ED2-302591ABF449}" dt="2024-05-29T15:05:47.700" v="16153" actId="478"/>
          <ac:spMkLst>
            <pc:docMk/>
            <pc:sldMk cId="2803579720" sldId="2147481488"/>
            <ac:spMk id="8" creationId="{9CED62D4-9277-2C50-D7D6-2BB88BB05A3D}"/>
          </ac:spMkLst>
        </pc:spChg>
        <pc:spChg chg="mod">
          <ac:chgData name="HENRIO, Edouard" userId="5c7148f7-abfa-4fb9-ad29-286627bf53ef" providerId="ADAL" clId="{D53110E3-2253-40D9-9ED2-302591ABF449}" dt="2024-05-29T15:05:53.183" v="16157" actId="12788"/>
          <ac:spMkLst>
            <pc:docMk/>
            <pc:sldMk cId="2803579720" sldId="2147481488"/>
            <ac:spMk id="11" creationId="{5BD25EEA-443D-58B9-4FE4-1AA9F3A2813A}"/>
          </ac:spMkLst>
        </pc:spChg>
        <pc:picChg chg="add del">
          <ac:chgData name="HENRIO, Edouard" userId="5c7148f7-abfa-4fb9-ad29-286627bf53ef" providerId="ADAL" clId="{D53110E3-2253-40D9-9ED2-302591ABF449}" dt="2024-05-29T15:06:01.876" v="16161" actId="21"/>
          <ac:picMkLst>
            <pc:docMk/>
            <pc:sldMk cId="2803579720" sldId="2147481488"/>
            <ac:picMk id="2" creationId="{1E6D0663-D481-BD57-B4BF-FE33284EF59C}"/>
          </ac:picMkLst>
        </pc:picChg>
        <pc:picChg chg="del">
          <ac:chgData name="HENRIO, Edouard" userId="5c7148f7-abfa-4fb9-ad29-286627bf53ef" providerId="ADAL" clId="{D53110E3-2253-40D9-9ED2-302591ABF449}" dt="2024-05-29T15:05:48.367" v="16154" actId="478"/>
          <ac:picMkLst>
            <pc:docMk/>
            <pc:sldMk cId="2803579720" sldId="2147481488"/>
            <ac:picMk id="4" creationId="{895243AE-1E29-A262-C367-0CA611FCEA1C}"/>
          </ac:picMkLst>
        </pc:picChg>
        <pc:picChg chg="del">
          <ac:chgData name="HENRIO, Edouard" userId="5c7148f7-abfa-4fb9-ad29-286627bf53ef" providerId="ADAL" clId="{D53110E3-2253-40D9-9ED2-302591ABF449}" dt="2024-05-29T15:05:46.183" v="16152" actId="478"/>
          <ac:picMkLst>
            <pc:docMk/>
            <pc:sldMk cId="2803579720" sldId="2147481488"/>
            <ac:picMk id="7" creationId="{103CA0EA-6C92-A1B3-930C-3B11A3B54083}"/>
          </ac:picMkLst>
        </pc:picChg>
        <pc:picChg chg="mod">
          <ac:chgData name="HENRIO, Edouard" userId="5c7148f7-abfa-4fb9-ad29-286627bf53ef" providerId="ADAL" clId="{D53110E3-2253-40D9-9ED2-302591ABF449}" dt="2024-05-29T15:06:04.736" v="16162" actId="14826"/>
          <ac:picMkLst>
            <pc:docMk/>
            <pc:sldMk cId="2803579720" sldId="2147481488"/>
            <ac:picMk id="10" creationId="{C53E58E4-7E9F-265F-DD66-BAB4F0B97513}"/>
          </ac:picMkLst>
        </pc:picChg>
      </pc:sldChg>
      <pc:sldChg chg="add del">
        <pc:chgData name="HENRIO, Edouard" userId="5c7148f7-abfa-4fb9-ad29-286627bf53ef" providerId="ADAL" clId="{D53110E3-2253-40D9-9ED2-302591ABF449}" dt="2024-05-29T15:06:00.375" v="16159"/>
        <pc:sldMkLst>
          <pc:docMk/>
          <pc:sldMk cId="1162874980" sldId="2147481489"/>
        </pc:sldMkLst>
      </pc:sldChg>
      <pc:sldChg chg="addSp delSp modSp add mod modShow">
        <pc:chgData name="HENRIO, Edouard" userId="5c7148f7-abfa-4fb9-ad29-286627bf53ef" providerId="ADAL" clId="{D53110E3-2253-40D9-9ED2-302591ABF449}" dt="2024-05-31T07:56:34.399" v="16447" actId="729"/>
        <pc:sldMkLst>
          <pc:docMk/>
          <pc:sldMk cId="1786172485" sldId="2147481489"/>
        </pc:sldMkLst>
        <pc:spChg chg="mod">
          <ac:chgData name="HENRIO, Edouard" userId="5c7148f7-abfa-4fb9-ad29-286627bf53ef" providerId="ADAL" clId="{D53110E3-2253-40D9-9ED2-302591ABF449}" dt="2024-05-31T07:52:53.514" v="16347" actId="20577"/>
          <ac:spMkLst>
            <pc:docMk/>
            <pc:sldMk cId="1786172485" sldId="2147481489"/>
            <ac:spMk id="8" creationId="{6592A5AF-6D8E-EBD1-351B-1C70FDCCB207}"/>
          </ac:spMkLst>
        </pc:spChg>
        <pc:spChg chg="mod">
          <ac:chgData name="HENRIO, Edouard" userId="5c7148f7-abfa-4fb9-ad29-286627bf53ef" providerId="ADAL" clId="{D53110E3-2253-40D9-9ED2-302591ABF449}" dt="2024-05-31T07:55:23.803" v="16422" actId="20577"/>
          <ac:spMkLst>
            <pc:docMk/>
            <pc:sldMk cId="1786172485" sldId="2147481489"/>
            <ac:spMk id="16" creationId="{F55E39AD-41EC-9D3D-0A8C-82B167799720}"/>
          </ac:spMkLst>
        </pc:spChg>
        <pc:spChg chg="mod">
          <ac:chgData name="HENRIO, Edouard" userId="5c7148f7-abfa-4fb9-ad29-286627bf53ef" providerId="ADAL" clId="{D53110E3-2253-40D9-9ED2-302591ABF449}" dt="2024-05-31T07:53:08.720" v="16353" actId="20577"/>
          <ac:spMkLst>
            <pc:docMk/>
            <pc:sldMk cId="1786172485" sldId="2147481489"/>
            <ac:spMk id="20" creationId="{4A452B7C-FB8A-B13F-9C4E-D53BCAE0D712}"/>
          </ac:spMkLst>
        </pc:spChg>
        <pc:spChg chg="mod">
          <ac:chgData name="HENRIO, Edouard" userId="5c7148f7-abfa-4fb9-ad29-286627bf53ef" providerId="ADAL" clId="{D53110E3-2253-40D9-9ED2-302591ABF449}" dt="2024-05-31T07:55:42.446" v="16446" actId="20577"/>
          <ac:spMkLst>
            <pc:docMk/>
            <pc:sldMk cId="1786172485" sldId="2147481489"/>
            <ac:spMk id="24" creationId="{10FB8F80-F065-C6FD-9442-D9AE1D2F5873}"/>
          </ac:spMkLst>
        </pc:spChg>
        <pc:spChg chg="mod">
          <ac:chgData name="HENRIO, Edouard" userId="5c7148f7-abfa-4fb9-ad29-286627bf53ef" providerId="ADAL" clId="{D53110E3-2253-40D9-9ED2-302591ABF449}" dt="2024-05-31T07:54:35.719" v="16402"/>
          <ac:spMkLst>
            <pc:docMk/>
            <pc:sldMk cId="1786172485" sldId="2147481489"/>
            <ac:spMk id="28" creationId="{C0C28481-B977-2EA4-6A77-362A19A97E3C}"/>
          </ac:spMkLst>
        </pc:spChg>
        <pc:picChg chg="mod">
          <ac:chgData name="HENRIO, Edouard" userId="5c7148f7-abfa-4fb9-ad29-286627bf53ef" providerId="ADAL" clId="{D53110E3-2253-40D9-9ED2-302591ABF449}" dt="2024-05-31T07:51:44.842" v="16232" actId="14826"/>
          <ac:picMkLst>
            <pc:docMk/>
            <pc:sldMk cId="1786172485" sldId="2147481489"/>
            <ac:picMk id="2" creationId="{77C6F581-7639-61B5-0E77-D4DAA2B8F008}"/>
          </ac:picMkLst>
        </pc:picChg>
        <pc:picChg chg="del">
          <ac:chgData name="HENRIO, Edouard" userId="5c7148f7-abfa-4fb9-ad29-286627bf53ef" providerId="ADAL" clId="{D53110E3-2253-40D9-9ED2-302591ABF449}" dt="2024-05-31T07:53:14.974" v="16356" actId="478"/>
          <ac:picMkLst>
            <pc:docMk/>
            <pc:sldMk cId="1786172485" sldId="2147481489"/>
            <ac:picMk id="4" creationId="{31D3236F-BF21-B5CA-ADD6-F160CE593043}"/>
          </ac:picMkLst>
        </pc:picChg>
        <pc:picChg chg="del">
          <ac:chgData name="HENRIO, Edouard" userId="5c7148f7-abfa-4fb9-ad29-286627bf53ef" providerId="ADAL" clId="{D53110E3-2253-40D9-9ED2-302591ABF449}" dt="2024-05-31T07:53:15.619" v="16357" actId="478"/>
          <ac:picMkLst>
            <pc:docMk/>
            <pc:sldMk cId="1786172485" sldId="2147481489"/>
            <ac:picMk id="5" creationId="{C6CB8443-79FA-F3B2-6F84-CBE506B562F3}"/>
          </ac:picMkLst>
        </pc:picChg>
        <pc:picChg chg="del">
          <ac:chgData name="HENRIO, Edouard" userId="5c7148f7-abfa-4fb9-ad29-286627bf53ef" providerId="ADAL" clId="{D53110E3-2253-40D9-9ED2-302591ABF449}" dt="2024-05-31T07:53:14.486" v="16355" actId="478"/>
          <ac:picMkLst>
            <pc:docMk/>
            <pc:sldMk cId="1786172485" sldId="2147481489"/>
            <ac:picMk id="6" creationId="{AF765BC9-3695-5A02-A0AF-18B36B31AFA0}"/>
          </ac:picMkLst>
        </pc:picChg>
        <pc:picChg chg="mod">
          <ac:chgData name="HENRIO, Edouard" userId="5c7148f7-abfa-4fb9-ad29-286627bf53ef" providerId="ADAL" clId="{D53110E3-2253-40D9-9ED2-302591ABF449}" dt="2024-05-31T07:51:33.068" v="16231" actId="14826"/>
          <ac:picMkLst>
            <pc:docMk/>
            <pc:sldMk cId="1786172485" sldId="2147481489"/>
            <ac:picMk id="7" creationId="{23C202F0-B7DC-8C30-C5C8-D0F68345B8E5}"/>
          </ac:picMkLst>
        </pc:picChg>
        <pc:picChg chg="del">
          <ac:chgData name="HENRIO, Edouard" userId="5c7148f7-abfa-4fb9-ad29-286627bf53ef" providerId="ADAL" clId="{D53110E3-2253-40D9-9ED2-302591ABF449}" dt="2024-05-31T07:53:13.957" v="16354" actId="478"/>
          <ac:picMkLst>
            <pc:docMk/>
            <pc:sldMk cId="1786172485" sldId="2147481489"/>
            <ac:picMk id="9" creationId="{8D408B12-E315-BCAC-B11F-5955553A517B}"/>
          </ac:picMkLst>
        </pc:picChg>
        <pc:picChg chg="add mod">
          <ac:chgData name="HENRIO, Edouard" userId="5c7148f7-abfa-4fb9-ad29-286627bf53ef" providerId="ADAL" clId="{D53110E3-2253-40D9-9ED2-302591ABF449}" dt="2024-05-31T07:52:31.452" v="16292" actId="1076"/>
          <ac:picMkLst>
            <pc:docMk/>
            <pc:sldMk cId="1786172485" sldId="2147481489"/>
            <ac:picMk id="11" creationId="{13A930C8-F326-765B-0355-CFFBDCA406C1}"/>
          </ac:picMkLst>
        </pc:picChg>
        <pc:picChg chg="add mod">
          <ac:chgData name="HENRIO, Edouard" userId="5c7148f7-abfa-4fb9-ad29-286627bf53ef" providerId="ADAL" clId="{D53110E3-2253-40D9-9ED2-302591ABF449}" dt="2024-05-31T07:52:35.060" v="16294" actId="1076"/>
          <ac:picMkLst>
            <pc:docMk/>
            <pc:sldMk cId="1786172485" sldId="2147481489"/>
            <ac:picMk id="12" creationId="{BCF2C361-94FC-8EC8-D2B2-A6234ADAAAAF}"/>
          </ac:picMkLst>
        </pc:picChg>
        <pc:picChg chg="add mod">
          <ac:chgData name="HENRIO, Edouard" userId="5c7148f7-abfa-4fb9-ad29-286627bf53ef" providerId="ADAL" clId="{D53110E3-2253-40D9-9ED2-302591ABF449}" dt="2024-05-31T07:55:15.984" v="16404" actId="1076"/>
          <ac:picMkLst>
            <pc:docMk/>
            <pc:sldMk cId="1786172485" sldId="2147481489"/>
            <ac:picMk id="13" creationId="{615D38C8-9A5C-A4C3-081F-D627DCD90034}"/>
          </ac:picMkLst>
        </pc:picChg>
        <pc:picChg chg="add mod">
          <ac:chgData name="HENRIO, Edouard" userId="5c7148f7-abfa-4fb9-ad29-286627bf53ef" providerId="ADAL" clId="{D53110E3-2253-40D9-9ED2-302591ABF449}" dt="2024-05-31T07:52:33.026" v="16293" actId="1076"/>
          <ac:picMkLst>
            <pc:docMk/>
            <pc:sldMk cId="1786172485" sldId="2147481489"/>
            <ac:picMk id="15" creationId="{136FE88C-43AF-82AD-BFAE-1A26AA6D5503}"/>
          </ac:picMkLst>
        </pc:picChg>
        <pc:picChg chg="del">
          <ac:chgData name="HENRIO, Edouard" userId="5c7148f7-abfa-4fb9-ad29-286627bf53ef" providerId="ADAL" clId="{D53110E3-2253-40D9-9ED2-302591ABF449}" dt="2024-05-31T07:52:08.653" v="16285" actId="478"/>
          <ac:picMkLst>
            <pc:docMk/>
            <pc:sldMk cId="1786172485" sldId="2147481489"/>
            <ac:picMk id="1026" creationId="{3361CEE5-4207-A454-40AE-30A5EF892303}"/>
          </ac:picMkLst>
        </pc:picChg>
        <pc:picChg chg="del">
          <ac:chgData name="HENRIO, Edouard" userId="5c7148f7-abfa-4fb9-ad29-286627bf53ef" providerId="ADAL" clId="{D53110E3-2253-40D9-9ED2-302591ABF449}" dt="2024-05-31T07:52:08.260" v="16284" actId="478"/>
          <ac:picMkLst>
            <pc:docMk/>
            <pc:sldMk cId="1786172485" sldId="2147481489"/>
            <ac:picMk id="1028" creationId="{90E17479-E943-D382-C214-6D6DF9435149}"/>
          </ac:picMkLst>
        </pc:picChg>
        <pc:picChg chg="del">
          <ac:chgData name="HENRIO, Edouard" userId="5c7148f7-abfa-4fb9-ad29-286627bf53ef" providerId="ADAL" clId="{D53110E3-2253-40D9-9ED2-302591ABF449}" dt="2024-05-31T07:52:07.758" v="16283" actId="478"/>
          <ac:picMkLst>
            <pc:docMk/>
            <pc:sldMk cId="1786172485" sldId="2147481489"/>
            <ac:picMk id="1030" creationId="{BB04D437-C3EA-3BCD-731A-A458A452F221}"/>
          </ac:picMkLst>
        </pc:picChg>
        <pc:picChg chg="del">
          <ac:chgData name="HENRIO, Edouard" userId="5c7148f7-abfa-4fb9-ad29-286627bf53ef" providerId="ADAL" clId="{D53110E3-2253-40D9-9ED2-302591ABF449}" dt="2024-05-31T07:52:07.033" v="16282" actId="478"/>
          <ac:picMkLst>
            <pc:docMk/>
            <pc:sldMk cId="1786172485" sldId="2147481489"/>
            <ac:picMk id="2050" creationId="{6A4AE121-915E-027B-F6EA-D4B5E9872729}"/>
          </ac:picMkLst>
        </pc:picChg>
        <pc:picChg chg="del">
          <ac:chgData name="HENRIO, Edouard" userId="5c7148f7-abfa-4fb9-ad29-286627bf53ef" providerId="ADAL" clId="{D53110E3-2253-40D9-9ED2-302591ABF449}" dt="2024-05-31T07:52:06.526" v="16281" actId="478"/>
          <ac:picMkLst>
            <pc:docMk/>
            <pc:sldMk cId="1786172485" sldId="2147481489"/>
            <ac:picMk id="3074" creationId="{849109CF-2ACD-0B13-FBB6-C4ACE0B5FF62}"/>
          </ac:picMkLst>
        </pc:picChg>
      </pc:sldChg>
      <pc:sldMasterChg chg="mod addSldLayout delSldLayout modSldLayout">
        <pc:chgData name="HENRIO, Edouard" userId="5c7148f7-abfa-4fb9-ad29-286627bf53ef" providerId="ADAL" clId="{D53110E3-2253-40D9-9ED2-302591ABF449}" dt="2024-05-27T09:52:44.868" v="15542" actId="47"/>
        <pc:sldMasterMkLst>
          <pc:docMk/>
          <pc:sldMasterMk cId="3148905397" sldId="2147483899"/>
        </pc:sldMasterMkLst>
        <pc:sldLayoutChg chg="modSp mod">
          <pc:chgData name="HENRIO, Edouard" userId="5c7148f7-abfa-4fb9-ad29-286627bf53ef" providerId="ADAL" clId="{D53110E3-2253-40D9-9ED2-302591ABF449}" dt="2024-03-07T15:58:40.303" v="4377" actId="20577"/>
          <pc:sldLayoutMkLst>
            <pc:docMk/>
            <pc:sldMasterMk cId="3148905397" sldId="2147483899"/>
            <pc:sldLayoutMk cId="2280450640" sldId="2147483918"/>
          </pc:sldLayoutMkLst>
          <pc:spChg chg="mod">
            <ac:chgData name="HENRIO, Edouard" userId="5c7148f7-abfa-4fb9-ad29-286627bf53ef" providerId="ADAL" clId="{D53110E3-2253-40D9-9ED2-302591ABF449}" dt="2024-03-07T15:58:40.303" v="4377" actId="20577"/>
            <ac:spMkLst>
              <pc:docMk/>
              <pc:sldMasterMk cId="3148905397" sldId="2147483899"/>
              <pc:sldLayoutMk cId="2280450640" sldId="2147483918"/>
              <ac:spMk id="23" creationId="{00000000-0000-0000-0000-000000000000}"/>
            </ac:spMkLst>
          </pc:spChg>
        </pc:sldLayoutChg>
        <pc:sldLayoutChg chg="del">
          <pc:chgData name="HENRIO, Edouard" userId="5c7148f7-abfa-4fb9-ad29-286627bf53ef" providerId="ADAL" clId="{D53110E3-2253-40D9-9ED2-302591ABF449}" dt="2024-03-07T16:01:21.690" v="4615" actId="47"/>
          <pc:sldLayoutMkLst>
            <pc:docMk/>
            <pc:sldMasterMk cId="3148905397" sldId="2147483899"/>
            <pc:sldLayoutMk cId="596498762" sldId="2147484260"/>
          </pc:sldLayoutMkLst>
        </pc:sldLayoutChg>
        <pc:sldLayoutChg chg="add del">
          <pc:chgData name="HENRIO, Edouard" userId="5c7148f7-abfa-4fb9-ad29-286627bf53ef" providerId="ADAL" clId="{D53110E3-2253-40D9-9ED2-302591ABF449}" dt="2024-05-27T09:52:44.868" v="15542" actId="47"/>
          <pc:sldLayoutMkLst>
            <pc:docMk/>
            <pc:sldMasterMk cId="3148905397" sldId="2147483899"/>
            <pc:sldLayoutMk cId="68194827" sldId="2147484261"/>
          </pc:sldLayoutMkLst>
        </pc:sldLayoutChg>
        <pc:sldLayoutChg chg="del">
          <pc:chgData name="HENRIO, Edouard" userId="5c7148f7-abfa-4fb9-ad29-286627bf53ef" providerId="ADAL" clId="{D53110E3-2253-40D9-9ED2-302591ABF449}" dt="2024-03-07T16:21:29.120" v="4901" actId="2696"/>
          <pc:sldLayoutMkLst>
            <pc:docMk/>
            <pc:sldMasterMk cId="3148905397" sldId="2147483899"/>
            <pc:sldLayoutMk cId="1635656793" sldId="2147484263"/>
          </pc:sldLayoutMkLst>
        </pc:sldLayoutChg>
        <pc:sldLayoutChg chg="add mod modTransition setBg">
          <pc:chgData name="HENRIO, Edouard" userId="5c7148f7-abfa-4fb9-ad29-286627bf53ef" providerId="ADAL" clId="{D53110E3-2253-40D9-9ED2-302591ABF449}" dt="2024-03-07T16:13:08.270" v="4791"/>
          <pc:sldLayoutMkLst>
            <pc:docMk/>
            <pc:sldMasterMk cId="3148905397" sldId="2147483899"/>
            <pc:sldLayoutMk cId="3368469973" sldId="2147484264"/>
          </pc:sldLayoutMkLst>
        </pc:sldLayoutChg>
      </pc:sldMasterChg>
      <pc:sldMasterChg chg="del delSldLayout">
        <pc:chgData name="HENRIO, Edouard" userId="5c7148f7-abfa-4fb9-ad29-286627bf53ef" providerId="ADAL" clId="{D53110E3-2253-40D9-9ED2-302591ABF449}" dt="2024-03-07T15:58:02.664" v="4373" actId="2696"/>
        <pc:sldMasterMkLst>
          <pc:docMk/>
          <pc:sldMasterMk cId="3787513616" sldId="2147483962"/>
        </pc:sldMasterMkLst>
        <pc:sldLayoutChg chg="del">
          <pc:chgData name="HENRIO, Edouard" userId="5c7148f7-abfa-4fb9-ad29-286627bf53ef" providerId="ADAL" clId="{D53110E3-2253-40D9-9ED2-302591ABF449}" dt="2024-03-07T15:58:02.551" v="4364" actId="2696"/>
          <pc:sldLayoutMkLst>
            <pc:docMk/>
            <pc:sldMasterMk cId="3787513616" sldId="2147483962"/>
            <pc:sldLayoutMk cId="1806341409" sldId="2147483963"/>
          </pc:sldLayoutMkLst>
        </pc:sldLayoutChg>
        <pc:sldLayoutChg chg="del">
          <pc:chgData name="HENRIO, Edouard" userId="5c7148f7-abfa-4fb9-ad29-286627bf53ef" providerId="ADAL" clId="{D53110E3-2253-40D9-9ED2-302591ABF449}" dt="2024-03-07T15:58:02.564" v="4365" actId="2696"/>
          <pc:sldLayoutMkLst>
            <pc:docMk/>
            <pc:sldMasterMk cId="3787513616" sldId="2147483962"/>
            <pc:sldLayoutMk cId="958485846" sldId="2147483964"/>
          </pc:sldLayoutMkLst>
        </pc:sldLayoutChg>
        <pc:sldLayoutChg chg="del">
          <pc:chgData name="HENRIO, Edouard" userId="5c7148f7-abfa-4fb9-ad29-286627bf53ef" providerId="ADAL" clId="{D53110E3-2253-40D9-9ED2-302591ABF449}" dt="2024-03-07T15:58:02.577" v="4366" actId="2696"/>
          <pc:sldLayoutMkLst>
            <pc:docMk/>
            <pc:sldMasterMk cId="3787513616" sldId="2147483962"/>
            <pc:sldLayoutMk cId="1946546263" sldId="2147483965"/>
          </pc:sldLayoutMkLst>
        </pc:sldLayoutChg>
        <pc:sldLayoutChg chg="del">
          <pc:chgData name="HENRIO, Edouard" userId="5c7148f7-abfa-4fb9-ad29-286627bf53ef" providerId="ADAL" clId="{D53110E3-2253-40D9-9ED2-302591ABF449}" dt="2024-03-07T15:58:02.586" v="4367" actId="2696"/>
          <pc:sldLayoutMkLst>
            <pc:docMk/>
            <pc:sldMasterMk cId="3787513616" sldId="2147483962"/>
            <pc:sldLayoutMk cId="4086984023" sldId="2147483966"/>
          </pc:sldLayoutMkLst>
        </pc:sldLayoutChg>
        <pc:sldLayoutChg chg="del">
          <pc:chgData name="HENRIO, Edouard" userId="5c7148f7-abfa-4fb9-ad29-286627bf53ef" providerId="ADAL" clId="{D53110E3-2253-40D9-9ED2-302591ABF449}" dt="2024-03-07T15:58:02.600" v="4368" actId="2696"/>
          <pc:sldLayoutMkLst>
            <pc:docMk/>
            <pc:sldMasterMk cId="3787513616" sldId="2147483962"/>
            <pc:sldLayoutMk cId="2422747794" sldId="2147483967"/>
          </pc:sldLayoutMkLst>
        </pc:sldLayoutChg>
        <pc:sldLayoutChg chg="del">
          <pc:chgData name="HENRIO, Edouard" userId="5c7148f7-abfa-4fb9-ad29-286627bf53ef" providerId="ADAL" clId="{D53110E3-2253-40D9-9ED2-302591ABF449}" dt="2024-03-07T15:58:02.622" v="4369" actId="2696"/>
          <pc:sldLayoutMkLst>
            <pc:docMk/>
            <pc:sldMasterMk cId="3787513616" sldId="2147483962"/>
            <pc:sldLayoutMk cId="2416729557" sldId="2147483968"/>
          </pc:sldLayoutMkLst>
        </pc:sldLayoutChg>
        <pc:sldLayoutChg chg="del">
          <pc:chgData name="HENRIO, Edouard" userId="5c7148f7-abfa-4fb9-ad29-286627bf53ef" providerId="ADAL" clId="{D53110E3-2253-40D9-9ED2-302591ABF449}" dt="2024-03-07T15:58:02.631" v="4370" actId="2696"/>
          <pc:sldLayoutMkLst>
            <pc:docMk/>
            <pc:sldMasterMk cId="3787513616" sldId="2147483962"/>
            <pc:sldLayoutMk cId="3977452927" sldId="2147483969"/>
          </pc:sldLayoutMkLst>
        </pc:sldLayoutChg>
        <pc:sldLayoutChg chg="del">
          <pc:chgData name="HENRIO, Edouard" userId="5c7148f7-abfa-4fb9-ad29-286627bf53ef" providerId="ADAL" clId="{D53110E3-2253-40D9-9ED2-302591ABF449}" dt="2024-03-07T15:58:02.641" v="4371" actId="2696"/>
          <pc:sldLayoutMkLst>
            <pc:docMk/>
            <pc:sldMasterMk cId="3787513616" sldId="2147483962"/>
            <pc:sldLayoutMk cId="2954594758" sldId="2147483970"/>
          </pc:sldLayoutMkLst>
        </pc:sldLayoutChg>
        <pc:sldLayoutChg chg="del">
          <pc:chgData name="HENRIO, Edouard" userId="5c7148f7-abfa-4fb9-ad29-286627bf53ef" providerId="ADAL" clId="{D53110E3-2253-40D9-9ED2-302591ABF449}" dt="2024-03-07T15:58:02.651" v="4372" actId="2696"/>
          <pc:sldLayoutMkLst>
            <pc:docMk/>
            <pc:sldMasterMk cId="3787513616" sldId="2147483962"/>
            <pc:sldLayoutMk cId="2071683886" sldId="2147483971"/>
          </pc:sldLayoutMkLst>
        </pc:sldLayoutChg>
      </pc:sldMasterChg>
      <pc:sldMasterChg chg="del delSldLayout">
        <pc:chgData name="HENRIO, Edouard" userId="5c7148f7-abfa-4fb9-ad29-286627bf53ef" providerId="ADAL" clId="{D53110E3-2253-40D9-9ED2-302591ABF449}" dt="2024-03-07T15:58:57.693" v="4401" actId="2696"/>
        <pc:sldMasterMkLst>
          <pc:docMk/>
          <pc:sldMasterMk cId="527085880" sldId="2147484018"/>
        </pc:sldMasterMkLst>
        <pc:sldLayoutChg chg="del">
          <pc:chgData name="HENRIO, Edouard" userId="5c7148f7-abfa-4fb9-ad29-286627bf53ef" providerId="ADAL" clId="{D53110E3-2253-40D9-9ED2-302591ABF449}" dt="2024-03-07T15:58:57.263" v="4378" actId="2696"/>
          <pc:sldLayoutMkLst>
            <pc:docMk/>
            <pc:sldMasterMk cId="527085880" sldId="2147484018"/>
            <pc:sldLayoutMk cId="856248055" sldId="2147484019"/>
          </pc:sldLayoutMkLst>
        </pc:sldLayoutChg>
        <pc:sldLayoutChg chg="del">
          <pc:chgData name="HENRIO, Edouard" userId="5c7148f7-abfa-4fb9-ad29-286627bf53ef" providerId="ADAL" clId="{D53110E3-2253-40D9-9ED2-302591ABF449}" dt="2024-03-07T15:58:57.273" v="4379" actId="2696"/>
          <pc:sldLayoutMkLst>
            <pc:docMk/>
            <pc:sldMasterMk cId="527085880" sldId="2147484018"/>
            <pc:sldLayoutMk cId="724985828" sldId="2147484020"/>
          </pc:sldLayoutMkLst>
        </pc:sldLayoutChg>
        <pc:sldLayoutChg chg="del">
          <pc:chgData name="HENRIO, Edouard" userId="5c7148f7-abfa-4fb9-ad29-286627bf53ef" providerId="ADAL" clId="{D53110E3-2253-40D9-9ED2-302591ABF449}" dt="2024-03-07T15:58:57.280" v="4380" actId="2696"/>
          <pc:sldLayoutMkLst>
            <pc:docMk/>
            <pc:sldMasterMk cId="527085880" sldId="2147484018"/>
            <pc:sldLayoutMk cId="2919152140" sldId="2147484021"/>
          </pc:sldLayoutMkLst>
        </pc:sldLayoutChg>
        <pc:sldLayoutChg chg="del">
          <pc:chgData name="HENRIO, Edouard" userId="5c7148f7-abfa-4fb9-ad29-286627bf53ef" providerId="ADAL" clId="{D53110E3-2253-40D9-9ED2-302591ABF449}" dt="2024-03-07T15:58:57.287" v="4381" actId="2696"/>
          <pc:sldLayoutMkLst>
            <pc:docMk/>
            <pc:sldMasterMk cId="527085880" sldId="2147484018"/>
            <pc:sldLayoutMk cId="2808213181" sldId="2147484022"/>
          </pc:sldLayoutMkLst>
        </pc:sldLayoutChg>
        <pc:sldLayoutChg chg="del">
          <pc:chgData name="HENRIO, Edouard" userId="5c7148f7-abfa-4fb9-ad29-286627bf53ef" providerId="ADAL" clId="{D53110E3-2253-40D9-9ED2-302591ABF449}" dt="2024-03-07T15:58:57.495" v="4382" actId="2696"/>
          <pc:sldLayoutMkLst>
            <pc:docMk/>
            <pc:sldMasterMk cId="527085880" sldId="2147484018"/>
            <pc:sldLayoutMk cId="3940760270" sldId="2147484023"/>
          </pc:sldLayoutMkLst>
        </pc:sldLayoutChg>
        <pc:sldLayoutChg chg="del">
          <pc:chgData name="HENRIO, Edouard" userId="5c7148f7-abfa-4fb9-ad29-286627bf53ef" providerId="ADAL" clId="{D53110E3-2253-40D9-9ED2-302591ABF449}" dt="2024-03-07T15:58:57.504" v="4383" actId="2696"/>
          <pc:sldLayoutMkLst>
            <pc:docMk/>
            <pc:sldMasterMk cId="527085880" sldId="2147484018"/>
            <pc:sldLayoutMk cId="4068105281" sldId="2147484024"/>
          </pc:sldLayoutMkLst>
        </pc:sldLayoutChg>
        <pc:sldLayoutChg chg="del">
          <pc:chgData name="HENRIO, Edouard" userId="5c7148f7-abfa-4fb9-ad29-286627bf53ef" providerId="ADAL" clId="{D53110E3-2253-40D9-9ED2-302591ABF449}" dt="2024-03-07T15:58:57.511" v="4384" actId="2696"/>
          <pc:sldLayoutMkLst>
            <pc:docMk/>
            <pc:sldMasterMk cId="527085880" sldId="2147484018"/>
            <pc:sldLayoutMk cId="805250898" sldId="2147484025"/>
          </pc:sldLayoutMkLst>
        </pc:sldLayoutChg>
        <pc:sldLayoutChg chg="del">
          <pc:chgData name="HENRIO, Edouard" userId="5c7148f7-abfa-4fb9-ad29-286627bf53ef" providerId="ADAL" clId="{D53110E3-2253-40D9-9ED2-302591ABF449}" dt="2024-03-07T15:58:57.521" v="4385" actId="2696"/>
          <pc:sldLayoutMkLst>
            <pc:docMk/>
            <pc:sldMasterMk cId="527085880" sldId="2147484018"/>
            <pc:sldLayoutMk cId="2823763356" sldId="2147484026"/>
          </pc:sldLayoutMkLst>
        </pc:sldLayoutChg>
        <pc:sldLayoutChg chg="del">
          <pc:chgData name="HENRIO, Edouard" userId="5c7148f7-abfa-4fb9-ad29-286627bf53ef" providerId="ADAL" clId="{D53110E3-2253-40D9-9ED2-302591ABF449}" dt="2024-03-07T15:58:57.533" v="4386" actId="2696"/>
          <pc:sldLayoutMkLst>
            <pc:docMk/>
            <pc:sldMasterMk cId="527085880" sldId="2147484018"/>
            <pc:sldLayoutMk cId="1583288365" sldId="2147484027"/>
          </pc:sldLayoutMkLst>
        </pc:sldLayoutChg>
        <pc:sldLayoutChg chg="del">
          <pc:chgData name="HENRIO, Edouard" userId="5c7148f7-abfa-4fb9-ad29-286627bf53ef" providerId="ADAL" clId="{D53110E3-2253-40D9-9ED2-302591ABF449}" dt="2024-03-07T15:58:57.545" v="4387" actId="2696"/>
          <pc:sldLayoutMkLst>
            <pc:docMk/>
            <pc:sldMasterMk cId="527085880" sldId="2147484018"/>
            <pc:sldLayoutMk cId="159457856" sldId="2147484028"/>
          </pc:sldLayoutMkLst>
        </pc:sldLayoutChg>
        <pc:sldLayoutChg chg="del">
          <pc:chgData name="HENRIO, Edouard" userId="5c7148f7-abfa-4fb9-ad29-286627bf53ef" providerId="ADAL" clId="{D53110E3-2253-40D9-9ED2-302591ABF449}" dt="2024-03-07T15:58:57.556" v="4388" actId="2696"/>
          <pc:sldLayoutMkLst>
            <pc:docMk/>
            <pc:sldMasterMk cId="527085880" sldId="2147484018"/>
            <pc:sldLayoutMk cId="1517631622" sldId="2147484029"/>
          </pc:sldLayoutMkLst>
        </pc:sldLayoutChg>
        <pc:sldLayoutChg chg="del">
          <pc:chgData name="HENRIO, Edouard" userId="5c7148f7-abfa-4fb9-ad29-286627bf53ef" providerId="ADAL" clId="{D53110E3-2253-40D9-9ED2-302591ABF449}" dt="2024-03-07T15:58:57.567" v="4389" actId="2696"/>
          <pc:sldLayoutMkLst>
            <pc:docMk/>
            <pc:sldMasterMk cId="527085880" sldId="2147484018"/>
            <pc:sldLayoutMk cId="3599271960" sldId="2147484030"/>
          </pc:sldLayoutMkLst>
        </pc:sldLayoutChg>
        <pc:sldLayoutChg chg="del">
          <pc:chgData name="HENRIO, Edouard" userId="5c7148f7-abfa-4fb9-ad29-286627bf53ef" providerId="ADAL" clId="{D53110E3-2253-40D9-9ED2-302591ABF449}" dt="2024-03-07T15:58:57.576" v="4390" actId="2696"/>
          <pc:sldLayoutMkLst>
            <pc:docMk/>
            <pc:sldMasterMk cId="527085880" sldId="2147484018"/>
            <pc:sldLayoutMk cId="261703734" sldId="2147484031"/>
          </pc:sldLayoutMkLst>
        </pc:sldLayoutChg>
        <pc:sldLayoutChg chg="del">
          <pc:chgData name="HENRIO, Edouard" userId="5c7148f7-abfa-4fb9-ad29-286627bf53ef" providerId="ADAL" clId="{D53110E3-2253-40D9-9ED2-302591ABF449}" dt="2024-03-07T15:58:57.584" v="4391" actId="2696"/>
          <pc:sldLayoutMkLst>
            <pc:docMk/>
            <pc:sldMasterMk cId="527085880" sldId="2147484018"/>
            <pc:sldLayoutMk cId="1406790897" sldId="2147484032"/>
          </pc:sldLayoutMkLst>
        </pc:sldLayoutChg>
        <pc:sldLayoutChg chg="del">
          <pc:chgData name="HENRIO, Edouard" userId="5c7148f7-abfa-4fb9-ad29-286627bf53ef" providerId="ADAL" clId="{D53110E3-2253-40D9-9ED2-302591ABF449}" dt="2024-03-07T15:58:57.592" v="4392" actId="2696"/>
          <pc:sldLayoutMkLst>
            <pc:docMk/>
            <pc:sldMasterMk cId="527085880" sldId="2147484018"/>
            <pc:sldLayoutMk cId="2210768660" sldId="2147484033"/>
          </pc:sldLayoutMkLst>
        </pc:sldLayoutChg>
        <pc:sldLayoutChg chg="del">
          <pc:chgData name="HENRIO, Edouard" userId="5c7148f7-abfa-4fb9-ad29-286627bf53ef" providerId="ADAL" clId="{D53110E3-2253-40D9-9ED2-302591ABF449}" dt="2024-03-07T15:58:57.600" v="4393" actId="2696"/>
          <pc:sldLayoutMkLst>
            <pc:docMk/>
            <pc:sldMasterMk cId="527085880" sldId="2147484018"/>
            <pc:sldLayoutMk cId="1150349539" sldId="2147484034"/>
          </pc:sldLayoutMkLst>
        </pc:sldLayoutChg>
        <pc:sldLayoutChg chg="del">
          <pc:chgData name="HENRIO, Edouard" userId="5c7148f7-abfa-4fb9-ad29-286627bf53ef" providerId="ADAL" clId="{D53110E3-2253-40D9-9ED2-302591ABF449}" dt="2024-03-07T15:58:57.610" v="4394" actId="2696"/>
          <pc:sldLayoutMkLst>
            <pc:docMk/>
            <pc:sldMasterMk cId="527085880" sldId="2147484018"/>
            <pc:sldLayoutMk cId="1388417223" sldId="2147484035"/>
          </pc:sldLayoutMkLst>
        </pc:sldLayoutChg>
        <pc:sldLayoutChg chg="del">
          <pc:chgData name="HENRIO, Edouard" userId="5c7148f7-abfa-4fb9-ad29-286627bf53ef" providerId="ADAL" clId="{D53110E3-2253-40D9-9ED2-302591ABF449}" dt="2024-03-07T15:58:57.620" v="4395" actId="2696"/>
          <pc:sldLayoutMkLst>
            <pc:docMk/>
            <pc:sldMasterMk cId="527085880" sldId="2147484018"/>
            <pc:sldLayoutMk cId="1488787516" sldId="2147484036"/>
          </pc:sldLayoutMkLst>
        </pc:sldLayoutChg>
        <pc:sldLayoutChg chg="del">
          <pc:chgData name="HENRIO, Edouard" userId="5c7148f7-abfa-4fb9-ad29-286627bf53ef" providerId="ADAL" clId="{D53110E3-2253-40D9-9ED2-302591ABF449}" dt="2024-03-07T15:58:57.630" v="4396" actId="2696"/>
          <pc:sldLayoutMkLst>
            <pc:docMk/>
            <pc:sldMasterMk cId="527085880" sldId="2147484018"/>
            <pc:sldLayoutMk cId="323525550" sldId="2147484037"/>
          </pc:sldLayoutMkLst>
        </pc:sldLayoutChg>
        <pc:sldLayoutChg chg="del">
          <pc:chgData name="HENRIO, Edouard" userId="5c7148f7-abfa-4fb9-ad29-286627bf53ef" providerId="ADAL" clId="{D53110E3-2253-40D9-9ED2-302591ABF449}" dt="2024-03-07T15:58:57.643" v="4397" actId="2696"/>
          <pc:sldLayoutMkLst>
            <pc:docMk/>
            <pc:sldMasterMk cId="527085880" sldId="2147484018"/>
            <pc:sldLayoutMk cId="3590607527" sldId="2147484038"/>
          </pc:sldLayoutMkLst>
        </pc:sldLayoutChg>
        <pc:sldLayoutChg chg="del">
          <pc:chgData name="HENRIO, Edouard" userId="5c7148f7-abfa-4fb9-ad29-286627bf53ef" providerId="ADAL" clId="{D53110E3-2253-40D9-9ED2-302591ABF449}" dt="2024-03-07T15:58:57.651" v="4398" actId="2696"/>
          <pc:sldLayoutMkLst>
            <pc:docMk/>
            <pc:sldMasterMk cId="527085880" sldId="2147484018"/>
            <pc:sldLayoutMk cId="3260179450" sldId="2147484039"/>
          </pc:sldLayoutMkLst>
        </pc:sldLayoutChg>
        <pc:sldLayoutChg chg="del">
          <pc:chgData name="HENRIO, Edouard" userId="5c7148f7-abfa-4fb9-ad29-286627bf53ef" providerId="ADAL" clId="{D53110E3-2253-40D9-9ED2-302591ABF449}" dt="2024-03-07T15:58:57.661" v="4399" actId="2696"/>
          <pc:sldLayoutMkLst>
            <pc:docMk/>
            <pc:sldMasterMk cId="527085880" sldId="2147484018"/>
            <pc:sldLayoutMk cId="412650020" sldId="2147484040"/>
          </pc:sldLayoutMkLst>
        </pc:sldLayoutChg>
        <pc:sldLayoutChg chg="del">
          <pc:chgData name="HENRIO, Edouard" userId="5c7148f7-abfa-4fb9-ad29-286627bf53ef" providerId="ADAL" clId="{D53110E3-2253-40D9-9ED2-302591ABF449}" dt="2024-03-07T15:58:57.670" v="4400" actId="2696"/>
          <pc:sldLayoutMkLst>
            <pc:docMk/>
            <pc:sldMasterMk cId="527085880" sldId="2147484018"/>
            <pc:sldLayoutMk cId="4025358249" sldId="2147484041"/>
          </pc:sldLayoutMkLst>
        </pc:sldLayoutChg>
      </pc:sldMasterChg>
      <pc:sldMasterChg chg="del delSldLayout">
        <pc:chgData name="HENRIO, Edouard" userId="5c7148f7-abfa-4fb9-ad29-286627bf53ef" providerId="ADAL" clId="{D53110E3-2253-40D9-9ED2-302591ABF449}" dt="2024-03-07T15:59:00.194" v="4422" actId="2696"/>
        <pc:sldMasterMkLst>
          <pc:docMk/>
          <pc:sldMasterMk cId="3698913146" sldId="2147484058"/>
        </pc:sldMasterMkLst>
        <pc:sldLayoutChg chg="del">
          <pc:chgData name="HENRIO, Edouard" userId="5c7148f7-abfa-4fb9-ad29-286627bf53ef" providerId="ADAL" clId="{D53110E3-2253-40D9-9ED2-302591ABF449}" dt="2024-03-07T15:59:00.034" v="4402" actId="2696"/>
          <pc:sldLayoutMkLst>
            <pc:docMk/>
            <pc:sldMasterMk cId="3698913146" sldId="2147484058"/>
            <pc:sldLayoutMk cId="3090669722" sldId="2147484059"/>
          </pc:sldLayoutMkLst>
        </pc:sldLayoutChg>
        <pc:sldLayoutChg chg="del">
          <pc:chgData name="HENRIO, Edouard" userId="5c7148f7-abfa-4fb9-ad29-286627bf53ef" providerId="ADAL" clId="{D53110E3-2253-40D9-9ED2-302591ABF449}" dt="2024-03-07T15:59:00.044" v="4403" actId="2696"/>
          <pc:sldLayoutMkLst>
            <pc:docMk/>
            <pc:sldMasterMk cId="3698913146" sldId="2147484058"/>
            <pc:sldLayoutMk cId="3911752218" sldId="2147484060"/>
          </pc:sldLayoutMkLst>
        </pc:sldLayoutChg>
        <pc:sldLayoutChg chg="del">
          <pc:chgData name="HENRIO, Edouard" userId="5c7148f7-abfa-4fb9-ad29-286627bf53ef" providerId="ADAL" clId="{D53110E3-2253-40D9-9ED2-302591ABF449}" dt="2024-03-07T15:59:00.052" v="4404" actId="2696"/>
          <pc:sldLayoutMkLst>
            <pc:docMk/>
            <pc:sldMasterMk cId="3698913146" sldId="2147484058"/>
            <pc:sldLayoutMk cId="4056443958" sldId="2147484061"/>
          </pc:sldLayoutMkLst>
        </pc:sldLayoutChg>
        <pc:sldLayoutChg chg="del">
          <pc:chgData name="HENRIO, Edouard" userId="5c7148f7-abfa-4fb9-ad29-286627bf53ef" providerId="ADAL" clId="{D53110E3-2253-40D9-9ED2-302591ABF449}" dt="2024-03-07T15:59:00.062" v="4405" actId="2696"/>
          <pc:sldLayoutMkLst>
            <pc:docMk/>
            <pc:sldMasterMk cId="3698913146" sldId="2147484058"/>
            <pc:sldLayoutMk cId="1737800704" sldId="2147484062"/>
          </pc:sldLayoutMkLst>
        </pc:sldLayoutChg>
        <pc:sldLayoutChg chg="del">
          <pc:chgData name="HENRIO, Edouard" userId="5c7148f7-abfa-4fb9-ad29-286627bf53ef" providerId="ADAL" clId="{D53110E3-2253-40D9-9ED2-302591ABF449}" dt="2024-03-07T15:59:00.069" v="4406" actId="2696"/>
          <pc:sldLayoutMkLst>
            <pc:docMk/>
            <pc:sldMasterMk cId="3698913146" sldId="2147484058"/>
            <pc:sldLayoutMk cId="857870570" sldId="2147484063"/>
          </pc:sldLayoutMkLst>
        </pc:sldLayoutChg>
        <pc:sldLayoutChg chg="del">
          <pc:chgData name="HENRIO, Edouard" userId="5c7148f7-abfa-4fb9-ad29-286627bf53ef" providerId="ADAL" clId="{D53110E3-2253-40D9-9ED2-302591ABF449}" dt="2024-03-07T15:59:00.074" v="4407" actId="2696"/>
          <pc:sldLayoutMkLst>
            <pc:docMk/>
            <pc:sldMasterMk cId="3698913146" sldId="2147484058"/>
            <pc:sldLayoutMk cId="45505233" sldId="2147484064"/>
          </pc:sldLayoutMkLst>
        </pc:sldLayoutChg>
        <pc:sldLayoutChg chg="del">
          <pc:chgData name="HENRIO, Edouard" userId="5c7148f7-abfa-4fb9-ad29-286627bf53ef" providerId="ADAL" clId="{D53110E3-2253-40D9-9ED2-302591ABF449}" dt="2024-03-07T15:59:00.081" v="4408" actId="2696"/>
          <pc:sldLayoutMkLst>
            <pc:docMk/>
            <pc:sldMasterMk cId="3698913146" sldId="2147484058"/>
            <pc:sldLayoutMk cId="3060712806" sldId="2147484065"/>
          </pc:sldLayoutMkLst>
        </pc:sldLayoutChg>
        <pc:sldLayoutChg chg="del">
          <pc:chgData name="HENRIO, Edouard" userId="5c7148f7-abfa-4fb9-ad29-286627bf53ef" providerId="ADAL" clId="{D53110E3-2253-40D9-9ED2-302591ABF449}" dt="2024-03-07T15:59:00.088" v="4409" actId="2696"/>
          <pc:sldLayoutMkLst>
            <pc:docMk/>
            <pc:sldMasterMk cId="3698913146" sldId="2147484058"/>
            <pc:sldLayoutMk cId="3275955227" sldId="2147484066"/>
          </pc:sldLayoutMkLst>
        </pc:sldLayoutChg>
        <pc:sldLayoutChg chg="del">
          <pc:chgData name="HENRIO, Edouard" userId="5c7148f7-abfa-4fb9-ad29-286627bf53ef" providerId="ADAL" clId="{D53110E3-2253-40D9-9ED2-302591ABF449}" dt="2024-03-07T15:59:00.094" v="4410" actId="2696"/>
          <pc:sldLayoutMkLst>
            <pc:docMk/>
            <pc:sldMasterMk cId="3698913146" sldId="2147484058"/>
            <pc:sldLayoutMk cId="820445168" sldId="2147484067"/>
          </pc:sldLayoutMkLst>
        </pc:sldLayoutChg>
        <pc:sldLayoutChg chg="del">
          <pc:chgData name="HENRIO, Edouard" userId="5c7148f7-abfa-4fb9-ad29-286627bf53ef" providerId="ADAL" clId="{D53110E3-2253-40D9-9ED2-302591ABF449}" dt="2024-03-07T15:59:00.102" v="4411" actId="2696"/>
          <pc:sldLayoutMkLst>
            <pc:docMk/>
            <pc:sldMasterMk cId="3698913146" sldId="2147484058"/>
            <pc:sldLayoutMk cId="1647895479" sldId="2147484068"/>
          </pc:sldLayoutMkLst>
        </pc:sldLayoutChg>
        <pc:sldLayoutChg chg="del">
          <pc:chgData name="HENRIO, Edouard" userId="5c7148f7-abfa-4fb9-ad29-286627bf53ef" providerId="ADAL" clId="{D53110E3-2253-40D9-9ED2-302591ABF449}" dt="2024-03-07T15:59:00.109" v="4412" actId="2696"/>
          <pc:sldLayoutMkLst>
            <pc:docMk/>
            <pc:sldMasterMk cId="3698913146" sldId="2147484058"/>
            <pc:sldLayoutMk cId="136572419" sldId="2147484069"/>
          </pc:sldLayoutMkLst>
        </pc:sldLayoutChg>
        <pc:sldLayoutChg chg="del">
          <pc:chgData name="HENRIO, Edouard" userId="5c7148f7-abfa-4fb9-ad29-286627bf53ef" providerId="ADAL" clId="{D53110E3-2253-40D9-9ED2-302591ABF449}" dt="2024-03-07T15:59:00.116" v="4413" actId="2696"/>
          <pc:sldLayoutMkLst>
            <pc:docMk/>
            <pc:sldMasterMk cId="3698913146" sldId="2147484058"/>
            <pc:sldLayoutMk cId="2731015899" sldId="2147484070"/>
          </pc:sldLayoutMkLst>
        </pc:sldLayoutChg>
        <pc:sldLayoutChg chg="del">
          <pc:chgData name="HENRIO, Edouard" userId="5c7148f7-abfa-4fb9-ad29-286627bf53ef" providerId="ADAL" clId="{D53110E3-2253-40D9-9ED2-302591ABF449}" dt="2024-03-07T15:59:00.122" v="4414" actId="2696"/>
          <pc:sldLayoutMkLst>
            <pc:docMk/>
            <pc:sldMasterMk cId="3698913146" sldId="2147484058"/>
            <pc:sldLayoutMk cId="1466566770" sldId="2147484071"/>
          </pc:sldLayoutMkLst>
        </pc:sldLayoutChg>
        <pc:sldLayoutChg chg="del">
          <pc:chgData name="HENRIO, Edouard" userId="5c7148f7-abfa-4fb9-ad29-286627bf53ef" providerId="ADAL" clId="{D53110E3-2253-40D9-9ED2-302591ABF449}" dt="2024-03-07T15:59:00.128" v="4415" actId="2696"/>
          <pc:sldLayoutMkLst>
            <pc:docMk/>
            <pc:sldMasterMk cId="3698913146" sldId="2147484058"/>
            <pc:sldLayoutMk cId="3561283028" sldId="2147484072"/>
          </pc:sldLayoutMkLst>
        </pc:sldLayoutChg>
        <pc:sldLayoutChg chg="del">
          <pc:chgData name="HENRIO, Edouard" userId="5c7148f7-abfa-4fb9-ad29-286627bf53ef" providerId="ADAL" clId="{D53110E3-2253-40D9-9ED2-302591ABF449}" dt="2024-03-07T15:59:00.134" v="4416" actId="2696"/>
          <pc:sldLayoutMkLst>
            <pc:docMk/>
            <pc:sldMasterMk cId="3698913146" sldId="2147484058"/>
            <pc:sldLayoutMk cId="2329268166" sldId="2147484073"/>
          </pc:sldLayoutMkLst>
        </pc:sldLayoutChg>
        <pc:sldLayoutChg chg="del">
          <pc:chgData name="HENRIO, Edouard" userId="5c7148f7-abfa-4fb9-ad29-286627bf53ef" providerId="ADAL" clId="{D53110E3-2253-40D9-9ED2-302591ABF449}" dt="2024-03-07T15:59:00.140" v="4417" actId="2696"/>
          <pc:sldLayoutMkLst>
            <pc:docMk/>
            <pc:sldMasterMk cId="3698913146" sldId="2147484058"/>
            <pc:sldLayoutMk cId="1307194538" sldId="2147484074"/>
          </pc:sldLayoutMkLst>
        </pc:sldLayoutChg>
        <pc:sldLayoutChg chg="del">
          <pc:chgData name="HENRIO, Edouard" userId="5c7148f7-abfa-4fb9-ad29-286627bf53ef" providerId="ADAL" clId="{D53110E3-2253-40D9-9ED2-302591ABF449}" dt="2024-03-07T15:59:00.149" v="4418" actId="2696"/>
          <pc:sldLayoutMkLst>
            <pc:docMk/>
            <pc:sldMasterMk cId="3698913146" sldId="2147484058"/>
            <pc:sldLayoutMk cId="4093186415" sldId="2147484075"/>
          </pc:sldLayoutMkLst>
        </pc:sldLayoutChg>
        <pc:sldLayoutChg chg="del">
          <pc:chgData name="HENRIO, Edouard" userId="5c7148f7-abfa-4fb9-ad29-286627bf53ef" providerId="ADAL" clId="{D53110E3-2253-40D9-9ED2-302591ABF449}" dt="2024-03-07T15:59:00.158" v="4419" actId="2696"/>
          <pc:sldLayoutMkLst>
            <pc:docMk/>
            <pc:sldMasterMk cId="3698913146" sldId="2147484058"/>
            <pc:sldLayoutMk cId="2631331853" sldId="2147484076"/>
          </pc:sldLayoutMkLst>
        </pc:sldLayoutChg>
        <pc:sldLayoutChg chg="del">
          <pc:chgData name="HENRIO, Edouard" userId="5c7148f7-abfa-4fb9-ad29-286627bf53ef" providerId="ADAL" clId="{D53110E3-2253-40D9-9ED2-302591ABF449}" dt="2024-03-07T15:59:00.168" v="4420" actId="2696"/>
          <pc:sldLayoutMkLst>
            <pc:docMk/>
            <pc:sldMasterMk cId="3698913146" sldId="2147484058"/>
            <pc:sldLayoutMk cId="4267501682" sldId="2147484077"/>
          </pc:sldLayoutMkLst>
        </pc:sldLayoutChg>
        <pc:sldLayoutChg chg="del">
          <pc:chgData name="HENRIO, Edouard" userId="5c7148f7-abfa-4fb9-ad29-286627bf53ef" providerId="ADAL" clId="{D53110E3-2253-40D9-9ED2-302591ABF449}" dt="2024-03-07T15:59:00.174" v="4421" actId="2696"/>
          <pc:sldLayoutMkLst>
            <pc:docMk/>
            <pc:sldMasterMk cId="3698913146" sldId="2147484058"/>
            <pc:sldLayoutMk cId="2852676655" sldId="2147484078"/>
          </pc:sldLayoutMkLst>
        </pc:sldLayoutChg>
      </pc:sldMasterChg>
      <pc:sldMasterChg chg="del delSldLayout">
        <pc:chgData name="HENRIO, Edouard" userId="5c7148f7-abfa-4fb9-ad29-286627bf53ef" providerId="ADAL" clId="{D53110E3-2253-40D9-9ED2-302591ABF449}" dt="2024-03-07T15:59:03.291" v="4444" actId="2696"/>
        <pc:sldMasterMkLst>
          <pc:docMk/>
          <pc:sldMasterMk cId="4109235644" sldId="2147484088"/>
        </pc:sldMasterMkLst>
        <pc:sldLayoutChg chg="del">
          <pc:chgData name="HENRIO, Edouard" userId="5c7148f7-abfa-4fb9-ad29-286627bf53ef" providerId="ADAL" clId="{D53110E3-2253-40D9-9ED2-302591ABF449}" dt="2024-03-07T15:59:02.890" v="4423" actId="2696"/>
          <pc:sldLayoutMkLst>
            <pc:docMk/>
            <pc:sldMasterMk cId="4109235644" sldId="2147484088"/>
            <pc:sldLayoutMk cId="3883401850" sldId="2147484089"/>
          </pc:sldLayoutMkLst>
        </pc:sldLayoutChg>
        <pc:sldLayoutChg chg="del">
          <pc:chgData name="HENRIO, Edouard" userId="5c7148f7-abfa-4fb9-ad29-286627bf53ef" providerId="ADAL" clId="{D53110E3-2253-40D9-9ED2-302591ABF449}" dt="2024-03-07T15:59:02.898" v="4424" actId="2696"/>
          <pc:sldLayoutMkLst>
            <pc:docMk/>
            <pc:sldMasterMk cId="4109235644" sldId="2147484088"/>
            <pc:sldLayoutMk cId="1899584909" sldId="2147484090"/>
          </pc:sldLayoutMkLst>
        </pc:sldLayoutChg>
        <pc:sldLayoutChg chg="del">
          <pc:chgData name="HENRIO, Edouard" userId="5c7148f7-abfa-4fb9-ad29-286627bf53ef" providerId="ADAL" clId="{D53110E3-2253-40D9-9ED2-302591ABF449}" dt="2024-03-07T15:59:02.906" v="4425" actId="2696"/>
          <pc:sldLayoutMkLst>
            <pc:docMk/>
            <pc:sldMasterMk cId="4109235644" sldId="2147484088"/>
            <pc:sldLayoutMk cId="669256479" sldId="2147484091"/>
          </pc:sldLayoutMkLst>
        </pc:sldLayoutChg>
        <pc:sldLayoutChg chg="del">
          <pc:chgData name="HENRIO, Edouard" userId="5c7148f7-abfa-4fb9-ad29-286627bf53ef" providerId="ADAL" clId="{D53110E3-2253-40D9-9ED2-302591ABF449}" dt="2024-03-07T15:59:02.912" v="4426" actId="2696"/>
          <pc:sldLayoutMkLst>
            <pc:docMk/>
            <pc:sldMasterMk cId="4109235644" sldId="2147484088"/>
            <pc:sldLayoutMk cId="2526640903" sldId="2147484092"/>
          </pc:sldLayoutMkLst>
        </pc:sldLayoutChg>
        <pc:sldLayoutChg chg="del">
          <pc:chgData name="HENRIO, Edouard" userId="5c7148f7-abfa-4fb9-ad29-286627bf53ef" providerId="ADAL" clId="{D53110E3-2253-40D9-9ED2-302591ABF449}" dt="2024-03-07T15:59:02.919" v="4427" actId="2696"/>
          <pc:sldLayoutMkLst>
            <pc:docMk/>
            <pc:sldMasterMk cId="4109235644" sldId="2147484088"/>
            <pc:sldLayoutMk cId="2297909164" sldId="2147484093"/>
          </pc:sldLayoutMkLst>
        </pc:sldLayoutChg>
        <pc:sldLayoutChg chg="del">
          <pc:chgData name="HENRIO, Edouard" userId="5c7148f7-abfa-4fb9-ad29-286627bf53ef" providerId="ADAL" clId="{D53110E3-2253-40D9-9ED2-302591ABF449}" dt="2024-03-07T15:59:02.925" v="4428" actId="2696"/>
          <pc:sldLayoutMkLst>
            <pc:docMk/>
            <pc:sldMasterMk cId="4109235644" sldId="2147484088"/>
            <pc:sldLayoutMk cId="695262841" sldId="2147484094"/>
          </pc:sldLayoutMkLst>
        </pc:sldLayoutChg>
        <pc:sldLayoutChg chg="del">
          <pc:chgData name="HENRIO, Edouard" userId="5c7148f7-abfa-4fb9-ad29-286627bf53ef" providerId="ADAL" clId="{D53110E3-2253-40D9-9ED2-302591ABF449}" dt="2024-03-07T15:59:02.930" v="4429" actId="2696"/>
          <pc:sldLayoutMkLst>
            <pc:docMk/>
            <pc:sldMasterMk cId="4109235644" sldId="2147484088"/>
            <pc:sldLayoutMk cId="2778308834" sldId="2147484095"/>
          </pc:sldLayoutMkLst>
        </pc:sldLayoutChg>
        <pc:sldLayoutChg chg="del">
          <pc:chgData name="HENRIO, Edouard" userId="5c7148f7-abfa-4fb9-ad29-286627bf53ef" providerId="ADAL" clId="{D53110E3-2253-40D9-9ED2-302591ABF449}" dt="2024-03-07T15:59:02.937" v="4430" actId="2696"/>
          <pc:sldLayoutMkLst>
            <pc:docMk/>
            <pc:sldMasterMk cId="4109235644" sldId="2147484088"/>
            <pc:sldLayoutMk cId="3789814843" sldId="2147484096"/>
          </pc:sldLayoutMkLst>
        </pc:sldLayoutChg>
        <pc:sldLayoutChg chg="del">
          <pc:chgData name="HENRIO, Edouard" userId="5c7148f7-abfa-4fb9-ad29-286627bf53ef" providerId="ADAL" clId="{D53110E3-2253-40D9-9ED2-302591ABF449}" dt="2024-03-07T15:59:02.943" v="4431" actId="2696"/>
          <pc:sldLayoutMkLst>
            <pc:docMk/>
            <pc:sldMasterMk cId="4109235644" sldId="2147484088"/>
            <pc:sldLayoutMk cId="994845274" sldId="2147484097"/>
          </pc:sldLayoutMkLst>
        </pc:sldLayoutChg>
        <pc:sldLayoutChg chg="del">
          <pc:chgData name="HENRIO, Edouard" userId="5c7148f7-abfa-4fb9-ad29-286627bf53ef" providerId="ADAL" clId="{D53110E3-2253-40D9-9ED2-302591ABF449}" dt="2024-03-07T15:59:02.949" v="4432" actId="2696"/>
          <pc:sldLayoutMkLst>
            <pc:docMk/>
            <pc:sldMasterMk cId="4109235644" sldId="2147484088"/>
            <pc:sldLayoutMk cId="3538978152" sldId="2147484098"/>
          </pc:sldLayoutMkLst>
        </pc:sldLayoutChg>
        <pc:sldLayoutChg chg="del">
          <pc:chgData name="HENRIO, Edouard" userId="5c7148f7-abfa-4fb9-ad29-286627bf53ef" providerId="ADAL" clId="{D53110E3-2253-40D9-9ED2-302591ABF449}" dt="2024-03-07T15:59:02.955" v="4433" actId="2696"/>
          <pc:sldLayoutMkLst>
            <pc:docMk/>
            <pc:sldMasterMk cId="4109235644" sldId="2147484088"/>
            <pc:sldLayoutMk cId="852776809" sldId="2147484099"/>
          </pc:sldLayoutMkLst>
        </pc:sldLayoutChg>
        <pc:sldLayoutChg chg="del">
          <pc:chgData name="HENRIO, Edouard" userId="5c7148f7-abfa-4fb9-ad29-286627bf53ef" providerId="ADAL" clId="{D53110E3-2253-40D9-9ED2-302591ABF449}" dt="2024-03-07T15:59:02.963" v="4434" actId="2696"/>
          <pc:sldLayoutMkLst>
            <pc:docMk/>
            <pc:sldMasterMk cId="4109235644" sldId="2147484088"/>
            <pc:sldLayoutMk cId="878716517" sldId="2147484100"/>
          </pc:sldLayoutMkLst>
        </pc:sldLayoutChg>
        <pc:sldLayoutChg chg="del">
          <pc:chgData name="HENRIO, Edouard" userId="5c7148f7-abfa-4fb9-ad29-286627bf53ef" providerId="ADAL" clId="{D53110E3-2253-40D9-9ED2-302591ABF449}" dt="2024-03-07T15:59:02.971" v="4435" actId="2696"/>
          <pc:sldLayoutMkLst>
            <pc:docMk/>
            <pc:sldMasterMk cId="4109235644" sldId="2147484088"/>
            <pc:sldLayoutMk cId="3949822229" sldId="2147484101"/>
          </pc:sldLayoutMkLst>
        </pc:sldLayoutChg>
        <pc:sldLayoutChg chg="del">
          <pc:chgData name="HENRIO, Edouard" userId="5c7148f7-abfa-4fb9-ad29-286627bf53ef" providerId="ADAL" clId="{D53110E3-2253-40D9-9ED2-302591ABF449}" dt="2024-03-07T15:59:03.112" v="4436" actId="2696"/>
          <pc:sldLayoutMkLst>
            <pc:docMk/>
            <pc:sldMasterMk cId="4109235644" sldId="2147484088"/>
            <pc:sldLayoutMk cId="4125047752" sldId="2147484102"/>
          </pc:sldLayoutMkLst>
        </pc:sldLayoutChg>
        <pc:sldLayoutChg chg="del">
          <pc:chgData name="HENRIO, Edouard" userId="5c7148f7-abfa-4fb9-ad29-286627bf53ef" providerId="ADAL" clId="{D53110E3-2253-40D9-9ED2-302591ABF449}" dt="2024-03-07T15:59:03.119" v="4437" actId="2696"/>
          <pc:sldLayoutMkLst>
            <pc:docMk/>
            <pc:sldMasterMk cId="4109235644" sldId="2147484088"/>
            <pc:sldLayoutMk cId="786143271" sldId="2147484104"/>
          </pc:sldLayoutMkLst>
        </pc:sldLayoutChg>
        <pc:sldLayoutChg chg="del">
          <pc:chgData name="HENRIO, Edouard" userId="5c7148f7-abfa-4fb9-ad29-286627bf53ef" providerId="ADAL" clId="{D53110E3-2253-40D9-9ED2-302591ABF449}" dt="2024-03-07T15:59:03.124" v="4438" actId="2696"/>
          <pc:sldLayoutMkLst>
            <pc:docMk/>
            <pc:sldMasterMk cId="4109235644" sldId="2147484088"/>
            <pc:sldLayoutMk cId="3413806678" sldId="2147484105"/>
          </pc:sldLayoutMkLst>
        </pc:sldLayoutChg>
        <pc:sldLayoutChg chg="del">
          <pc:chgData name="HENRIO, Edouard" userId="5c7148f7-abfa-4fb9-ad29-286627bf53ef" providerId="ADAL" clId="{D53110E3-2253-40D9-9ED2-302591ABF449}" dt="2024-03-07T15:59:03.129" v="4439" actId="2696"/>
          <pc:sldLayoutMkLst>
            <pc:docMk/>
            <pc:sldMasterMk cId="4109235644" sldId="2147484088"/>
            <pc:sldLayoutMk cId="3444047765" sldId="2147484106"/>
          </pc:sldLayoutMkLst>
        </pc:sldLayoutChg>
        <pc:sldLayoutChg chg="del">
          <pc:chgData name="HENRIO, Edouard" userId="5c7148f7-abfa-4fb9-ad29-286627bf53ef" providerId="ADAL" clId="{D53110E3-2253-40D9-9ED2-302591ABF449}" dt="2024-03-07T15:59:03.137" v="4440" actId="2696"/>
          <pc:sldLayoutMkLst>
            <pc:docMk/>
            <pc:sldMasterMk cId="4109235644" sldId="2147484088"/>
            <pc:sldLayoutMk cId="2969129891" sldId="2147484107"/>
          </pc:sldLayoutMkLst>
        </pc:sldLayoutChg>
        <pc:sldLayoutChg chg="del">
          <pc:chgData name="HENRIO, Edouard" userId="5c7148f7-abfa-4fb9-ad29-286627bf53ef" providerId="ADAL" clId="{D53110E3-2253-40D9-9ED2-302591ABF449}" dt="2024-03-07T15:59:03.144" v="4441" actId="2696"/>
          <pc:sldLayoutMkLst>
            <pc:docMk/>
            <pc:sldMasterMk cId="4109235644" sldId="2147484088"/>
            <pc:sldLayoutMk cId="3923346900" sldId="2147484108"/>
          </pc:sldLayoutMkLst>
        </pc:sldLayoutChg>
        <pc:sldLayoutChg chg="del">
          <pc:chgData name="HENRIO, Edouard" userId="5c7148f7-abfa-4fb9-ad29-286627bf53ef" providerId="ADAL" clId="{D53110E3-2253-40D9-9ED2-302591ABF449}" dt="2024-03-07T15:59:03.150" v="4442" actId="2696"/>
          <pc:sldLayoutMkLst>
            <pc:docMk/>
            <pc:sldMasterMk cId="4109235644" sldId="2147484088"/>
            <pc:sldLayoutMk cId="923610410" sldId="2147484109"/>
          </pc:sldLayoutMkLst>
        </pc:sldLayoutChg>
        <pc:sldLayoutChg chg="del">
          <pc:chgData name="HENRIO, Edouard" userId="5c7148f7-abfa-4fb9-ad29-286627bf53ef" providerId="ADAL" clId="{D53110E3-2253-40D9-9ED2-302591ABF449}" dt="2024-03-07T15:59:03.156" v="4443" actId="2696"/>
          <pc:sldLayoutMkLst>
            <pc:docMk/>
            <pc:sldMasterMk cId="4109235644" sldId="2147484088"/>
            <pc:sldLayoutMk cId="316513068" sldId="2147484111"/>
          </pc:sldLayoutMkLst>
        </pc:sldLayoutChg>
      </pc:sldMasterChg>
      <pc:sldMasterChg chg="del delSldLayout">
        <pc:chgData name="HENRIO, Edouard" userId="5c7148f7-abfa-4fb9-ad29-286627bf53ef" providerId="ADAL" clId="{D53110E3-2253-40D9-9ED2-302591ABF449}" dt="2024-03-07T15:59:07.279" v="4453" actId="2696"/>
        <pc:sldMasterMkLst>
          <pc:docMk/>
          <pc:sldMasterMk cId="903461259" sldId="2147484149"/>
        </pc:sldMasterMkLst>
        <pc:sldLayoutChg chg="del">
          <pc:chgData name="HENRIO, Edouard" userId="5c7148f7-abfa-4fb9-ad29-286627bf53ef" providerId="ADAL" clId="{D53110E3-2253-40D9-9ED2-302591ABF449}" dt="2024-03-07T15:59:07.214" v="4445" actId="2696"/>
          <pc:sldLayoutMkLst>
            <pc:docMk/>
            <pc:sldMasterMk cId="903461259" sldId="2147484149"/>
            <pc:sldLayoutMk cId="3850069346" sldId="2147484150"/>
          </pc:sldLayoutMkLst>
        </pc:sldLayoutChg>
        <pc:sldLayoutChg chg="del">
          <pc:chgData name="HENRIO, Edouard" userId="5c7148f7-abfa-4fb9-ad29-286627bf53ef" providerId="ADAL" clId="{D53110E3-2253-40D9-9ED2-302591ABF449}" dt="2024-03-07T15:59:07.222" v="4446" actId="2696"/>
          <pc:sldLayoutMkLst>
            <pc:docMk/>
            <pc:sldMasterMk cId="903461259" sldId="2147484149"/>
            <pc:sldLayoutMk cId="3435795652" sldId="2147484151"/>
          </pc:sldLayoutMkLst>
        </pc:sldLayoutChg>
        <pc:sldLayoutChg chg="del">
          <pc:chgData name="HENRIO, Edouard" userId="5c7148f7-abfa-4fb9-ad29-286627bf53ef" providerId="ADAL" clId="{D53110E3-2253-40D9-9ED2-302591ABF449}" dt="2024-03-07T15:59:07.230" v="4447" actId="2696"/>
          <pc:sldLayoutMkLst>
            <pc:docMk/>
            <pc:sldMasterMk cId="903461259" sldId="2147484149"/>
            <pc:sldLayoutMk cId="3578430520" sldId="2147484152"/>
          </pc:sldLayoutMkLst>
        </pc:sldLayoutChg>
        <pc:sldLayoutChg chg="del">
          <pc:chgData name="HENRIO, Edouard" userId="5c7148f7-abfa-4fb9-ad29-286627bf53ef" providerId="ADAL" clId="{D53110E3-2253-40D9-9ED2-302591ABF449}" dt="2024-03-07T15:59:07.237" v="4448" actId="2696"/>
          <pc:sldLayoutMkLst>
            <pc:docMk/>
            <pc:sldMasterMk cId="903461259" sldId="2147484149"/>
            <pc:sldLayoutMk cId="229608399" sldId="2147484153"/>
          </pc:sldLayoutMkLst>
        </pc:sldLayoutChg>
        <pc:sldLayoutChg chg="del">
          <pc:chgData name="HENRIO, Edouard" userId="5c7148f7-abfa-4fb9-ad29-286627bf53ef" providerId="ADAL" clId="{D53110E3-2253-40D9-9ED2-302591ABF449}" dt="2024-03-07T15:59:07.243" v="4449" actId="2696"/>
          <pc:sldLayoutMkLst>
            <pc:docMk/>
            <pc:sldMasterMk cId="903461259" sldId="2147484149"/>
            <pc:sldLayoutMk cId="3801023513" sldId="2147484154"/>
          </pc:sldLayoutMkLst>
        </pc:sldLayoutChg>
        <pc:sldLayoutChg chg="del">
          <pc:chgData name="HENRIO, Edouard" userId="5c7148f7-abfa-4fb9-ad29-286627bf53ef" providerId="ADAL" clId="{D53110E3-2253-40D9-9ED2-302591ABF449}" dt="2024-03-07T15:59:07.250" v="4450" actId="2696"/>
          <pc:sldLayoutMkLst>
            <pc:docMk/>
            <pc:sldMasterMk cId="903461259" sldId="2147484149"/>
            <pc:sldLayoutMk cId="1739423948" sldId="2147484155"/>
          </pc:sldLayoutMkLst>
        </pc:sldLayoutChg>
        <pc:sldLayoutChg chg="del">
          <pc:chgData name="HENRIO, Edouard" userId="5c7148f7-abfa-4fb9-ad29-286627bf53ef" providerId="ADAL" clId="{D53110E3-2253-40D9-9ED2-302591ABF449}" dt="2024-03-07T15:59:07.257" v="4451" actId="2696"/>
          <pc:sldLayoutMkLst>
            <pc:docMk/>
            <pc:sldMasterMk cId="903461259" sldId="2147484149"/>
            <pc:sldLayoutMk cId="1270123038" sldId="2147484156"/>
          </pc:sldLayoutMkLst>
        </pc:sldLayoutChg>
        <pc:sldLayoutChg chg="del">
          <pc:chgData name="HENRIO, Edouard" userId="5c7148f7-abfa-4fb9-ad29-286627bf53ef" providerId="ADAL" clId="{D53110E3-2253-40D9-9ED2-302591ABF449}" dt="2024-03-07T15:59:07.267" v="4452" actId="2696"/>
          <pc:sldLayoutMkLst>
            <pc:docMk/>
            <pc:sldMasterMk cId="903461259" sldId="2147484149"/>
            <pc:sldLayoutMk cId="1524194417" sldId="2147484157"/>
          </pc:sldLayoutMkLst>
        </pc:sldLayoutChg>
      </pc:sldMasterChg>
      <pc:sldMasterChg chg="del delSldLayout">
        <pc:chgData name="HENRIO, Edouard" userId="5c7148f7-abfa-4fb9-ad29-286627bf53ef" providerId="ADAL" clId="{D53110E3-2253-40D9-9ED2-302591ABF449}" dt="2024-03-07T15:59:09.496" v="4476" actId="2696"/>
        <pc:sldMasterMkLst>
          <pc:docMk/>
          <pc:sldMasterMk cId="179581313" sldId="2147484158"/>
        </pc:sldMasterMkLst>
        <pc:sldLayoutChg chg="del">
          <pc:chgData name="HENRIO, Edouard" userId="5c7148f7-abfa-4fb9-ad29-286627bf53ef" providerId="ADAL" clId="{D53110E3-2253-40D9-9ED2-302591ABF449}" dt="2024-03-07T15:59:09.343" v="4454" actId="2696"/>
          <pc:sldLayoutMkLst>
            <pc:docMk/>
            <pc:sldMasterMk cId="179581313" sldId="2147484158"/>
            <pc:sldLayoutMk cId="1596963224" sldId="2147484159"/>
          </pc:sldLayoutMkLst>
        </pc:sldLayoutChg>
        <pc:sldLayoutChg chg="del">
          <pc:chgData name="HENRIO, Edouard" userId="5c7148f7-abfa-4fb9-ad29-286627bf53ef" providerId="ADAL" clId="{D53110E3-2253-40D9-9ED2-302591ABF449}" dt="2024-03-07T15:59:09.348" v="4455" actId="2696"/>
          <pc:sldLayoutMkLst>
            <pc:docMk/>
            <pc:sldMasterMk cId="179581313" sldId="2147484158"/>
            <pc:sldLayoutMk cId="175367766" sldId="2147484160"/>
          </pc:sldLayoutMkLst>
        </pc:sldLayoutChg>
        <pc:sldLayoutChg chg="del">
          <pc:chgData name="HENRIO, Edouard" userId="5c7148f7-abfa-4fb9-ad29-286627bf53ef" providerId="ADAL" clId="{D53110E3-2253-40D9-9ED2-302591ABF449}" dt="2024-03-07T15:59:09.355" v="4456" actId="2696"/>
          <pc:sldLayoutMkLst>
            <pc:docMk/>
            <pc:sldMasterMk cId="179581313" sldId="2147484158"/>
            <pc:sldLayoutMk cId="3932801465" sldId="2147484161"/>
          </pc:sldLayoutMkLst>
        </pc:sldLayoutChg>
        <pc:sldLayoutChg chg="del">
          <pc:chgData name="HENRIO, Edouard" userId="5c7148f7-abfa-4fb9-ad29-286627bf53ef" providerId="ADAL" clId="{D53110E3-2253-40D9-9ED2-302591ABF449}" dt="2024-03-07T15:59:09.362" v="4457" actId="2696"/>
          <pc:sldLayoutMkLst>
            <pc:docMk/>
            <pc:sldMasterMk cId="179581313" sldId="2147484158"/>
            <pc:sldLayoutMk cId="2829784337" sldId="2147484162"/>
          </pc:sldLayoutMkLst>
        </pc:sldLayoutChg>
        <pc:sldLayoutChg chg="del">
          <pc:chgData name="HENRIO, Edouard" userId="5c7148f7-abfa-4fb9-ad29-286627bf53ef" providerId="ADAL" clId="{D53110E3-2253-40D9-9ED2-302591ABF449}" dt="2024-03-07T15:59:09.367" v="4458" actId="2696"/>
          <pc:sldLayoutMkLst>
            <pc:docMk/>
            <pc:sldMasterMk cId="179581313" sldId="2147484158"/>
            <pc:sldLayoutMk cId="3760319389" sldId="2147484163"/>
          </pc:sldLayoutMkLst>
        </pc:sldLayoutChg>
        <pc:sldLayoutChg chg="del">
          <pc:chgData name="HENRIO, Edouard" userId="5c7148f7-abfa-4fb9-ad29-286627bf53ef" providerId="ADAL" clId="{D53110E3-2253-40D9-9ED2-302591ABF449}" dt="2024-03-07T15:59:09.371" v="4459" actId="2696"/>
          <pc:sldLayoutMkLst>
            <pc:docMk/>
            <pc:sldMasterMk cId="179581313" sldId="2147484158"/>
            <pc:sldLayoutMk cId="4151503131" sldId="2147484164"/>
          </pc:sldLayoutMkLst>
        </pc:sldLayoutChg>
        <pc:sldLayoutChg chg="del">
          <pc:chgData name="HENRIO, Edouard" userId="5c7148f7-abfa-4fb9-ad29-286627bf53ef" providerId="ADAL" clId="{D53110E3-2253-40D9-9ED2-302591ABF449}" dt="2024-03-07T15:59:09.375" v="4460" actId="2696"/>
          <pc:sldLayoutMkLst>
            <pc:docMk/>
            <pc:sldMasterMk cId="179581313" sldId="2147484158"/>
            <pc:sldLayoutMk cId="1201800112" sldId="2147484165"/>
          </pc:sldLayoutMkLst>
        </pc:sldLayoutChg>
        <pc:sldLayoutChg chg="del">
          <pc:chgData name="HENRIO, Edouard" userId="5c7148f7-abfa-4fb9-ad29-286627bf53ef" providerId="ADAL" clId="{D53110E3-2253-40D9-9ED2-302591ABF449}" dt="2024-03-07T15:59:09.381" v="4461" actId="2696"/>
          <pc:sldLayoutMkLst>
            <pc:docMk/>
            <pc:sldMasterMk cId="179581313" sldId="2147484158"/>
            <pc:sldLayoutMk cId="3137594904" sldId="2147484166"/>
          </pc:sldLayoutMkLst>
        </pc:sldLayoutChg>
        <pc:sldLayoutChg chg="del">
          <pc:chgData name="HENRIO, Edouard" userId="5c7148f7-abfa-4fb9-ad29-286627bf53ef" providerId="ADAL" clId="{D53110E3-2253-40D9-9ED2-302591ABF449}" dt="2024-03-07T15:59:09.388" v="4462" actId="2696"/>
          <pc:sldLayoutMkLst>
            <pc:docMk/>
            <pc:sldMasterMk cId="179581313" sldId="2147484158"/>
            <pc:sldLayoutMk cId="258327867" sldId="2147484167"/>
          </pc:sldLayoutMkLst>
        </pc:sldLayoutChg>
        <pc:sldLayoutChg chg="del">
          <pc:chgData name="HENRIO, Edouard" userId="5c7148f7-abfa-4fb9-ad29-286627bf53ef" providerId="ADAL" clId="{D53110E3-2253-40D9-9ED2-302591ABF449}" dt="2024-03-07T15:59:09.395" v="4463" actId="2696"/>
          <pc:sldLayoutMkLst>
            <pc:docMk/>
            <pc:sldMasterMk cId="179581313" sldId="2147484158"/>
            <pc:sldLayoutMk cId="1491481214" sldId="2147484168"/>
          </pc:sldLayoutMkLst>
        </pc:sldLayoutChg>
        <pc:sldLayoutChg chg="del">
          <pc:chgData name="HENRIO, Edouard" userId="5c7148f7-abfa-4fb9-ad29-286627bf53ef" providerId="ADAL" clId="{D53110E3-2253-40D9-9ED2-302591ABF449}" dt="2024-03-07T15:59:09.401" v="4464" actId="2696"/>
          <pc:sldLayoutMkLst>
            <pc:docMk/>
            <pc:sldMasterMk cId="179581313" sldId="2147484158"/>
            <pc:sldLayoutMk cId="2929675475" sldId="2147484169"/>
          </pc:sldLayoutMkLst>
        </pc:sldLayoutChg>
        <pc:sldLayoutChg chg="del">
          <pc:chgData name="HENRIO, Edouard" userId="5c7148f7-abfa-4fb9-ad29-286627bf53ef" providerId="ADAL" clId="{D53110E3-2253-40D9-9ED2-302591ABF449}" dt="2024-03-07T15:59:09.407" v="4465" actId="2696"/>
          <pc:sldLayoutMkLst>
            <pc:docMk/>
            <pc:sldMasterMk cId="179581313" sldId="2147484158"/>
            <pc:sldLayoutMk cId="2184410329" sldId="2147484170"/>
          </pc:sldLayoutMkLst>
        </pc:sldLayoutChg>
        <pc:sldLayoutChg chg="del">
          <pc:chgData name="HENRIO, Edouard" userId="5c7148f7-abfa-4fb9-ad29-286627bf53ef" providerId="ADAL" clId="{D53110E3-2253-40D9-9ED2-302591ABF449}" dt="2024-03-07T15:59:09.411" v="4466" actId="2696"/>
          <pc:sldLayoutMkLst>
            <pc:docMk/>
            <pc:sldMasterMk cId="179581313" sldId="2147484158"/>
            <pc:sldLayoutMk cId="3682366020" sldId="2147484171"/>
          </pc:sldLayoutMkLst>
        </pc:sldLayoutChg>
        <pc:sldLayoutChg chg="del">
          <pc:chgData name="HENRIO, Edouard" userId="5c7148f7-abfa-4fb9-ad29-286627bf53ef" providerId="ADAL" clId="{D53110E3-2253-40D9-9ED2-302591ABF449}" dt="2024-03-07T15:59:09.418" v="4467" actId="2696"/>
          <pc:sldLayoutMkLst>
            <pc:docMk/>
            <pc:sldMasterMk cId="179581313" sldId="2147484158"/>
            <pc:sldLayoutMk cId="640715086" sldId="2147484172"/>
          </pc:sldLayoutMkLst>
        </pc:sldLayoutChg>
        <pc:sldLayoutChg chg="del">
          <pc:chgData name="HENRIO, Edouard" userId="5c7148f7-abfa-4fb9-ad29-286627bf53ef" providerId="ADAL" clId="{D53110E3-2253-40D9-9ED2-302591ABF449}" dt="2024-03-07T15:59:09.423" v="4468" actId="2696"/>
          <pc:sldLayoutMkLst>
            <pc:docMk/>
            <pc:sldMasterMk cId="179581313" sldId="2147484158"/>
            <pc:sldLayoutMk cId="407900421" sldId="2147484173"/>
          </pc:sldLayoutMkLst>
        </pc:sldLayoutChg>
        <pc:sldLayoutChg chg="del">
          <pc:chgData name="HENRIO, Edouard" userId="5c7148f7-abfa-4fb9-ad29-286627bf53ef" providerId="ADAL" clId="{D53110E3-2253-40D9-9ED2-302591ABF449}" dt="2024-03-07T15:59:09.429" v="4469" actId="2696"/>
          <pc:sldLayoutMkLst>
            <pc:docMk/>
            <pc:sldMasterMk cId="179581313" sldId="2147484158"/>
            <pc:sldLayoutMk cId="2417068688" sldId="2147484174"/>
          </pc:sldLayoutMkLst>
        </pc:sldLayoutChg>
        <pc:sldLayoutChg chg="del">
          <pc:chgData name="HENRIO, Edouard" userId="5c7148f7-abfa-4fb9-ad29-286627bf53ef" providerId="ADAL" clId="{D53110E3-2253-40D9-9ED2-302591ABF449}" dt="2024-03-07T15:59:09.435" v="4470" actId="2696"/>
          <pc:sldLayoutMkLst>
            <pc:docMk/>
            <pc:sldMasterMk cId="179581313" sldId="2147484158"/>
            <pc:sldLayoutMk cId="2987619182" sldId="2147484175"/>
          </pc:sldLayoutMkLst>
        </pc:sldLayoutChg>
        <pc:sldLayoutChg chg="del">
          <pc:chgData name="HENRIO, Edouard" userId="5c7148f7-abfa-4fb9-ad29-286627bf53ef" providerId="ADAL" clId="{D53110E3-2253-40D9-9ED2-302591ABF449}" dt="2024-03-07T15:59:09.442" v="4471" actId="2696"/>
          <pc:sldLayoutMkLst>
            <pc:docMk/>
            <pc:sldMasterMk cId="179581313" sldId="2147484158"/>
            <pc:sldLayoutMk cId="2571625495" sldId="2147484176"/>
          </pc:sldLayoutMkLst>
        </pc:sldLayoutChg>
        <pc:sldLayoutChg chg="del">
          <pc:chgData name="HENRIO, Edouard" userId="5c7148f7-abfa-4fb9-ad29-286627bf53ef" providerId="ADAL" clId="{D53110E3-2253-40D9-9ED2-302591ABF449}" dt="2024-03-07T15:59:09.452" v="4472" actId="2696"/>
          <pc:sldLayoutMkLst>
            <pc:docMk/>
            <pc:sldMasterMk cId="179581313" sldId="2147484158"/>
            <pc:sldLayoutMk cId="1759207066" sldId="2147484177"/>
          </pc:sldLayoutMkLst>
        </pc:sldLayoutChg>
        <pc:sldLayoutChg chg="del">
          <pc:chgData name="HENRIO, Edouard" userId="5c7148f7-abfa-4fb9-ad29-286627bf53ef" providerId="ADAL" clId="{D53110E3-2253-40D9-9ED2-302591ABF449}" dt="2024-03-07T15:59:09.458" v="4473" actId="2696"/>
          <pc:sldLayoutMkLst>
            <pc:docMk/>
            <pc:sldMasterMk cId="179581313" sldId="2147484158"/>
            <pc:sldLayoutMk cId="1336193533" sldId="2147484178"/>
          </pc:sldLayoutMkLst>
        </pc:sldLayoutChg>
        <pc:sldLayoutChg chg="del">
          <pc:chgData name="HENRIO, Edouard" userId="5c7148f7-abfa-4fb9-ad29-286627bf53ef" providerId="ADAL" clId="{D53110E3-2253-40D9-9ED2-302591ABF449}" dt="2024-03-07T15:59:09.464" v="4474" actId="2696"/>
          <pc:sldLayoutMkLst>
            <pc:docMk/>
            <pc:sldMasterMk cId="179581313" sldId="2147484158"/>
            <pc:sldLayoutMk cId="4256378527" sldId="2147484179"/>
          </pc:sldLayoutMkLst>
        </pc:sldLayoutChg>
        <pc:sldLayoutChg chg="del">
          <pc:chgData name="HENRIO, Edouard" userId="5c7148f7-abfa-4fb9-ad29-286627bf53ef" providerId="ADAL" clId="{D53110E3-2253-40D9-9ED2-302591ABF449}" dt="2024-03-07T15:59:09.470" v="4475" actId="2696"/>
          <pc:sldLayoutMkLst>
            <pc:docMk/>
            <pc:sldMasterMk cId="179581313" sldId="2147484158"/>
            <pc:sldLayoutMk cId="3270688142" sldId="2147484180"/>
          </pc:sldLayoutMkLst>
        </pc:sldLayoutChg>
      </pc:sldMasterChg>
      <pc:sldMasterChg chg="del delSldLayout">
        <pc:chgData name="HENRIO, Edouard" userId="5c7148f7-abfa-4fb9-ad29-286627bf53ef" providerId="ADAL" clId="{D53110E3-2253-40D9-9ED2-302591ABF449}" dt="2024-03-07T15:59:12.386" v="4516" actId="2696"/>
        <pc:sldMasterMkLst>
          <pc:docMk/>
          <pc:sldMasterMk cId="1478414516" sldId="2147484204"/>
        </pc:sldMasterMkLst>
        <pc:sldLayoutChg chg="del">
          <pc:chgData name="HENRIO, Edouard" userId="5c7148f7-abfa-4fb9-ad29-286627bf53ef" providerId="ADAL" clId="{D53110E3-2253-40D9-9ED2-302591ABF449}" dt="2024-03-07T15:59:12.151" v="4477" actId="2696"/>
          <pc:sldLayoutMkLst>
            <pc:docMk/>
            <pc:sldMasterMk cId="1478414516" sldId="2147484204"/>
            <pc:sldLayoutMk cId="3439697179" sldId="2147484205"/>
          </pc:sldLayoutMkLst>
        </pc:sldLayoutChg>
        <pc:sldLayoutChg chg="del">
          <pc:chgData name="HENRIO, Edouard" userId="5c7148f7-abfa-4fb9-ad29-286627bf53ef" providerId="ADAL" clId="{D53110E3-2253-40D9-9ED2-302591ABF449}" dt="2024-03-07T15:59:12.158" v="4478" actId="2696"/>
          <pc:sldLayoutMkLst>
            <pc:docMk/>
            <pc:sldMasterMk cId="1478414516" sldId="2147484204"/>
            <pc:sldLayoutMk cId="4206463137" sldId="2147484206"/>
          </pc:sldLayoutMkLst>
        </pc:sldLayoutChg>
        <pc:sldLayoutChg chg="del">
          <pc:chgData name="HENRIO, Edouard" userId="5c7148f7-abfa-4fb9-ad29-286627bf53ef" providerId="ADAL" clId="{D53110E3-2253-40D9-9ED2-302591ABF449}" dt="2024-03-07T15:59:12.167" v="4479" actId="2696"/>
          <pc:sldLayoutMkLst>
            <pc:docMk/>
            <pc:sldMasterMk cId="1478414516" sldId="2147484204"/>
            <pc:sldLayoutMk cId="1432872557" sldId="2147484207"/>
          </pc:sldLayoutMkLst>
        </pc:sldLayoutChg>
        <pc:sldLayoutChg chg="del">
          <pc:chgData name="HENRIO, Edouard" userId="5c7148f7-abfa-4fb9-ad29-286627bf53ef" providerId="ADAL" clId="{D53110E3-2253-40D9-9ED2-302591ABF449}" dt="2024-03-07T15:59:12.172" v="4480" actId="2696"/>
          <pc:sldLayoutMkLst>
            <pc:docMk/>
            <pc:sldMasterMk cId="1478414516" sldId="2147484204"/>
            <pc:sldLayoutMk cId="3153189445" sldId="2147484208"/>
          </pc:sldLayoutMkLst>
        </pc:sldLayoutChg>
        <pc:sldLayoutChg chg="del">
          <pc:chgData name="HENRIO, Edouard" userId="5c7148f7-abfa-4fb9-ad29-286627bf53ef" providerId="ADAL" clId="{D53110E3-2253-40D9-9ED2-302591ABF449}" dt="2024-03-07T15:59:12.177" v="4481" actId="2696"/>
          <pc:sldLayoutMkLst>
            <pc:docMk/>
            <pc:sldMasterMk cId="1478414516" sldId="2147484204"/>
            <pc:sldLayoutMk cId="2467559279" sldId="2147484209"/>
          </pc:sldLayoutMkLst>
        </pc:sldLayoutChg>
        <pc:sldLayoutChg chg="del">
          <pc:chgData name="HENRIO, Edouard" userId="5c7148f7-abfa-4fb9-ad29-286627bf53ef" providerId="ADAL" clId="{D53110E3-2253-40D9-9ED2-302591ABF449}" dt="2024-03-07T15:59:12.182" v="4482" actId="2696"/>
          <pc:sldLayoutMkLst>
            <pc:docMk/>
            <pc:sldMasterMk cId="1478414516" sldId="2147484204"/>
            <pc:sldLayoutMk cId="2085183366" sldId="2147484210"/>
          </pc:sldLayoutMkLst>
        </pc:sldLayoutChg>
        <pc:sldLayoutChg chg="del">
          <pc:chgData name="HENRIO, Edouard" userId="5c7148f7-abfa-4fb9-ad29-286627bf53ef" providerId="ADAL" clId="{D53110E3-2253-40D9-9ED2-302591ABF449}" dt="2024-03-07T15:59:12.187" v="4483" actId="2696"/>
          <pc:sldLayoutMkLst>
            <pc:docMk/>
            <pc:sldMasterMk cId="1478414516" sldId="2147484204"/>
            <pc:sldLayoutMk cId="2282227314" sldId="2147484211"/>
          </pc:sldLayoutMkLst>
        </pc:sldLayoutChg>
        <pc:sldLayoutChg chg="del">
          <pc:chgData name="HENRIO, Edouard" userId="5c7148f7-abfa-4fb9-ad29-286627bf53ef" providerId="ADAL" clId="{D53110E3-2253-40D9-9ED2-302591ABF449}" dt="2024-03-07T15:59:12.193" v="4484" actId="2696"/>
          <pc:sldLayoutMkLst>
            <pc:docMk/>
            <pc:sldMasterMk cId="1478414516" sldId="2147484204"/>
            <pc:sldLayoutMk cId="1796451322" sldId="2147484212"/>
          </pc:sldLayoutMkLst>
        </pc:sldLayoutChg>
        <pc:sldLayoutChg chg="del">
          <pc:chgData name="HENRIO, Edouard" userId="5c7148f7-abfa-4fb9-ad29-286627bf53ef" providerId="ADAL" clId="{D53110E3-2253-40D9-9ED2-302591ABF449}" dt="2024-03-07T15:59:12.201" v="4485" actId="2696"/>
          <pc:sldLayoutMkLst>
            <pc:docMk/>
            <pc:sldMasterMk cId="1478414516" sldId="2147484204"/>
            <pc:sldLayoutMk cId="3075254892" sldId="2147484213"/>
          </pc:sldLayoutMkLst>
        </pc:sldLayoutChg>
        <pc:sldLayoutChg chg="del">
          <pc:chgData name="HENRIO, Edouard" userId="5c7148f7-abfa-4fb9-ad29-286627bf53ef" providerId="ADAL" clId="{D53110E3-2253-40D9-9ED2-302591ABF449}" dt="2024-03-07T15:59:12.207" v="4486" actId="2696"/>
          <pc:sldLayoutMkLst>
            <pc:docMk/>
            <pc:sldMasterMk cId="1478414516" sldId="2147484204"/>
            <pc:sldLayoutMk cId="2378535756" sldId="2147484214"/>
          </pc:sldLayoutMkLst>
        </pc:sldLayoutChg>
        <pc:sldLayoutChg chg="del">
          <pc:chgData name="HENRIO, Edouard" userId="5c7148f7-abfa-4fb9-ad29-286627bf53ef" providerId="ADAL" clId="{D53110E3-2253-40D9-9ED2-302591ABF449}" dt="2024-03-07T15:59:12.212" v="4487" actId="2696"/>
          <pc:sldLayoutMkLst>
            <pc:docMk/>
            <pc:sldMasterMk cId="1478414516" sldId="2147484204"/>
            <pc:sldLayoutMk cId="3086182228" sldId="2147484215"/>
          </pc:sldLayoutMkLst>
        </pc:sldLayoutChg>
        <pc:sldLayoutChg chg="del">
          <pc:chgData name="HENRIO, Edouard" userId="5c7148f7-abfa-4fb9-ad29-286627bf53ef" providerId="ADAL" clId="{D53110E3-2253-40D9-9ED2-302591ABF449}" dt="2024-03-07T15:59:12.221" v="4488" actId="2696"/>
          <pc:sldLayoutMkLst>
            <pc:docMk/>
            <pc:sldMasterMk cId="1478414516" sldId="2147484204"/>
            <pc:sldLayoutMk cId="3387237158" sldId="2147484216"/>
          </pc:sldLayoutMkLst>
        </pc:sldLayoutChg>
        <pc:sldLayoutChg chg="del">
          <pc:chgData name="HENRIO, Edouard" userId="5c7148f7-abfa-4fb9-ad29-286627bf53ef" providerId="ADAL" clId="{D53110E3-2253-40D9-9ED2-302591ABF449}" dt="2024-03-07T15:59:12.231" v="4489" actId="2696"/>
          <pc:sldLayoutMkLst>
            <pc:docMk/>
            <pc:sldMasterMk cId="1478414516" sldId="2147484204"/>
            <pc:sldLayoutMk cId="417157741" sldId="2147484217"/>
          </pc:sldLayoutMkLst>
        </pc:sldLayoutChg>
        <pc:sldLayoutChg chg="del">
          <pc:chgData name="HENRIO, Edouard" userId="5c7148f7-abfa-4fb9-ad29-286627bf53ef" providerId="ADAL" clId="{D53110E3-2253-40D9-9ED2-302591ABF449}" dt="2024-03-07T15:59:12.239" v="4490" actId="2696"/>
          <pc:sldLayoutMkLst>
            <pc:docMk/>
            <pc:sldMasterMk cId="1478414516" sldId="2147484204"/>
            <pc:sldLayoutMk cId="2791653259" sldId="2147484218"/>
          </pc:sldLayoutMkLst>
        </pc:sldLayoutChg>
        <pc:sldLayoutChg chg="del">
          <pc:chgData name="HENRIO, Edouard" userId="5c7148f7-abfa-4fb9-ad29-286627bf53ef" providerId="ADAL" clId="{D53110E3-2253-40D9-9ED2-302591ABF449}" dt="2024-03-07T15:59:12.245" v="4491" actId="2696"/>
          <pc:sldLayoutMkLst>
            <pc:docMk/>
            <pc:sldMasterMk cId="1478414516" sldId="2147484204"/>
            <pc:sldLayoutMk cId="2036872995" sldId="2147484219"/>
          </pc:sldLayoutMkLst>
        </pc:sldLayoutChg>
        <pc:sldLayoutChg chg="del">
          <pc:chgData name="HENRIO, Edouard" userId="5c7148f7-abfa-4fb9-ad29-286627bf53ef" providerId="ADAL" clId="{D53110E3-2253-40D9-9ED2-302591ABF449}" dt="2024-03-07T15:59:12.250" v="4492" actId="2696"/>
          <pc:sldLayoutMkLst>
            <pc:docMk/>
            <pc:sldMasterMk cId="1478414516" sldId="2147484204"/>
            <pc:sldLayoutMk cId="2734528525" sldId="2147484220"/>
          </pc:sldLayoutMkLst>
        </pc:sldLayoutChg>
        <pc:sldLayoutChg chg="del">
          <pc:chgData name="HENRIO, Edouard" userId="5c7148f7-abfa-4fb9-ad29-286627bf53ef" providerId="ADAL" clId="{D53110E3-2253-40D9-9ED2-302591ABF449}" dt="2024-03-07T15:59:12.255" v="4493" actId="2696"/>
          <pc:sldLayoutMkLst>
            <pc:docMk/>
            <pc:sldMasterMk cId="1478414516" sldId="2147484204"/>
            <pc:sldLayoutMk cId="2034586010" sldId="2147484221"/>
          </pc:sldLayoutMkLst>
        </pc:sldLayoutChg>
        <pc:sldLayoutChg chg="del">
          <pc:chgData name="HENRIO, Edouard" userId="5c7148f7-abfa-4fb9-ad29-286627bf53ef" providerId="ADAL" clId="{D53110E3-2253-40D9-9ED2-302591ABF449}" dt="2024-03-07T15:59:12.261" v="4494" actId="2696"/>
          <pc:sldLayoutMkLst>
            <pc:docMk/>
            <pc:sldMasterMk cId="1478414516" sldId="2147484204"/>
            <pc:sldLayoutMk cId="575838910" sldId="2147484222"/>
          </pc:sldLayoutMkLst>
        </pc:sldLayoutChg>
        <pc:sldLayoutChg chg="del">
          <pc:chgData name="HENRIO, Edouard" userId="5c7148f7-abfa-4fb9-ad29-286627bf53ef" providerId="ADAL" clId="{D53110E3-2253-40D9-9ED2-302591ABF449}" dt="2024-03-07T15:59:12.267" v="4495" actId="2696"/>
          <pc:sldLayoutMkLst>
            <pc:docMk/>
            <pc:sldMasterMk cId="1478414516" sldId="2147484204"/>
            <pc:sldLayoutMk cId="2119857834" sldId="2147484223"/>
          </pc:sldLayoutMkLst>
        </pc:sldLayoutChg>
        <pc:sldLayoutChg chg="del">
          <pc:chgData name="HENRIO, Edouard" userId="5c7148f7-abfa-4fb9-ad29-286627bf53ef" providerId="ADAL" clId="{D53110E3-2253-40D9-9ED2-302591ABF449}" dt="2024-03-07T15:59:12.273" v="4496" actId="2696"/>
          <pc:sldLayoutMkLst>
            <pc:docMk/>
            <pc:sldMasterMk cId="1478414516" sldId="2147484204"/>
            <pc:sldLayoutMk cId="591858857" sldId="2147484224"/>
          </pc:sldLayoutMkLst>
        </pc:sldLayoutChg>
        <pc:sldLayoutChg chg="del">
          <pc:chgData name="HENRIO, Edouard" userId="5c7148f7-abfa-4fb9-ad29-286627bf53ef" providerId="ADAL" clId="{D53110E3-2253-40D9-9ED2-302591ABF449}" dt="2024-03-07T15:59:12.277" v="4497" actId="2696"/>
          <pc:sldLayoutMkLst>
            <pc:docMk/>
            <pc:sldMasterMk cId="1478414516" sldId="2147484204"/>
            <pc:sldLayoutMk cId="3634156003" sldId="2147484225"/>
          </pc:sldLayoutMkLst>
        </pc:sldLayoutChg>
        <pc:sldLayoutChg chg="del">
          <pc:chgData name="HENRIO, Edouard" userId="5c7148f7-abfa-4fb9-ad29-286627bf53ef" providerId="ADAL" clId="{D53110E3-2253-40D9-9ED2-302591ABF449}" dt="2024-03-07T15:59:12.282" v="4498" actId="2696"/>
          <pc:sldLayoutMkLst>
            <pc:docMk/>
            <pc:sldMasterMk cId="1478414516" sldId="2147484204"/>
            <pc:sldLayoutMk cId="1796799213" sldId="2147484226"/>
          </pc:sldLayoutMkLst>
        </pc:sldLayoutChg>
        <pc:sldLayoutChg chg="del">
          <pc:chgData name="HENRIO, Edouard" userId="5c7148f7-abfa-4fb9-ad29-286627bf53ef" providerId="ADAL" clId="{D53110E3-2253-40D9-9ED2-302591ABF449}" dt="2024-03-07T15:59:12.286" v="4499" actId="2696"/>
          <pc:sldLayoutMkLst>
            <pc:docMk/>
            <pc:sldMasterMk cId="1478414516" sldId="2147484204"/>
            <pc:sldLayoutMk cId="3385878897" sldId="2147484227"/>
          </pc:sldLayoutMkLst>
        </pc:sldLayoutChg>
        <pc:sldLayoutChg chg="del">
          <pc:chgData name="HENRIO, Edouard" userId="5c7148f7-abfa-4fb9-ad29-286627bf53ef" providerId="ADAL" clId="{D53110E3-2253-40D9-9ED2-302591ABF449}" dt="2024-03-07T15:59:12.290" v="4500" actId="2696"/>
          <pc:sldLayoutMkLst>
            <pc:docMk/>
            <pc:sldMasterMk cId="1478414516" sldId="2147484204"/>
            <pc:sldLayoutMk cId="2702902301" sldId="2147484228"/>
          </pc:sldLayoutMkLst>
        </pc:sldLayoutChg>
        <pc:sldLayoutChg chg="del">
          <pc:chgData name="HENRIO, Edouard" userId="5c7148f7-abfa-4fb9-ad29-286627bf53ef" providerId="ADAL" clId="{D53110E3-2253-40D9-9ED2-302591ABF449}" dt="2024-03-07T15:59:12.295" v="4501" actId="2696"/>
          <pc:sldLayoutMkLst>
            <pc:docMk/>
            <pc:sldMasterMk cId="1478414516" sldId="2147484204"/>
            <pc:sldLayoutMk cId="334907809" sldId="2147484229"/>
          </pc:sldLayoutMkLst>
        </pc:sldLayoutChg>
        <pc:sldLayoutChg chg="del">
          <pc:chgData name="HENRIO, Edouard" userId="5c7148f7-abfa-4fb9-ad29-286627bf53ef" providerId="ADAL" clId="{D53110E3-2253-40D9-9ED2-302591ABF449}" dt="2024-03-07T15:59:12.298" v="4502" actId="2696"/>
          <pc:sldLayoutMkLst>
            <pc:docMk/>
            <pc:sldMasterMk cId="1478414516" sldId="2147484204"/>
            <pc:sldLayoutMk cId="1954837548" sldId="2147484230"/>
          </pc:sldLayoutMkLst>
        </pc:sldLayoutChg>
        <pc:sldLayoutChg chg="del">
          <pc:chgData name="HENRIO, Edouard" userId="5c7148f7-abfa-4fb9-ad29-286627bf53ef" providerId="ADAL" clId="{D53110E3-2253-40D9-9ED2-302591ABF449}" dt="2024-03-07T15:59:12.303" v="4503" actId="2696"/>
          <pc:sldLayoutMkLst>
            <pc:docMk/>
            <pc:sldMasterMk cId="1478414516" sldId="2147484204"/>
            <pc:sldLayoutMk cId="366515180" sldId="2147484231"/>
          </pc:sldLayoutMkLst>
        </pc:sldLayoutChg>
        <pc:sldLayoutChg chg="del">
          <pc:chgData name="HENRIO, Edouard" userId="5c7148f7-abfa-4fb9-ad29-286627bf53ef" providerId="ADAL" clId="{D53110E3-2253-40D9-9ED2-302591ABF449}" dt="2024-03-07T15:59:12.308" v="4504" actId="2696"/>
          <pc:sldLayoutMkLst>
            <pc:docMk/>
            <pc:sldMasterMk cId="1478414516" sldId="2147484204"/>
            <pc:sldLayoutMk cId="4233912260" sldId="2147484232"/>
          </pc:sldLayoutMkLst>
        </pc:sldLayoutChg>
        <pc:sldLayoutChg chg="del">
          <pc:chgData name="HENRIO, Edouard" userId="5c7148f7-abfa-4fb9-ad29-286627bf53ef" providerId="ADAL" clId="{D53110E3-2253-40D9-9ED2-302591ABF449}" dt="2024-03-07T15:59:12.312" v="4505" actId="2696"/>
          <pc:sldLayoutMkLst>
            <pc:docMk/>
            <pc:sldMasterMk cId="1478414516" sldId="2147484204"/>
            <pc:sldLayoutMk cId="1437630198" sldId="2147484233"/>
          </pc:sldLayoutMkLst>
        </pc:sldLayoutChg>
        <pc:sldLayoutChg chg="del">
          <pc:chgData name="HENRIO, Edouard" userId="5c7148f7-abfa-4fb9-ad29-286627bf53ef" providerId="ADAL" clId="{D53110E3-2253-40D9-9ED2-302591ABF449}" dt="2024-03-07T15:59:12.317" v="4506" actId="2696"/>
          <pc:sldLayoutMkLst>
            <pc:docMk/>
            <pc:sldMasterMk cId="1478414516" sldId="2147484204"/>
            <pc:sldLayoutMk cId="506403472" sldId="2147484234"/>
          </pc:sldLayoutMkLst>
        </pc:sldLayoutChg>
        <pc:sldLayoutChg chg="del">
          <pc:chgData name="HENRIO, Edouard" userId="5c7148f7-abfa-4fb9-ad29-286627bf53ef" providerId="ADAL" clId="{D53110E3-2253-40D9-9ED2-302591ABF449}" dt="2024-03-07T15:59:12.321" v="4507" actId="2696"/>
          <pc:sldLayoutMkLst>
            <pc:docMk/>
            <pc:sldMasterMk cId="1478414516" sldId="2147484204"/>
            <pc:sldLayoutMk cId="2279466211" sldId="2147484235"/>
          </pc:sldLayoutMkLst>
        </pc:sldLayoutChg>
        <pc:sldLayoutChg chg="del">
          <pc:chgData name="HENRIO, Edouard" userId="5c7148f7-abfa-4fb9-ad29-286627bf53ef" providerId="ADAL" clId="{D53110E3-2253-40D9-9ED2-302591ABF449}" dt="2024-03-07T15:59:12.326" v="4508" actId="2696"/>
          <pc:sldLayoutMkLst>
            <pc:docMk/>
            <pc:sldMasterMk cId="1478414516" sldId="2147484204"/>
            <pc:sldLayoutMk cId="850090050" sldId="2147484236"/>
          </pc:sldLayoutMkLst>
        </pc:sldLayoutChg>
        <pc:sldLayoutChg chg="del">
          <pc:chgData name="HENRIO, Edouard" userId="5c7148f7-abfa-4fb9-ad29-286627bf53ef" providerId="ADAL" clId="{D53110E3-2253-40D9-9ED2-302591ABF449}" dt="2024-03-07T15:59:12.351" v="4509" actId="2696"/>
          <pc:sldLayoutMkLst>
            <pc:docMk/>
            <pc:sldMasterMk cId="1478414516" sldId="2147484204"/>
            <pc:sldLayoutMk cId="1321771909" sldId="2147484237"/>
          </pc:sldLayoutMkLst>
        </pc:sldLayoutChg>
        <pc:sldLayoutChg chg="del">
          <pc:chgData name="HENRIO, Edouard" userId="5c7148f7-abfa-4fb9-ad29-286627bf53ef" providerId="ADAL" clId="{D53110E3-2253-40D9-9ED2-302591ABF449}" dt="2024-03-07T15:59:12.356" v="4510" actId="2696"/>
          <pc:sldLayoutMkLst>
            <pc:docMk/>
            <pc:sldMasterMk cId="1478414516" sldId="2147484204"/>
            <pc:sldLayoutMk cId="554629946" sldId="2147484238"/>
          </pc:sldLayoutMkLst>
        </pc:sldLayoutChg>
        <pc:sldLayoutChg chg="del">
          <pc:chgData name="HENRIO, Edouard" userId="5c7148f7-abfa-4fb9-ad29-286627bf53ef" providerId="ADAL" clId="{D53110E3-2253-40D9-9ED2-302591ABF449}" dt="2024-03-07T15:59:12.361" v="4511" actId="2696"/>
          <pc:sldLayoutMkLst>
            <pc:docMk/>
            <pc:sldMasterMk cId="1478414516" sldId="2147484204"/>
            <pc:sldLayoutMk cId="2584298796" sldId="2147484239"/>
          </pc:sldLayoutMkLst>
        </pc:sldLayoutChg>
        <pc:sldLayoutChg chg="del">
          <pc:chgData name="HENRIO, Edouard" userId="5c7148f7-abfa-4fb9-ad29-286627bf53ef" providerId="ADAL" clId="{D53110E3-2253-40D9-9ED2-302591ABF449}" dt="2024-03-07T15:59:12.366" v="4512" actId="2696"/>
          <pc:sldLayoutMkLst>
            <pc:docMk/>
            <pc:sldMasterMk cId="1478414516" sldId="2147484204"/>
            <pc:sldLayoutMk cId="2231767035" sldId="2147484240"/>
          </pc:sldLayoutMkLst>
        </pc:sldLayoutChg>
        <pc:sldLayoutChg chg="del">
          <pc:chgData name="HENRIO, Edouard" userId="5c7148f7-abfa-4fb9-ad29-286627bf53ef" providerId="ADAL" clId="{D53110E3-2253-40D9-9ED2-302591ABF449}" dt="2024-03-07T15:59:12.369" v="4513" actId="2696"/>
          <pc:sldLayoutMkLst>
            <pc:docMk/>
            <pc:sldMasterMk cId="1478414516" sldId="2147484204"/>
            <pc:sldLayoutMk cId="2390905627" sldId="2147484241"/>
          </pc:sldLayoutMkLst>
        </pc:sldLayoutChg>
        <pc:sldLayoutChg chg="del">
          <pc:chgData name="HENRIO, Edouard" userId="5c7148f7-abfa-4fb9-ad29-286627bf53ef" providerId="ADAL" clId="{D53110E3-2253-40D9-9ED2-302591ABF449}" dt="2024-03-07T15:59:12.374" v="4514" actId="2696"/>
          <pc:sldLayoutMkLst>
            <pc:docMk/>
            <pc:sldMasterMk cId="1478414516" sldId="2147484204"/>
            <pc:sldLayoutMk cId="3156464040" sldId="2147484242"/>
          </pc:sldLayoutMkLst>
        </pc:sldLayoutChg>
        <pc:sldLayoutChg chg="del">
          <pc:chgData name="HENRIO, Edouard" userId="5c7148f7-abfa-4fb9-ad29-286627bf53ef" providerId="ADAL" clId="{D53110E3-2253-40D9-9ED2-302591ABF449}" dt="2024-03-07T15:59:12.378" v="4515" actId="2696"/>
          <pc:sldLayoutMkLst>
            <pc:docMk/>
            <pc:sldMasterMk cId="1478414516" sldId="2147484204"/>
            <pc:sldLayoutMk cId="3450672126" sldId="2147484243"/>
          </pc:sldLayoutMkLst>
        </pc:sldLayoutChg>
      </pc:sldMasterChg>
      <pc:sldMasterChg chg="del delSldLayout">
        <pc:chgData name="HENRIO, Edouard" userId="5c7148f7-abfa-4fb9-ad29-286627bf53ef" providerId="ADAL" clId="{D53110E3-2253-40D9-9ED2-302591ABF449}" dt="2024-03-07T15:59:14.710" v="4531" actId="2696"/>
        <pc:sldMasterMkLst>
          <pc:docMk/>
          <pc:sldMasterMk cId="533966910" sldId="2147484244"/>
        </pc:sldMasterMkLst>
        <pc:sldLayoutChg chg="del">
          <pc:chgData name="HENRIO, Edouard" userId="5c7148f7-abfa-4fb9-ad29-286627bf53ef" providerId="ADAL" clId="{D53110E3-2253-40D9-9ED2-302591ABF449}" dt="2024-03-07T15:59:14.619" v="4517" actId="2696"/>
          <pc:sldLayoutMkLst>
            <pc:docMk/>
            <pc:sldMasterMk cId="533966910" sldId="2147484244"/>
            <pc:sldLayoutMk cId="3164622101" sldId="2147484245"/>
          </pc:sldLayoutMkLst>
        </pc:sldLayoutChg>
        <pc:sldLayoutChg chg="del">
          <pc:chgData name="HENRIO, Edouard" userId="5c7148f7-abfa-4fb9-ad29-286627bf53ef" providerId="ADAL" clId="{D53110E3-2253-40D9-9ED2-302591ABF449}" dt="2024-03-07T15:59:14.624" v="4518" actId="2696"/>
          <pc:sldLayoutMkLst>
            <pc:docMk/>
            <pc:sldMasterMk cId="533966910" sldId="2147484244"/>
            <pc:sldLayoutMk cId="1253902783" sldId="2147484246"/>
          </pc:sldLayoutMkLst>
        </pc:sldLayoutChg>
        <pc:sldLayoutChg chg="del">
          <pc:chgData name="HENRIO, Edouard" userId="5c7148f7-abfa-4fb9-ad29-286627bf53ef" providerId="ADAL" clId="{D53110E3-2253-40D9-9ED2-302591ABF449}" dt="2024-03-07T15:59:14.630" v="4519" actId="2696"/>
          <pc:sldLayoutMkLst>
            <pc:docMk/>
            <pc:sldMasterMk cId="533966910" sldId="2147484244"/>
            <pc:sldLayoutMk cId="1527358610" sldId="2147484247"/>
          </pc:sldLayoutMkLst>
        </pc:sldLayoutChg>
        <pc:sldLayoutChg chg="del">
          <pc:chgData name="HENRIO, Edouard" userId="5c7148f7-abfa-4fb9-ad29-286627bf53ef" providerId="ADAL" clId="{D53110E3-2253-40D9-9ED2-302591ABF449}" dt="2024-03-07T15:59:14.635" v="4520" actId="2696"/>
          <pc:sldLayoutMkLst>
            <pc:docMk/>
            <pc:sldMasterMk cId="533966910" sldId="2147484244"/>
            <pc:sldLayoutMk cId="3555197740" sldId="2147484248"/>
          </pc:sldLayoutMkLst>
        </pc:sldLayoutChg>
        <pc:sldLayoutChg chg="del">
          <pc:chgData name="HENRIO, Edouard" userId="5c7148f7-abfa-4fb9-ad29-286627bf53ef" providerId="ADAL" clId="{D53110E3-2253-40D9-9ED2-302591ABF449}" dt="2024-03-07T15:59:14.641" v="4521" actId="2696"/>
          <pc:sldLayoutMkLst>
            <pc:docMk/>
            <pc:sldMasterMk cId="533966910" sldId="2147484244"/>
            <pc:sldLayoutMk cId="327816263" sldId="2147484249"/>
          </pc:sldLayoutMkLst>
        </pc:sldLayoutChg>
        <pc:sldLayoutChg chg="del">
          <pc:chgData name="HENRIO, Edouard" userId="5c7148f7-abfa-4fb9-ad29-286627bf53ef" providerId="ADAL" clId="{D53110E3-2253-40D9-9ED2-302591ABF449}" dt="2024-03-07T15:59:14.646" v="4522" actId="2696"/>
          <pc:sldLayoutMkLst>
            <pc:docMk/>
            <pc:sldMasterMk cId="533966910" sldId="2147484244"/>
            <pc:sldLayoutMk cId="2197823483" sldId="2147484250"/>
          </pc:sldLayoutMkLst>
        </pc:sldLayoutChg>
        <pc:sldLayoutChg chg="del">
          <pc:chgData name="HENRIO, Edouard" userId="5c7148f7-abfa-4fb9-ad29-286627bf53ef" providerId="ADAL" clId="{D53110E3-2253-40D9-9ED2-302591ABF449}" dt="2024-03-07T15:59:14.652" v="4523" actId="2696"/>
          <pc:sldLayoutMkLst>
            <pc:docMk/>
            <pc:sldMasterMk cId="533966910" sldId="2147484244"/>
            <pc:sldLayoutMk cId="4081761645" sldId="2147484251"/>
          </pc:sldLayoutMkLst>
        </pc:sldLayoutChg>
        <pc:sldLayoutChg chg="del">
          <pc:chgData name="HENRIO, Edouard" userId="5c7148f7-abfa-4fb9-ad29-286627bf53ef" providerId="ADAL" clId="{D53110E3-2253-40D9-9ED2-302591ABF449}" dt="2024-03-07T15:59:14.661" v="4524" actId="2696"/>
          <pc:sldLayoutMkLst>
            <pc:docMk/>
            <pc:sldMasterMk cId="533966910" sldId="2147484244"/>
            <pc:sldLayoutMk cId="345842831" sldId="2147484252"/>
          </pc:sldLayoutMkLst>
        </pc:sldLayoutChg>
        <pc:sldLayoutChg chg="del">
          <pc:chgData name="HENRIO, Edouard" userId="5c7148f7-abfa-4fb9-ad29-286627bf53ef" providerId="ADAL" clId="{D53110E3-2253-40D9-9ED2-302591ABF449}" dt="2024-03-07T15:59:14.665" v="4525" actId="2696"/>
          <pc:sldLayoutMkLst>
            <pc:docMk/>
            <pc:sldMasterMk cId="533966910" sldId="2147484244"/>
            <pc:sldLayoutMk cId="2932023902" sldId="2147484253"/>
          </pc:sldLayoutMkLst>
        </pc:sldLayoutChg>
        <pc:sldLayoutChg chg="del">
          <pc:chgData name="HENRIO, Edouard" userId="5c7148f7-abfa-4fb9-ad29-286627bf53ef" providerId="ADAL" clId="{D53110E3-2253-40D9-9ED2-302591ABF449}" dt="2024-03-07T15:59:14.670" v="4526" actId="2696"/>
          <pc:sldLayoutMkLst>
            <pc:docMk/>
            <pc:sldMasterMk cId="533966910" sldId="2147484244"/>
            <pc:sldLayoutMk cId="2932332924" sldId="2147484254"/>
          </pc:sldLayoutMkLst>
        </pc:sldLayoutChg>
        <pc:sldLayoutChg chg="del">
          <pc:chgData name="HENRIO, Edouard" userId="5c7148f7-abfa-4fb9-ad29-286627bf53ef" providerId="ADAL" clId="{D53110E3-2253-40D9-9ED2-302591ABF449}" dt="2024-03-07T15:59:14.673" v="4527" actId="2696"/>
          <pc:sldLayoutMkLst>
            <pc:docMk/>
            <pc:sldMasterMk cId="533966910" sldId="2147484244"/>
            <pc:sldLayoutMk cId="1249573347" sldId="2147484255"/>
          </pc:sldLayoutMkLst>
        </pc:sldLayoutChg>
        <pc:sldLayoutChg chg="del">
          <pc:chgData name="HENRIO, Edouard" userId="5c7148f7-abfa-4fb9-ad29-286627bf53ef" providerId="ADAL" clId="{D53110E3-2253-40D9-9ED2-302591ABF449}" dt="2024-03-07T15:59:14.678" v="4528" actId="2696"/>
          <pc:sldLayoutMkLst>
            <pc:docMk/>
            <pc:sldMasterMk cId="533966910" sldId="2147484244"/>
            <pc:sldLayoutMk cId="847958985" sldId="2147484256"/>
          </pc:sldLayoutMkLst>
        </pc:sldLayoutChg>
        <pc:sldLayoutChg chg="del">
          <pc:chgData name="HENRIO, Edouard" userId="5c7148f7-abfa-4fb9-ad29-286627bf53ef" providerId="ADAL" clId="{D53110E3-2253-40D9-9ED2-302591ABF449}" dt="2024-03-07T15:59:14.681" v="4529" actId="2696"/>
          <pc:sldLayoutMkLst>
            <pc:docMk/>
            <pc:sldMasterMk cId="533966910" sldId="2147484244"/>
            <pc:sldLayoutMk cId="4060503374" sldId="2147484257"/>
          </pc:sldLayoutMkLst>
        </pc:sldLayoutChg>
        <pc:sldLayoutChg chg="del">
          <pc:chgData name="HENRIO, Edouard" userId="5c7148f7-abfa-4fb9-ad29-286627bf53ef" providerId="ADAL" clId="{D53110E3-2253-40D9-9ED2-302591ABF449}" dt="2024-03-07T15:59:14.687" v="4530" actId="2696"/>
          <pc:sldLayoutMkLst>
            <pc:docMk/>
            <pc:sldMasterMk cId="533966910" sldId="2147484244"/>
            <pc:sldLayoutMk cId="605944432" sldId="2147484258"/>
          </pc:sldLayoutMkLst>
        </pc:sldLayoutChg>
      </pc:sldMasterChg>
      <pc:sldMasterChg chg="del delSldLayout">
        <pc:chgData name="HENRIO, Edouard" userId="5c7148f7-abfa-4fb9-ad29-286627bf53ef" providerId="ADAL" clId="{D53110E3-2253-40D9-9ED2-302591ABF449}" dt="2024-03-07T15:59:59.024" v="4571" actId="2696"/>
        <pc:sldMasterMkLst>
          <pc:docMk/>
          <pc:sldMasterMk cId="1297796589" sldId="2147484264"/>
        </pc:sldMasterMkLst>
        <pc:sldLayoutChg chg="del">
          <pc:chgData name="HENRIO, Edouard" userId="5c7148f7-abfa-4fb9-ad29-286627bf53ef" providerId="ADAL" clId="{D53110E3-2253-40D9-9ED2-302591ABF449}" dt="2024-03-07T15:59:58.819" v="4537" actId="2696"/>
          <pc:sldLayoutMkLst>
            <pc:docMk/>
            <pc:sldMasterMk cId="1297796589" sldId="2147484264"/>
            <pc:sldLayoutMk cId="446868982" sldId="2147484265"/>
          </pc:sldLayoutMkLst>
        </pc:sldLayoutChg>
        <pc:sldLayoutChg chg="del">
          <pc:chgData name="HENRIO, Edouard" userId="5c7148f7-abfa-4fb9-ad29-286627bf53ef" providerId="ADAL" clId="{D53110E3-2253-40D9-9ED2-302591ABF449}" dt="2024-03-07T15:59:58.824" v="4538" actId="2696"/>
          <pc:sldLayoutMkLst>
            <pc:docMk/>
            <pc:sldMasterMk cId="1297796589" sldId="2147484264"/>
            <pc:sldLayoutMk cId="1542636219" sldId="2147484266"/>
          </pc:sldLayoutMkLst>
        </pc:sldLayoutChg>
        <pc:sldLayoutChg chg="del">
          <pc:chgData name="HENRIO, Edouard" userId="5c7148f7-abfa-4fb9-ad29-286627bf53ef" providerId="ADAL" clId="{D53110E3-2253-40D9-9ED2-302591ABF449}" dt="2024-03-07T15:59:58.830" v="4539" actId="2696"/>
          <pc:sldLayoutMkLst>
            <pc:docMk/>
            <pc:sldMasterMk cId="1297796589" sldId="2147484264"/>
            <pc:sldLayoutMk cId="3667640477" sldId="2147484267"/>
          </pc:sldLayoutMkLst>
        </pc:sldLayoutChg>
        <pc:sldLayoutChg chg="del">
          <pc:chgData name="HENRIO, Edouard" userId="5c7148f7-abfa-4fb9-ad29-286627bf53ef" providerId="ADAL" clId="{D53110E3-2253-40D9-9ED2-302591ABF449}" dt="2024-03-07T15:59:58.836" v="4540" actId="2696"/>
          <pc:sldLayoutMkLst>
            <pc:docMk/>
            <pc:sldMasterMk cId="1297796589" sldId="2147484264"/>
            <pc:sldLayoutMk cId="2026405359" sldId="2147484268"/>
          </pc:sldLayoutMkLst>
        </pc:sldLayoutChg>
        <pc:sldLayoutChg chg="del">
          <pc:chgData name="HENRIO, Edouard" userId="5c7148f7-abfa-4fb9-ad29-286627bf53ef" providerId="ADAL" clId="{D53110E3-2253-40D9-9ED2-302591ABF449}" dt="2024-03-07T15:59:58.843" v="4541" actId="2696"/>
          <pc:sldLayoutMkLst>
            <pc:docMk/>
            <pc:sldMasterMk cId="1297796589" sldId="2147484264"/>
            <pc:sldLayoutMk cId="2587289872" sldId="2147484269"/>
          </pc:sldLayoutMkLst>
        </pc:sldLayoutChg>
        <pc:sldLayoutChg chg="del">
          <pc:chgData name="HENRIO, Edouard" userId="5c7148f7-abfa-4fb9-ad29-286627bf53ef" providerId="ADAL" clId="{D53110E3-2253-40D9-9ED2-302591ABF449}" dt="2024-03-07T15:59:58.850" v="4542" actId="2696"/>
          <pc:sldLayoutMkLst>
            <pc:docMk/>
            <pc:sldMasterMk cId="1297796589" sldId="2147484264"/>
            <pc:sldLayoutMk cId="1344960078" sldId="2147484270"/>
          </pc:sldLayoutMkLst>
        </pc:sldLayoutChg>
        <pc:sldLayoutChg chg="del">
          <pc:chgData name="HENRIO, Edouard" userId="5c7148f7-abfa-4fb9-ad29-286627bf53ef" providerId="ADAL" clId="{D53110E3-2253-40D9-9ED2-302591ABF449}" dt="2024-03-07T15:59:58.855" v="4543" actId="2696"/>
          <pc:sldLayoutMkLst>
            <pc:docMk/>
            <pc:sldMasterMk cId="1297796589" sldId="2147484264"/>
            <pc:sldLayoutMk cId="3087934717" sldId="2147484271"/>
          </pc:sldLayoutMkLst>
        </pc:sldLayoutChg>
        <pc:sldLayoutChg chg="del">
          <pc:chgData name="HENRIO, Edouard" userId="5c7148f7-abfa-4fb9-ad29-286627bf53ef" providerId="ADAL" clId="{D53110E3-2253-40D9-9ED2-302591ABF449}" dt="2024-03-07T15:59:58.862" v="4544" actId="2696"/>
          <pc:sldLayoutMkLst>
            <pc:docMk/>
            <pc:sldMasterMk cId="1297796589" sldId="2147484264"/>
            <pc:sldLayoutMk cId="3596790835" sldId="2147484272"/>
          </pc:sldLayoutMkLst>
        </pc:sldLayoutChg>
        <pc:sldLayoutChg chg="del">
          <pc:chgData name="HENRIO, Edouard" userId="5c7148f7-abfa-4fb9-ad29-286627bf53ef" providerId="ADAL" clId="{D53110E3-2253-40D9-9ED2-302591ABF449}" dt="2024-03-07T15:59:58.869" v="4545" actId="2696"/>
          <pc:sldLayoutMkLst>
            <pc:docMk/>
            <pc:sldMasterMk cId="1297796589" sldId="2147484264"/>
            <pc:sldLayoutMk cId="329076254" sldId="2147484273"/>
          </pc:sldLayoutMkLst>
        </pc:sldLayoutChg>
        <pc:sldLayoutChg chg="del">
          <pc:chgData name="HENRIO, Edouard" userId="5c7148f7-abfa-4fb9-ad29-286627bf53ef" providerId="ADAL" clId="{D53110E3-2253-40D9-9ED2-302591ABF449}" dt="2024-03-07T15:59:58.873" v="4546" actId="2696"/>
          <pc:sldLayoutMkLst>
            <pc:docMk/>
            <pc:sldMasterMk cId="1297796589" sldId="2147484264"/>
            <pc:sldLayoutMk cId="3362324274" sldId="2147484274"/>
          </pc:sldLayoutMkLst>
        </pc:sldLayoutChg>
        <pc:sldLayoutChg chg="del">
          <pc:chgData name="HENRIO, Edouard" userId="5c7148f7-abfa-4fb9-ad29-286627bf53ef" providerId="ADAL" clId="{D53110E3-2253-40D9-9ED2-302591ABF449}" dt="2024-03-07T15:59:58.877" v="4547" actId="2696"/>
          <pc:sldLayoutMkLst>
            <pc:docMk/>
            <pc:sldMasterMk cId="1297796589" sldId="2147484264"/>
            <pc:sldLayoutMk cId="2513727961" sldId="2147484275"/>
          </pc:sldLayoutMkLst>
        </pc:sldLayoutChg>
        <pc:sldLayoutChg chg="del">
          <pc:chgData name="HENRIO, Edouard" userId="5c7148f7-abfa-4fb9-ad29-286627bf53ef" providerId="ADAL" clId="{D53110E3-2253-40D9-9ED2-302591ABF449}" dt="2024-03-07T15:59:58.882" v="4548" actId="2696"/>
          <pc:sldLayoutMkLst>
            <pc:docMk/>
            <pc:sldMasterMk cId="1297796589" sldId="2147484264"/>
            <pc:sldLayoutMk cId="1266191615" sldId="2147484276"/>
          </pc:sldLayoutMkLst>
        </pc:sldLayoutChg>
        <pc:sldLayoutChg chg="del">
          <pc:chgData name="HENRIO, Edouard" userId="5c7148f7-abfa-4fb9-ad29-286627bf53ef" providerId="ADAL" clId="{D53110E3-2253-40D9-9ED2-302591ABF449}" dt="2024-03-07T15:59:58.888" v="4549" actId="2696"/>
          <pc:sldLayoutMkLst>
            <pc:docMk/>
            <pc:sldMasterMk cId="1297796589" sldId="2147484264"/>
            <pc:sldLayoutMk cId="1905429073" sldId="2147484277"/>
          </pc:sldLayoutMkLst>
        </pc:sldLayoutChg>
        <pc:sldLayoutChg chg="del">
          <pc:chgData name="HENRIO, Edouard" userId="5c7148f7-abfa-4fb9-ad29-286627bf53ef" providerId="ADAL" clId="{D53110E3-2253-40D9-9ED2-302591ABF449}" dt="2024-03-07T15:59:58.894" v="4550" actId="2696"/>
          <pc:sldLayoutMkLst>
            <pc:docMk/>
            <pc:sldMasterMk cId="1297796589" sldId="2147484264"/>
            <pc:sldLayoutMk cId="961319251" sldId="2147484278"/>
          </pc:sldLayoutMkLst>
        </pc:sldLayoutChg>
        <pc:sldLayoutChg chg="del">
          <pc:chgData name="HENRIO, Edouard" userId="5c7148f7-abfa-4fb9-ad29-286627bf53ef" providerId="ADAL" clId="{D53110E3-2253-40D9-9ED2-302591ABF449}" dt="2024-03-07T15:59:58.901" v="4551" actId="2696"/>
          <pc:sldLayoutMkLst>
            <pc:docMk/>
            <pc:sldMasterMk cId="1297796589" sldId="2147484264"/>
            <pc:sldLayoutMk cId="3894176404" sldId="2147484279"/>
          </pc:sldLayoutMkLst>
        </pc:sldLayoutChg>
        <pc:sldLayoutChg chg="del">
          <pc:chgData name="HENRIO, Edouard" userId="5c7148f7-abfa-4fb9-ad29-286627bf53ef" providerId="ADAL" clId="{D53110E3-2253-40D9-9ED2-302591ABF449}" dt="2024-03-07T15:59:58.910" v="4552" actId="2696"/>
          <pc:sldLayoutMkLst>
            <pc:docMk/>
            <pc:sldMasterMk cId="1297796589" sldId="2147484264"/>
            <pc:sldLayoutMk cId="333979947" sldId="2147484280"/>
          </pc:sldLayoutMkLst>
        </pc:sldLayoutChg>
        <pc:sldLayoutChg chg="del">
          <pc:chgData name="HENRIO, Edouard" userId="5c7148f7-abfa-4fb9-ad29-286627bf53ef" providerId="ADAL" clId="{D53110E3-2253-40D9-9ED2-302591ABF449}" dt="2024-03-07T15:59:58.915" v="4553" actId="2696"/>
          <pc:sldLayoutMkLst>
            <pc:docMk/>
            <pc:sldMasterMk cId="1297796589" sldId="2147484264"/>
            <pc:sldLayoutMk cId="2242668296" sldId="2147484281"/>
          </pc:sldLayoutMkLst>
        </pc:sldLayoutChg>
        <pc:sldLayoutChg chg="del">
          <pc:chgData name="HENRIO, Edouard" userId="5c7148f7-abfa-4fb9-ad29-286627bf53ef" providerId="ADAL" clId="{D53110E3-2253-40D9-9ED2-302591ABF449}" dt="2024-03-07T15:59:58.921" v="4554" actId="2696"/>
          <pc:sldLayoutMkLst>
            <pc:docMk/>
            <pc:sldMasterMk cId="1297796589" sldId="2147484264"/>
            <pc:sldLayoutMk cId="1929056619" sldId="2147484282"/>
          </pc:sldLayoutMkLst>
        </pc:sldLayoutChg>
        <pc:sldLayoutChg chg="del">
          <pc:chgData name="HENRIO, Edouard" userId="5c7148f7-abfa-4fb9-ad29-286627bf53ef" providerId="ADAL" clId="{D53110E3-2253-40D9-9ED2-302591ABF449}" dt="2024-03-07T15:59:58.925" v="4555" actId="2696"/>
          <pc:sldLayoutMkLst>
            <pc:docMk/>
            <pc:sldMasterMk cId="1297796589" sldId="2147484264"/>
            <pc:sldLayoutMk cId="940831343" sldId="2147484283"/>
          </pc:sldLayoutMkLst>
        </pc:sldLayoutChg>
        <pc:sldLayoutChg chg="del">
          <pc:chgData name="HENRIO, Edouard" userId="5c7148f7-abfa-4fb9-ad29-286627bf53ef" providerId="ADAL" clId="{D53110E3-2253-40D9-9ED2-302591ABF449}" dt="2024-03-07T15:59:58.931" v="4556" actId="2696"/>
          <pc:sldLayoutMkLst>
            <pc:docMk/>
            <pc:sldMasterMk cId="1297796589" sldId="2147484264"/>
            <pc:sldLayoutMk cId="1576600888" sldId="2147484285"/>
          </pc:sldLayoutMkLst>
        </pc:sldLayoutChg>
        <pc:sldLayoutChg chg="del">
          <pc:chgData name="HENRIO, Edouard" userId="5c7148f7-abfa-4fb9-ad29-286627bf53ef" providerId="ADAL" clId="{D53110E3-2253-40D9-9ED2-302591ABF449}" dt="2024-03-07T15:59:58.936" v="4557" actId="2696"/>
          <pc:sldLayoutMkLst>
            <pc:docMk/>
            <pc:sldMasterMk cId="1297796589" sldId="2147484264"/>
            <pc:sldLayoutMk cId="3313637283" sldId="2147484286"/>
          </pc:sldLayoutMkLst>
        </pc:sldLayoutChg>
        <pc:sldLayoutChg chg="del">
          <pc:chgData name="HENRIO, Edouard" userId="5c7148f7-abfa-4fb9-ad29-286627bf53ef" providerId="ADAL" clId="{D53110E3-2253-40D9-9ED2-302591ABF449}" dt="2024-03-07T15:59:58.941" v="4558" actId="2696"/>
          <pc:sldLayoutMkLst>
            <pc:docMk/>
            <pc:sldMasterMk cId="1297796589" sldId="2147484264"/>
            <pc:sldLayoutMk cId="666640760" sldId="2147484287"/>
          </pc:sldLayoutMkLst>
        </pc:sldLayoutChg>
        <pc:sldLayoutChg chg="del">
          <pc:chgData name="HENRIO, Edouard" userId="5c7148f7-abfa-4fb9-ad29-286627bf53ef" providerId="ADAL" clId="{D53110E3-2253-40D9-9ED2-302591ABF449}" dt="2024-03-07T15:59:58.945" v="4559" actId="2696"/>
          <pc:sldLayoutMkLst>
            <pc:docMk/>
            <pc:sldMasterMk cId="1297796589" sldId="2147484264"/>
            <pc:sldLayoutMk cId="3054832786" sldId="2147484288"/>
          </pc:sldLayoutMkLst>
        </pc:sldLayoutChg>
        <pc:sldLayoutChg chg="del">
          <pc:chgData name="HENRIO, Edouard" userId="5c7148f7-abfa-4fb9-ad29-286627bf53ef" providerId="ADAL" clId="{D53110E3-2253-40D9-9ED2-302591ABF449}" dt="2024-03-07T15:59:58.951" v="4560" actId="2696"/>
          <pc:sldLayoutMkLst>
            <pc:docMk/>
            <pc:sldMasterMk cId="1297796589" sldId="2147484264"/>
            <pc:sldLayoutMk cId="805958069" sldId="2147484289"/>
          </pc:sldLayoutMkLst>
        </pc:sldLayoutChg>
        <pc:sldLayoutChg chg="del">
          <pc:chgData name="HENRIO, Edouard" userId="5c7148f7-abfa-4fb9-ad29-286627bf53ef" providerId="ADAL" clId="{D53110E3-2253-40D9-9ED2-302591ABF449}" dt="2024-03-07T15:59:58.955" v="4561" actId="2696"/>
          <pc:sldLayoutMkLst>
            <pc:docMk/>
            <pc:sldMasterMk cId="1297796589" sldId="2147484264"/>
            <pc:sldLayoutMk cId="4005553821" sldId="2147484290"/>
          </pc:sldLayoutMkLst>
        </pc:sldLayoutChg>
        <pc:sldLayoutChg chg="del">
          <pc:chgData name="HENRIO, Edouard" userId="5c7148f7-abfa-4fb9-ad29-286627bf53ef" providerId="ADAL" clId="{D53110E3-2253-40D9-9ED2-302591ABF449}" dt="2024-03-07T15:59:58.960" v="4562" actId="2696"/>
          <pc:sldLayoutMkLst>
            <pc:docMk/>
            <pc:sldMasterMk cId="1297796589" sldId="2147484264"/>
            <pc:sldLayoutMk cId="4258497798" sldId="2147484291"/>
          </pc:sldLayoutMkLst>
        </pc:sldLayoutChg>
        <pc:sldLayoutChg chg="del">
          <pc:chgData name="HENRIO, Edouard" userId="5c7148f7-abfa-4fb9-ad29-286627bf53ef" providerId="ADAL" clId="{D53110E3-2253-40D9-9ED2-302591ABF449}" dt="2024-03-07T15:59:58.967" v="4563" actId="2696"/>
          <pc:sldLayoutMkLst>
            <pc:docMk/>
            <pc:sldMasterMk cId="1297796589" sldId="2147484264"/>
            <pc:sldLayoutMk cId="1205046108" sldId="2147484292"/>
          </pc:sldLayoutMkLst>
        </pc:sldLayoutChg>
        <pc:sldLayoutChg chg="del">
          <pc:chgData name="HENRIO, Edouard" userId="5c7148f7-abfa-4fb9-ad29-286627bf53ef" providerId="ADAL" clId="{D53110E3-2253-40D9-9ED2-302591ABF449}" dt="2024-03-07T15:59:58.971" v="4564" actId="2696"/>
          <pc:sldLayoutMkLst>
            <pc:docMk/>
            <pc:sldMasterMk cId="1297796589" sldId="2147484264"/>
            <pc:sldLayoutMk cId="4229159204" sldId="2147484293"/>
          </pc:sldLayoutMkLst>
        </pc:sldLayoutChg>
        <pc:sldLayoutChg chg="del">
          <pc:chgData name="HENRIO, Edouard" userId="5c7148f7-abfa-4fb9-ad29-286627bf53ef" providerId="ADAL" clId="{D53110E3-2253-40D9-9ED2-302591ABF449}" dt="2024-03-07T15:59:58.976" v="4565" actId="2696"/>
          <pc:sldLayoutMkLst>
            <pc:docMk/>
            <pc:sldMasterMk cId="1297796589" sldId="2147484264"/>
            <pc:sldLayoutMk cId="2231383348" sldId="2147484294"/>
          </pc:sldLayoutMkLst>
        </pc:sldLayoutChg>
        <pc:sldLayoutChg chg="del">
          <pc:chgData name="HENRIO, Edouard" userId="5c7148f7-abfa-4fb9-ad29-286627bf53ef" providerId="ADAL" clId="{D53110E3-2253-40D9-9ED2-302591ABF449}" dt="2024-03-07T15:59:58.981" v="4566" actId="2696"/>
          <pc:sldLayoutMkLst>
            <pc:docMk/>
            <pc:sldMasterMk cId="1297796589" sldId="2147484264"/>
            <pc:sldLayoutMk cId="2173833545" sldId="2147484295"/>
          </pc:sldLayoutMkLst>
        </pc:sldLayoutChg>
        <pc:sldLayoutChg chg="del">
          <pc:chgData name="HENRIO, Edouard" userId="5c7148f7-abfa-4fb9-ad29-286627bf53ef" providerId="ADAL" clId="{D53110E3-2253-40D9-9ED2-302591ABF449}" dt="2024-03-07T15:59:58.987" v="4567" actId="2696"/>
          <pc:sldLayoutMkLst>
            <pc:docMk/>
            <pc:sldMasterMk cId="1297796589" sldId="2147484264"/>
            <pc:sldLayoutMk cId="2961931077" sldId="2147484296"/>
          </pc:sldLayoutMkLst>
        </pc:sldLayoutChg>
        <pc:sldLayoutChg chg="del">
          <pc:chgData name="HENRIO, Edouard" userId="5c7148f7-abfa-4fb9-ad29-286627bf53ef" providerId="ADAL" clId="{D53110E3-2253-40D9-9ED2-302591ABF449}" dt="2024-03-07T15:59:58.993" v="4568" actId="2696"/>
          <pc:sldLayoutMkLst>
            <pc:docMk/>
            <pc:sldMasterMk cId="1297796589" sldId="2147484264"/>
            <pc:sldLayoutMk cId="2493753816" sldId="2147484297"/>
          </pc:sldLayoutMkLst>
        </pc:sldLayoutChg>
        <pc:sldLayoutChg chg="del">
          <pc:chgData name="HENRIO, Edouard" userId="5c7148f7-abfa-4fb9-ad29-286627bf53ef" providerId="ADAL" clId="{D53110E3-2253-40D9-9ED2-302591ABF449}" dt="2024-03-07T15:59:58.998" v="4569" actId="2696"/>
          <pc:sldLayoutMkLst>
            <pc:docMk/>
            <pc:sldMasterMk cId="1297796589" sldId="2147484264"/>
            <pc:sldLayoutMk cId="893333275" sldId="2147484298"/>
          </pc:sldLayoutMkLst>
        </pc:sldLayoutChg>
        <pc:sldLayoutChg chg="del">
          <pc:chgData name="HENRIO, Edouard" userId="5c7148f7-abfa-4fb9-ad29-286627bf53ef" providerId="ADAL" clId="{D53110E3-2253-40D9-9ED2-302591ABF449}" dt="2024-03-07T15:59:59.002" v="4570" actId="2696"/>
          <pc:sldLayoutMkLst>
            <pc:docMk/>
            <pc:sldMasterMk cId="1297796589" sldId="2147484264"/>
            <pc:sldLayoutMk cId="738230905" sldId="2147484299"/>
          </pc:sldLayoutMkLst>
        </pc:sldLayoutChg>
      </pc:sldMasterChg>
    </pc:docChg>
  </pc:docChgLst>
  <pc:docChgLst>
    <pc:chgData name="KILANI, Yassine" userId="1aebaf60-5a20-455f-b28d-267e961535b9" providerId="ADAL" clId="{ABA46E8A-A96D-4E1A-9572-B85345154F3A}"/>
    <pc:docChg chg="undo custSel addSld modSld sldOrd modSection">
      <pc:chgData name="KILANI, Yassine" userId="1aebaf60-5a20-455f-b28d-267e961535b9" providerId="ADAL" clId="{ABA46E8A-A96D-4E1A-9572-B85345154F3A}" dt="2024-02-22T18:10:54.190" v="2093" actId="1076"/>
      <pc:docMkLst>
        <pc:docMk/>
      </pc:docMkLst>
      <pc:sldChg chg="addSp delSp modSp mod ord modCm">
        <pc:chgData name="KILANI, Yassine" userId="1aebaf60-5a20-455f-b28d-267e961535b9" providerId="ADAL" clId="{ABA46E8A-A96D-4E1A-9572-B85345154F3A}" dt="2024-02-16T15:51:56.169" v="1988"/>
        <pc:sldMkLst>
          <pc:docMk/>
          <pc:sldMk cId="1362600534" sldId="2147478788"/>
        </pc:sldMkLst>
        <pc:spChg chg="del">
          <ac:chgData name="KILANI, Yassine" userId="1aebaf60-5a20-455f-b28d-267e961535b9" providerId="ADAL" clId="{ABA46E8A-A96D-4E1A-9572-B85345154F3A}" dt="2024-02-16T14:16:43.616" v="43" actId="478"/>
          <ac:spMkLst>
            <pc:docMk/>
            <pc:sldMk cId="1362600534" sldId="2147478788"/>
            <ac:spMk id="2" creationId="{EA72B8A5-CB29-2488-3C39-C48D88BCC301}"/>
          </ac:spMkLst>
        </pc:spChg>
        <pc:spChg chg="mod">
          <ac:chgData name="KILANI, Yassine" userId="1aebaf60-5a20-455f-b28d-267e961535b9" providerId="ADAL" clId="{ABA46E8A-A96D-4E1A-9572-B85345154F3A}" dt="2024-02-16T14:17:23.682" v="77" actId="20577"/>
          <ac:spMkLst>
            <pc:docMk/>
            <pc:sldMk cId="1362600534" sldId="2147478788"/>
            <ac:spMk id="3" creationId="{8A018925-55ED-4391-2512-6CE9F7A9747F}"/>
          </ac:spMkLst>
        </pc:spChg>
        <pc:spChg chg="add mod">
          <ac:chgData name="KILANI, Yassine" userId="1aebaf60-5a20-455f-b28d-267e961535b9" providerId="ADAL" clId="{ABA46E8A-A96D-4E1A-9572-B85345154F3A}" dt="2024-02-16T14:17:11.728" v="48" actId="20577"/>
          <ac:spMkLst>
            <pc:docMk/>
            <pc:sldMk cId="1362600534" sldId="2147478788"/>
            <ac:spMk id="4" creationId="{90090972-2E9F-2747-B82F-46A611DCAA33}"/>
          </ac:spMkLst>
        </pc:spChg>
        <pc:spChg chg="mod">
          <ac:chgData name="KILANI, Yassine" userId="1aebaf60-5a20-455f-b28d-267e961535b9" providerId="ADAL" clId="{ABA46E8A-A96D-4E1A-9572-B85345154F3A}" dt="2024-02-16T14:16:39.349" v="42"/>
          <ac:spMkLst>
            <pc:docMk/>
            <pc:sldMk cId="1362600534" sldId="2147478788"/>
            <ac:spMk id="6" creationId="{D0A0A10B-08D2-9804-47FE-588FF81B39E1}"/>
          </ac:spMkLst>
        </pc:spChg>
        <pc:spChg chg="mod">
          <ac:chgData name="KILANI, Yassine" userId="1aebaf60-5a20-455f-b28d-267e961535b9" providerId="ADAL" clId="{ABA46E8A-A96D-4E1A-9572-B85345154F3A}" dt="2024-02-16T14:16:39.349" v="42"/>
          <ac:spMkLst>
            <pc:docMk/>
            <pc:sldMk cId="1362600534" sldId="2147478788"/>
            <ac:spMk id="7" creationId="{2180ED54-98B5-071C-5CC0-7265ED978C4E}"/>
          </ac:spMkLst>
        </pc:spChg>
        <pc:spChg chg="mod">
          <ac:chgData name="KILANI, Yassine" userId="1aebaf60-5a20-455f-b28d-267e961535b9" providerId="ADAL" clId="{ABA46E8A-A96D-4E1A-9572-B85345154F3A}" dt="2024-02-16T14:16:39.349" v="42"/>
          <ac:spMkLst>
            <pc:docMk/>
            <pc:sldMk cId="1362600534" sldId="2147478788"/>
            <ac:spMk id="8" creationId="{D74F69D6-EA3B-5D68-E727-D0D768386FB0}"/>
          </ac:spMkLst>
        </pc:spChg>
        <pc:spChg chg="mod">
          <ac:chgData name="KILANI, Yassine" userId="1aebaf60-5a20-455f-b28d-267e961535b9" providerId="ADAL" clId="{ABA46E8A-A96D-4E1A-9572-B85345154F3A}" dt="2024-02-16T14:16:39.349" v="42"/>
          <ac:spMkLst>
            <pc:docMk/>
            <pc:sldMk cId="1362600534" sldId="2147478788"/>
            <ac:spMk id="9" creationId="{0FC2FA8B-DA6A-98DF-45D0-212A63A39137}"/>
          </ac:spMkLst>
        </pc:spChg>
        <pc:spChg chg="mod">
          <ac:chgData name="KILANI, Yassine" userId="1aebaf60-5a20-455f-b28d-267e961535b9" providerId="ADAL" clId="{ABA46E8A-A96D-4E1A-9572-B85345154F3A}" dt="2024-02-16T14:16:39.349" v="42"/>
          <ac:spMkLst>
            <pc:docMk/>
            <pc:sldMk cId="1362600534" sldId="2147478788"/>
            <ac:spMk id="10" creationId="{6E8F4A14-2D4E-64D9-EE4F-E4DDC08D6F95}"/>
          </ac:spMkLst>
        </pc:spChg>
        <pc:spChg chg="mod">
          <ac:chgData name="KILANI, Yassine" userId="1aebaf60-5a20-455f-b28d-267e961535b9" providerId="ADAL" clId="{ABA46E8A-A96D-4E1A-9572-B85345154F3A}" dt="2024-02-16T14:16:39.349" v="42"/>
          <ac:spMkLst>
            <pc:docMk/>
            <pc:sldMk cId="1362600534" sldId="2147478788"/>
            <ac:spMk id="11" creationId="{12B6CBE8-10B6-B7C5-287D-40C5AF47AF2C}"/>
          </ac:spMkLst>
        </pc:spChg>
        <pc:spChg chg="mod">
          <ac:chgData name="KILANI, Yassine" userId="1aebaf60-5a20-455f-b28d-267e961535b9" providerId="ADAL" clId="{ABA46E8A-A96D-4E1A-9572-B85345154F3A}" dt="2024-02-16T14:16:39.349" v="42"/>
          <ac:spMkLst>
            <pc:docMk/>
            <pc:sldMk cId="1362600534" sldId="2147478788"/>
            <ac:spMk id="12" creationId="{58ECCA3A-B813-3A93-AE52-E6FDB902BA24}"/>
          </ac:spMkLst>
        </pc:spChg>
        <pc:spChg chg="mod">
          <ac:chgData name="KILANI, Yassine" userId="1aebaf60-5a20-455f-b28d-267e961535b9" providerId="ADAL" clId="{ABA46E8A-A96D-4E1A-9572-B85345154F3A}" dt="2024-02-16T14:16:39.349" v="42"/>
          <ac:spMkLst>
            <pc:docMk/>
            <pc:sldMk cId="1362600534" sldId="2147478788"/>
            <ac:spMk id="13" creationId="{33DC69DD-2B31-A119-9391-996ED2558CF5}"/>
          </ac:spMkLst>
        </pc:spChg>
        <pc:spChg chg="mod">
          <ac:chgData name="KILANI, Yassine" userId="1aebaf60-5a20-455f-b28d-267e961535b9" providerId="ADAL" clId="{ABA46E8A-A96D-4E1A-9572-B85345154F3A}" dt="2024-02-16T14:16:39.349" v="42"/>
          <ac:spMkLst>
            <pc:docMk/>
            <pc:sldMk cId="1362600534" sldId="2147478788"/>
            <ac:spMk id="14" creationId="{20269A48-EB08-6CA0-01CE-AAC1ADF68BC4}"/>
          </ac:spMkLst>
        </pc:spChg>
        <pc:spChg chg="mod">
          <ac:chgData name="KILANI, Yassine" userId="1aebaf60-5a20-455f-b28d-267e961535b9" providerId="ADAL" clId="{ABA46E8A-A96D-4E1A-9572-B85345154F3A}" dt="2024-02-16T14:16:39.349" v="42"/>
          <ac:spMkLst>
            <pc:docMk/>
            <pc:sldMk cId="1362600534" sldId="2147478788"/>
            <ac:spMk id="15" creationId="{DFCF2C09-377D-7070-3C16-D2B423974B3F}"/>
          </ac:spMkLst>
        </pc:spChg>
        <pc:spChg chg="mod">
          <ac:chgData name="KILANI, Yassine" userId="1aebaf60-5a20-455f-b28d-267e961535b9" providerId="ADAL" clId="{ABA46E8A-A96D-4E1A-9572-B85345154F3A}" dt="2024-02-16T14:16:39.349" v="42"/>
          <ac:spMkLst>
            <pc:docMk/>
            <pc:sldMk cId="1362600534" sldId="2147478788"/>
            <ac:spMk id="16" creationId="{F54BB80C-0D92-0893-6B6F-245A264AE0A9}"/>
          </ac:spMkLst>
        </pc:spChg>
        <pc:spChg chg="mod">
          <ac:chgData name="KILANI, Yassine" userId="1aebaf60-5a20-455f-b28d-267e961535b9" providerId="ADAL" clId="{ABA46E8A-A96D-4E1A-9572-B85345154F3A}" dt="2024-02-16T14:16:39.349" v="42"/>
          <ac:spMkLst>
            <pc:docMk/>
            <pc:sldMk cId="1362600534" sldId="2147478788"/>
            <ac:spMk id="17" creationId="{F591B644-80B7-F480-0FEA-E46F6E396E2E}"/>
          </ac:spMkLst>
        </pc:spChg>
        <pc:spChg chg="mod">
          <ac:chgData name="KILANI, Yassine" userId="1aebaf60-5a20-455f-b28d-267e961535b9" providerId="ADAL" clId="{ABA46E8A-A96D-4E1A-9572-B85345154F3A}" dt="2024-02-16T14:16:39.349" v="42"/>
          <ac:spMkLst>
            <pc:docMk/>
            <pc:sldMk cId="1362600534" sldId="2147478788"/>
            <ac:spMk id="21" creationId="{7A4FF351-DD13-CB57-3654-A67C1A338219}"/>
          </ac:spMkLst>
        </pc:spChg>
        <pc:spChg chg="mod">
          <ac:chgData name="KILANI, Yassine" userId="1aebaf60-5a20-455f-b28d-267e961535b9" providerId="ADAL" clId="{ABA46E8A-A96D-4E1A-9572-B85345154F3A}" dt="2024-02-16T14:16:39.349" v="42"/>
          <ac:spMkLst>
            <pc:docMk/>
            <pc:sldMk cId="1362600534" sldId="2147478788"/>
            <ac:spMk id="22" creationId="{09FDD62A-5F27-6121-FF05-C2C139BF906A}"/>
          </ac:spMkLst>
        </pc:spChg>
        <pc:spChg chg="mod">
          <ac:chgData name="KILANI, Yassine" userId="1aebaf60-5a20-455f-b28d-267e961535b9" providerId="ADAL" clId="{ABA46E8A-A96D-4E1A-9572-B85345154F3A}" dt="2024-02-16T14:16:39.349" v="42"/>
          <ac:spMkLst>
            <pc:docMk/>
            <pc:sldMk cId="1362600534" sldId="2147478788"/>
            <ac:spMk id="23" creationId="{547EE23D-B8AD-68AC-355A-3841F0D3A0E2}"/>
          </ac:spMkLst>
        </pc:spChg>
        <pc:spChg chg="mod">
          <ac:chgData name="KILANI, Yassine" userId="1aebaf60-5a20-455f-b28d-267e961535b9" providerId="ADAL" clId="{ABA46E8A-A96D-4E1A-9572-B85345154F3A}" dt="2024-02-16T14:16:39.349" v="42"/>
          <ac:spMkLst>
            <pc:docMk/>
            <pc:sldMk cId="1362600534" sldId="2147478788"/>
            <ac:spMk id="24" creationId="{91C19099-5E45-0B92-FC9B-29ADCA4F6918}"/>
          </ac:spMkLst>
        </pc:spChg>
        <pc:spChg chg="mod">
          <ac:chgData name="KILANI, Yassine" userId="1aebaf60-5a20-455f-b28d-267e961535b9" providerId="ADAL" clId="{ABA46E8A-A96D-4E1A-9572-B85345154F3A}" dt="2024-02-16T14:16:39.349" v="42"/>
          <ac:spMkLst>
            <pc:docMk/>
            <pc:sldMk cId="1362600534" sldId="2147478788"/>
            <ac:spMk id="25" creationId="{DFE2D959-CC0D-4449-11B3-390521EEA086}"/>
          </ac:spMkLst>
        </pc:spChg>
        <pc:spChg chg="add del mod">
          <ac:chgData name="KILANI, Yassine" userId="1aebaf60-5a20-455f-b28d-267e961535b9" providerId="ADAL" clId="{ABA46E8A-A96D-4E1A-9572-B85345154F3A}" dt="2024-02-16T14:17:02.249" v="46" actId="478"/>
          <ac:spMkLst>
            <pc:docMk/>
            <pc:sldMk cId="1362600534" sldId="2147478788"/>
            <ac:spMk id="29" creationId="{2CDE926C-2B9A-9260-8452-5A6C31156339}"/>
          </ac:spMkLst>
        </pc:spChg>
        <pc:grpChg chg="add mod">
          <ac:chgData name="KILANI, Yassine" userId="1aebaf60-5a20-455f-b28d-267e961535b9" providerId="ADAL" clId="{ABA46E8A-A96D-4E1A-9572-B85345154F3A}" dt="2024-02-16T14:16:39.349" v="42"/>
          <ac:grpSpMkLst>
            <pc:docMk/>
            <pc:sldMk cId="1362600534" sldId="2147478788"/>
            <ac:grpSpMk id="5" creationId="{856980BE-A57A-1EC8-F6A9-001A951EC2A3}"/>
          </ac:grpSpMkLst>
        </pc:grpChg>
        <pc:picChg chg="mod">
          <ac:chgData name="KILANI, Yassine" userId="1aebaf60-5a20-455f-b28d-267e961535b9" providerId="ADAL" clId="{ABA46E8A-A96D-4E1A-9572-B85345154F3A}" dt="2024-02-16T14:16:39.349" v="42"/>
          <ac:picMkLst>
            <pc:docMk/>
            <pc:sldMk cId="1362600534" sldId="2147478788"/>
            <ac:picMk id="18" creationId="{2C5BF792-6B72-8903-A22E-41637AACF9D1}"/>
          </ac:picMkLst>
        </pc:picChg>
        <pc:picChg chg="mod">
          <ac:chgData name="KILANI, Yassine" userId="1aebaf60-5a20-455f-b28d-267e961535b9" providerId="ADAL" clId="{ABA46E8A-A96D-4E1A-9572-B85345154F3A}" dt="2024-02-16T14:16:39.349" v="42"/>
          <ac:picMkLst>
            <pc:docMk/>
            <pc:sldMk cId="1362600534" sldId="2147478788"/>
            <ac:picMk id="19" creationId="{071C1BBD-E534-144A-6C08-7F038CCA92F9}"/>
          </ac:picMkLst>
        </pc:picChg>
        <pc:picChg chg="mod">
          <ac:chgData name="KILANI, Yassine" userId="1aebaf60-5a20-455f-b28d-267e961535b9" providerId="ADAL" clId="{ABA46E8A-A96D-4E1A-9572-B85345154F3A}" dt="2024-02-16T14:16:39.349" v="42"/>
          <ac:picMkLst>
            <pc:docMk/>
            <pc:sldMk cId="1362600534" sldId="2147478788"/>
            <ac:picMk id="20" creationId="{2C791D1A-DFA4-B671-307D-ECF32E6384D1}"/>
          </ac:picMkLst>
        </pc:picChg>
        <pc:picChg chg="mod">
          <ac:chgData name="KILANI, Yassine" userId="1aebaf60-5a20-455f-b28d-267e961535b9" providerId="ADAL" clId="{ABA46E8A-A96D-4E1A-9572-B85345154F3A}" dt="2024-02-16T14:16:39.349" v="42"/>
          <ac:picMkLst>
            <pc:docMk/>
            <pc:sldMk cId="1362600534" sldId="2147478788"/>
            <ac:picMk id="26" creationId="{B20380BA-6FCA-6286-AD78-D10B720DEFB8}"/>
          </ac:picMkLst>
        </pc:picChg>
        <pc:picChg chg="mod">
          <ac:chgData name="KILANI, Yassine" userId="1aebaf60-5a20-455f-b28d-267e961535b9" providerId="ADAL" clId="{ABA46E8A-A96D-4E1A-9572-B85345154F3A}" dt="2024-02-16T14:16:39.349" v="42"/>
          <ac:picMkLst>
            <pc:docMk/>
            <pc:sldMk cId="1362600534" sldId="2147478788"/>
            <ac:picMk id="27" creationId="{F8108F1C-4674-D597-C081-C0F4B4C9603B}"/>
          </ac:picMkLst>
        </pc:picChg>
        <pc:extLst>
          <p:ext xmlns:p="http://schemas.openxmlformats.org/presentationml/2006/main" uri="{D6D511B9-2390-475A-947B-AFAB55BFBCF1}">
            <pc226:cmChg xmlns:pc226="http://schemas.microsoft.com/office/powerpoint/2022/06/main/command" chg="mod">
              <pc226:chgData name="KILANI, Yassine" userId="1aebaf60-5a20-455f-b28d-267e961535b9" providerId="ADAL" clId="{ABA46E8A-A96D-4E1A-9572-B85345154F3A}" dt="2024-02-16T14:16:43.620" v="44" actId="2056"/>
              <pc2:cmMkLst xmlns:pc2="http://schemas.microsoft.com/office/powerpoint/2019/9/main/command">
                <pc:docMk/>
                <pc:sldMk cId="1362600534" sldId="2147478788"/>
                <pc2:cmMk id="{1EF768FB-0449-4DEB-9DC4-EAA88BFA9C1D}"/>
              </pc2:cmMkLst>
            </pc226:cmChg>
          </p:ext>
        </pc:extLst>
      </pc:sldChg>
      <pc:sldChg chg="addSp modSp mod">
        <pc:chgData name="KILANI, Yassine" userId="1aebaf60-5a20-455f-b28d-267e961535b9" providerId="ADAL" clId="{ABA46E8A-A96D-4E1A-9572-B85345154F3A}" dt="2024-02-16T16:02:26.111" v="2084" actId="20577"/>
        <pc:sldMkLst>
          <pc:docMk/>
          <pc:sldMk cId="1303457090" sldId="2147478791"/>
        </pc:sldMkLst>
        <pc:spChg chg="add mod">
          <ac:chgData name="KILANI, Yassine" userId="1aebaf60-5a20-455f-b28d-267e961535b9" providerId="ADAL" clId="{ABA46E8A-A96D-4E1A-9572-B85345154F3A}" dt="2024-02-16T16:02:20.932" v="2082" actId="20577"/>
          <ac:spMkLst>
            <pc:docMk/>
            <pc:sldMk cId="1303457090" sldId="2147478791"/>
            <ac:spMk id="3" creationId="{4D40B6C0-3F39-C9FF-5852-876E7E154A99}"/>
          </ac:spMkLst>
        </pc:spChg>
        <pc:graphicFrameChg chg="modGraphic">
          <ac:chgData name="KILANI, Yassine" userId="1aebaf60-5a20-455f-b28d-267e961535b9" providerId="ADAL" clId="{ABA46E8A-A96D-4E1A-9572-B85345154F3A}" dt="2024-02-16T16:02:26.111" v="2084" actId="20577"/>
          <ac:graphicFrameMkLst>
            <pc:docMk/>
            <pc:sldMk cId="1303457090" sldId="2147478791"/>
            <ac:graphicFrameMk id="7" creationId="{92C26AF8-2405-9EDB-AF57-1F995BCCE876}"/>
          </ac:graphicFrameMkLst>
        </pc:graphicFrameChg>
        <pc:graphicFrameChg chg="modGraphic">
          <ac:chgData name="KILANI, Yassine" userId="1aebaf60-5a20-455f-b28d-267e961535b9" providerId="ADAL" clId="{ABA46E8A-A96D-4E1A-9572-B85345154F3A}" dt="2024-02-16T16:02:24.255" v="2083" actId="20577"/>
          <ac:graphicFrameMkLst>
            <pc:docMk/>
            <pc:sldMk cId="1303457090" sldId="2147478791"/>
            <ac:graphicFrameMk id="11" creationId="{5881EFAB-1147-F18A-6EB2-5B3658D2AA8F}"/>
          </ac:graphicFrameMkLst>
        </pc:graphicFrameChg>
      </pc:sldChg>
      <pc:sldChg chg="addSp delSp modSp mod">
        <pc:chgData name="KILANI, Yassine" userId="1aebaf60-5a20-455f-b28d-267e961535b9" providerId="ADAL" clId="{ABA46E8A-A96D-4E1A-9572-B85345154F3A}" dt="2024-02-16T15:56:27.882" v="1998" actId="1076"/>
        <pc:sldMkLst>
          <pc:docMk/>
          <pc:sldMk cId="2017698475" sldId="2147478792"/>
        </pc:sldMkLst>
        <pc:spChg chg="mod">
          <ac:chgData name="KILANI, Yassine" userId="1aebaf60-5a20-455f-b28d-267e961535b9" providerId="ADAL" clId="{ABA46E8A-A96D-4E1A-9572-B85345154F3A}" dt="2024-02-16T15:56:08.200" v="1992" actId="1076"/>
          <ac:spMkLst>
            <pc:docMk/>
            <pc:sldMk cId="2017698475" sldId="2147478792"/>
            <ac:spMk id="4" creationId="{1D4770D0-3029-8D3A-17E1-00F9613F515C}"/>
          </ac:spMkLst>
        </pc:spChg>
        <pc:spChg chg="mod">
          <ac:chgData name="KILANI, Yassine" userId="1aebaf60-5a20-455f-b28d-267e961535b9" providerId="ADAL" clId="{ABA46E8A-A96D-4E1A-9572-B85345154F3A}" dt="2024-02-16T15:56:06.164" v="1991" actId="1076"/>
          <ac:spMkLst>
            <pc:docMk/>
            <pc:sldMk cId="2017698475" sldId="2147478792"/>
            <ac:spMk id="40" creationId="{E3BA2324-879D-1E36-C5EF-44039E7537D2}"/>
          </ac:spMkLst>
        </pc:spChg>
        <pc:cxnChg chg="add mod">
          <ac:chgData name="KILANI, Yassine" userId="1aebaf60-5a20-455f-b28d-267e961535b9" providerId="ADAL" clId="{ABA46E8A-A96D-4E1A-9572-B85345154F3A}" dt="2024-02-16T15:56:27.882" v="1998" actId="1076"/>
          <ac:cxnSpMkLst>
            <pc:docMk/>
            <pc:sldMk cId="2017698475" sldId="2147478792"/>
            <ac:cxnSpMk id="13" creationId="{314AA033-28A7-04A4-E8BE-C81427560FFB}"/>
          </ac:cxnSpMkLst>
        </pc:cxnChg>
        <pc:cxnChg chg="mod">
          <ac:chgData name="KILANI, Yassine" userId="1aebaf60-5a20-455f-b28d-267e961535b9" providerId="ADAL" clId="{ABA46E8A-A96D-4E1A-9572-B85345154F3A}" dt="2024-02-16T15:56:00.195" v="1989" actId="1076"/>
          <ac:cxnSpMkLst>
            <pc:docMk/>
            <pc:sldMk cId="2017698475" sldId="2147478792"/>
            <ac:cxnSpMk id="41" creationId="{7934D464-285A-4296-8F5D-AA3DDC2FEEF0}"/>
          </ac:cxnSpMkLst>
        </pc:cxnChg>
        <pc:cxnChg chg="mod">
          <ac:chgData name="KILANI, Yassine" userId="1aebaf60-5a20-455f-b28d-267e961535b9" providerId="ADAL" clId="{ABA46E8A-A96D-4E1A-9572-B85345154F3A}" dt="2024-02-16T15:56:10.992" v="1993" actId="14100"/>
          <ac:cxnSpMkLst>
            <pc:docMk/>
            <pc:sldMk cId="2017698475" sldId="2147478792"/>
            <ac:cxnSpMk id="42" creationId="{F863CBED-A44C-90F5-FFBF-CBBDB64D4EA0}"/>
          </ac:cxnSpMkLst>
        </pc:cxnChg>
        <pc:cxnChg chg="del">
          <ac:chgData name="KILANI, Yassine" userId="1aebaf60-5a20-455f-b28d-267e961535b9" providerId="ADAL" clId="{ABA46E8A-A96D-4E1A-9572-B85345154F3A}" dt="2024-02-16T15:56:16.369" v="1995" actId="478"/>
          <ac:cxnSpMkLst>
            <pc:docMk/>
            <pc:sldMk cId="2017698475" sldId="2147478792"/>
            <ac:cxnSpMk id="43" creationId="{F7D151B9-37F0-E60E-ABD2-B6C5B5B469A4}"/>
          </ac:cxnSpMkLst>
        </pc:cxnChg>
      </pc:sldChg>
      <pc:sldChg chg="addSp modSp mod">
        <pc:chgData name="KILANI, Yassine" userId="1aebaf60-5a20-455f-b28d-267e961535b9" providerId="ADAL" clId="{ABA46E8A-A96D-4E1A-9572-B85345154F3A}" dt="2024-02-16T16:03:22.645" v="2091" actId="20577"/>
        <pc:sldMkLst>
          <pc:docMk/>
          <pc:sldMk cId="2467275502" sldId="2147481381"/>
        </pc:sldMkLst>
        <pc:spChg chg="add mod">
          <ac:chgData name="KILANI, Yassine" userId="1aebaf60-5a20-455f-b28d-267e961535b9" providerId="ADAL" clId="{ABA46E8A-A96D-4E1A-9572-B85345154F3A}" dt="2024-02-16T16:02:44.383" v="2085"/>
          <ac:spMkLst>
            <pc:docMk/>
            <pc:sldMk cId="2467275502" sldId="2147481381"/>
            <ac:spMk id="5" creationId="{D06589FA-0DCE-0151-6AD7-B4F1CEF33023}"/>
          </ac:spMkLst>
        </pc:spChg>
        <pc:graphicFrameChg chg="modGraphic">
          <ac:chgData name="KILANI, Yassine" userId="1aebaf60-5a20-455f-b28d-267e961535b9" providerId="ADAL" clId="{ABA46E8A-A96D-4E1A-9572-B85345154F3A}" dt="2024-02-16T16:03:21.203" v="2090" actId="20577"/>
          <ac:graphicFrameMkLst>
            <pc:docMk/>
            <pc:sldMk cId="2467275502" sldId="2147481381"/>
            <ac:graphicFrameMk id="4" creationId="{09F02517-2FF7-6613-2728-0FEF57FC42F7}"/>
          </ac:graphicFrameMkLst>
        </pc:graphicFrameChg>
        <pc:graphicFrameChg chg="modGraphic">
          <ac:chgData name="KILANI, Yassine" userId="1aebaf60-5a20-455f-b28d-267e961535b9" providerId="ADAL" clId="{ABA46E8A-A96D-4E1A-9572-B85345154F3A}" dt="2024-02-16T16:03:18.974" v="2089" actId="20577"/>
          <ac:graphicFrameMkLst>
            <pc:docMk/>
            <pc:sldMk cId="2467275502" sldId="2147481381"/>
            <ac:graphicFrameMk id="6" creationId="{D3241E9E-640C-D1FC-20D7-923C981FA097}"/>
          </ac:graphicFrameMkLst>
        </pc:graphicFrameChg>
        <pc:graphicFrameChg chg="modGraphic">
          <ac:chgData name="KILANI, Yassine" userId="1aebaf60-5a20-455f-b28d-267e961535b9" providerId="ADAL" clId="{ABA46E8A-A96D-4E1A-9572-B85345154F3A}" dt="2024-02-16T16:02:47.322" v="2086" actId="20577"/>
          <ac:graphicFrameMkLst>
            <pc:docMk/>
            <pc:sldMk cId="2467275502" sldId="2147481381"/>
            <ac:graphicFrameMk id="7" creationId="{92C26AF8-2405-9EDB-AF57-1F995BCCE876}"/>
          </ac:graphicFrameMkLst>
        </pc:graphicFrameChg>
        <pc:graphicFrameChg chg="modGraphic">
          <ac:chgData name="KILANI, Yassine" userId="1aebaf60-5a20-455f-b28d-267e961535b9" providerId="ADAL" clId="{ABA46E8A-A96D-4E1A-9572-B85345154F3A}" dt="2024-02-16T16:02:48.802" v="2087" actId="20577"/>
          <ac:graphicFrameMkLst>
            <pc:docMk/>
            <pc:sldMk cId="2467275502" sldId="2147481381"/>
            <ac:graphicFrameMk id="8" creationId="{FFEB103E-C13F-DAA8-0F7D-3D123E4BF5A8}"/>
          </ac:graphicFrameMkLst>
        </pc:graphicFrameChg>
        <pc:graphicFrameChg chg="modGraphic">
          <ac:chgData name="KILANI, Yassine" userId="1aebaf60-5a20-455f-b28d-267e961535b9" providerId="ADAL" clId="{ABA46E8A-A96D-4E1A-9572-B85345154F3A}" dt="2024-02-16T16:03:22.645" v="2091" actId="20577"/>
          <ac:graphicFrameMkLst>
            <pc:docMk/>
            <pc:sldMk cId="2467275502" sldId="2147481381"/>
            <ac:graphicFrameMk id="13" creationId="{8C8AC08E-D829-CFD7-76A9-EB5C1EA9DDA1}"/>
          </ac:graphicFrameMkLst>
        </pc:graphicFrameChg>
        <pc:graphicFrameChg chg="modGraphic">
          <ac:chgData name="KILANI, Yassine" userId="1aebaf60-5a20-455f-b28d-267e961535b9" providerId="ADAL" clId="{ABA46E8A-A96D-4E1A-9572-B85345154F3A}" dt="2024-02-16T16:02:50.143" v="2088" actId="20577"/>
          <ac:graphicFrameMkLst>
            <pc:docMk/>
            <pc:sldMk cId="2467275502" sldId="2147481381"/>
            <ac:graphicFrameMk id="14" creationId="{D8362BF0-94B9-59D0-A294-B7B3E21ABA53}"/>
          </ac:graphicFrameMkLst>
        </pc:graphicFrameChg>
      </pc:sldChg>
      <pc:sldChg chg="addSp delSp modSp new mod ord">
        <pc:chgData name="KILANI, Yassine" userId="1aebaf60-5a20-455f-b28d-267e961535b9" providerId="ADAL" clId="{ABA46E8A-A96D-4E1A-9572-B85345154F3A}" dt="2024-02-16T15:51:56.169" v="1988"/>
        <pc:sldMkLst>
          <pc:docMk/>
          <pc:sldMk cId="4155631524" sldId="2147481406"/>
        </pc:sldMkLst>
        <pc:spChg chg="del">
          <ac:chgData name="KILANI, Yassine" userId="1aebaf60-5a20-455f-b28d-267e961535b9" providerId="ADAL" clId="{ABA46E8A-A96D-4E1A-9572-B85345154F3A}" dt="2024-02-16T14:19:24.474" v="115" actId="478"/>
          <ac:spMkLst>
            <pc:docMk/>
            <pc:sldMk cId="4155631524" sldId="2147481406"/>
            <ac:spMk id="2" creationId="{A14B6D11-FCB4-017A-2D04-7BC5C04A13C4}"/>
          </ac:spMkLst>
        </pc:spChg>
        <pc:spChg chg="mod">
          <ac:chgData name="KILANI, Yassine" userId="1aebaf60-5a20-455f-b28d-267e961535b9" providerId="ADAL" clId="{ABA46E8A-A96D-4E1A-9572-B85345154F3A}" dt="2024-02-16T14:42:37.109" v="910" actId="20577"/>
          <ac:spMkLst>
            <pc:docMk/>
            <pc:sldMk cId="4155631524" sldId="2147481406"/>
            <ac:spMk id="3" creationId="{F0916364-2A47-ABBE-88BA-BEE30D35516C}"/>
          </ac:spMkLst>
        </pc:spChg>
        <pc:spChg chg="add mod ord">
          <ac:chgData name="KILANI, Yassine" userId="1aebaf60-5a20-455f-b28d-267e961535b9" providerId="ADAL" clId="{ABA46E8A-A96D-4E1A-9572-B85345154F3A}" dt="2024-02-16T15:41:02.335" v="1862" actId="571"/>
          <ac:spMkLst>
            <pc:docMk/>
            <pc:sldMk cId="4155631524" sldId="2147481406"/>
            <ac:spMk id="4" creationId="{6C07CD79-9B0D-5F2D-2167-E22FB202B9D7}"/>
          </ac:spMkLst>
        </pc:spChg>
        <pc:spChg chg="add mod">
          <ac:chgData name="KILANI, Yassine" userId="1aebaf60-5a20-455f-b28d-267e961535b9" providerId="ADAL" clId="{ABA46E8A-A96D-4E1A-9572-B85345154F3A}" dt="2024-02-16T15:41:02.335" v="1862" actId="571"/>
          <ac:spMkLst>
            <pc:docMk/>
            <pc:sldMk cId="4155631524" sldId="2147481406"/>
            <ac:spMk id="5" creationId="{FE492790-C732-025E-0211-274A67D6A7E1}"/>
          </ac:spMkLst>
        </pc:spChg>
        <pc:spChg chg="add del mod">
          <ac:chgData name="KILANI, Yassine" userId="1aebaf60-5a20-455f-b28d-267e961535b9" providerId="ADAL" clId="{ABA46E8A-A96D-4E1A-9572-B85345154F3A}" dt="2024-02-16T14:26:59.997" v="268" actId="478"/>
          <ac:spMkLst>
            <pc:docMk/>
            <pc:sldMk cId="4155631524" sldId="2147481406"/>
            <ac:spMk id="7" creationId="{2DA154C2-83FF-34EC-045F-C1958DDACB7D}"/>
          </ac:spMkLst>
        </pc:spChg>
        <pc:spChg chg="add mod">
          <ac:chgData name="KILANI, Yassine" userId="1aebaf60-5a20-455f-b28d-267e961535b9" providerId="ADAL" clId="{ABA46E8A-A96D-4E1A-9572-B85345154F3A}" dt="2024-02-16T15:41:02.335" v="1862" actId="571"/>
          <ac:spMkLst>
            <pc:docMk/>
            <pc:sldMk cId="4155631524" sldId="2147481406"/>
            <ac:spMk id="8" creationId="{98689356-EABA-2DC3-1526-EF665AB19A1E}"/>
          </ac:spMkLst>
        </pc:spChg>
        <pc:spChg chg="add mod">
          <ac:chgData name="KILANI, Yassine" userId="1aebaf60-5a20-455f-b28d-267e961535b9" providerId="ADAL" clId="{ABA46E8A-A96D-4E1A-9572-B85345154F3A}" dt="2024-02-16T15:41:02.335" v="1862" actId="571"/>
          <ac:spMkLst>
            <pc:docMk/>
            <pc:sldMk cId="4155631524" sldId="2147481406"/>
            <ac:spMk id="9" creationId="{DD4E3571-C6F0-63E5-2793-0976C6E3D5C9}"/>
          </ac:spMkLst>
        </pc:spChg>
        <pc:spChg chg="add mod">
          <ac:chgData name="KILANI, Yassine" userId="1aebaf60-5a20-455f-b28d-267e961535b9" providerId="ADAL" clId="{ABA46E8A-A96D-4E1A-9572-B85345154F3A}" dt="2024-02-16T15:41:02.335" v="1862" actId="571"/>
          <ac:spMkLst>
            <pc:docMk/>
            <pc:sldMk cId="4155631524" sldId="2147481406"/>
            <ac:spMk id="10" creationId="{2519C54E-B256-F0C5-26B7-2C1C2EE02706}"/>
          </ac:spMkLst>
        </pc:spChg>
        <pc:spChg chg="add mod">
          <ac:chgData name="KILANI, Yassine" userId="1aebaf60-5a20-455f-b28d-267e961535b9" providerId="ADAL" clId="{ABA46E8A-A96D-4E1A-9572-B85345154F3A}" dt="2024-02-16T15:41:02.335" v="1862" actId="571"/>
          <ac:spMkLst>
            <pc:docMk/>
            <pc:sldMk cId="4155631524" sldId="2147481406"/>
            <ac:spMk id="11" creationId="{7E022068-C3B8-3818-7D0D-5361F097F1FD}"/>
          </ac:spMkLst>
        </pc:spChg>
        <pc:spChg chg="add mod">
          <ac:chgData name="KILANI, Yassine" userId="1aebaf60-5a20-455f-b28d-267e961535b9" providerId="ADAL" clId="{ABA46E8A-A96D-4E1A-9572-B85345154F3A}" dt="2024-02-16T15:41:02.335" v="1862" actId="571"/>
          <ac:spMkLst>
            <pc:docMk/>
            <pc:sldMk cId="4155631524" sldId="2147481406"/>
            <ac:spMk id="12" creationId="{B085FFCC-D1DF-29A7-F94E-BFBAB8955926}"/>
          </ac:spMkLst>
        </pc:spChg>
        <pc:spChg chg="add mod">
          <ac:chgData name="KILANI, Yassine" userId="1aebaf60-5a20-455f-b28d-267e961535b9" providerId="ADAL" clId="{ABA46E8A-A96D-4E1A-9572-B85345154F3A}" dt="2024-02-16T15:41:02.335" v="1862" actId="571"/>
          <ac:spMkLst>
            <pc:docMk/>
            <pc:sldMk cId="4155631524" sldId="2147481406"/>
            <ac:spMk id="13" creationId="{31FBD476-4E8B-E548-9B43-D8BFAF1BA2A3}"/>
          </ac:spMkLst>
        </pc:spChg>
        <pc:spChg chg="add mod">
          <ac:chgData name="KILANI, Yassine" userId="1aebaf60-5a20-455f-b28d-267e961535b9" providerId="ADAL" clId="{ABA46E8A-A96D-4E1A-9572-B85345154F3A}" dt="2024-02-16T15:41:02.335" v="1862" actId="571"/>
          <ac:spMkLst>
            <pc:docMk/>
            <pc:sldMk cId="4155631524" sldId="2147481406"/>
            <ac:spMk id="14" creationId="{2864D3BE-C5DA-2635-FEB7-B6238DD4161B}"/>
          </ac:spMkLst>
        </pc:spChg>
        <pc:spChg chg="add mod">
          <ac:chgData name="KILANI, Yassine" userId="1aebaf60-5a20-455f-b28d-267e961535b9" providerId="ADAL" clId="{ABA46E8A-A96D-4E1A-9572-B85345154F3A}" dt="2024-02-16T15:41:02.335" v="1862" actId="571"/>
          <ac:spMkLst>
            <pc:docMk/>
            <pc:sldMk cId="4155631524" sldId="2147481406"/>
            <ac:spMk id="15" creationId="{49C69A98-B182-D674-76B9-D42331396FB8}"/>
          </ac:spMkLst>
        </pc:spChg>
        <pc:spChg chg="add del mod">
          <ac:chgData name="KILANI, Yassine" userId="1aebaf60-5a20-455f-b28d-267e961535b9" providerId="ADAL" clId="{ABA46E8A-A96D-4E1A-9572-B85345154F3A}" dt="2024-02-16T15:05:18.591" v="1448" actId="478"/>
          <ac:spMkLst>
            <pc:docMk/>
            <pc:sldMk cId="4155631524" sldId="2147481406"/>
            <ac:spMk id="16" creationId="{A952C974-3023-28F8-B0E8-27067D34C5AC}"/>
          </ac:spMkLst>
        </pc:spChg>
        <pc:spChg chg="add del mod">
          <ac:chgData name="KILANI, Yassine" userId="1aebaf60-5a20-455f-b28d-267e961535b9" providerId="ADAL" clId="{ABA46E8A-A96D-4E1A-9572-B85345154F3A}" dt="2024-02-16T14:59:17.814" v="1115" actId="478"/>
          <ac:spMkLst>
            <pc:docMk/>
            <pc:sldMk cId="4155631524" sldId="2147481406"/>
            <ac:spMk id="17" creationId="{EA50EB97-6E30-2F0D-353A-CF811D7D7848}"/>
          </ac:spMkLst>
        </pc:spChg>
        <pc:spChg chg="add mod">
          <ac:chgData name="KILANI, Yassine" userId="1aebaf60-5a20-455f-b28d-267e961535b9" providerId="ADAL" clId="{ABA46E8A-A96D-4E1A-9572-B85345154F3A}" dt="2024-02-16T14:57:45.603" v="1054" actId="571"/>
          <ac:spMkLst>
            <pc:docMk/>
            <pc:sldMk cId="4155631524" sldId="2147481406"/>
            <ac:spMk id="18" creationId="{C5641E23-6D5C-FE95-FA88-6F030B7E913A}"/>
          </ac:spMkLst>
        </pc:spChg>
        <pc:spChg chg="add del mod">
          <ac:chgData name="KILANI, Yassine" userId="1aebaf60-5a20-455f-b28d-267e961535b9" providerId="ADAL" clId="{ABA46E8A-A96D-4E1A-9572-B85345154F3A}" dt="2024-02-16T15:01:54.297" v="1274" actId="478"/>
          <ac:spMkLst>
            <pc:docMk/>
            <pc:sldMk cId="4155631524" sldId="2147481406"/>
            <ac:spMk id="19" creationId="{B6BB0354-307D-0757-1CE6-3155FA3C131D}"/>
          </ac:spMkLst>
        </pc:spChg>
        <pc:spChg chg="add mod">
          <ac:chgData name="KILANI, Yassine" userId="1aebaf60-5a20-455f-b28d-267e961535b9" providerId="ADAL" clId="{ABA46E8A-A96D-4E1A-9572-B85345154F3A}" dt="2024-02-16T15:41:02.335" v="1862" actId="571"/>
          <ac:spMkLst>
            <pc:docMk/>
            <pc:sldMk cId="4155631524" sldId="2147481406"/>
            <ac:spMk id="22" creationId="{AB66C300-4A6B-CFCA-125A-2050450616F7}"/>
          </ac:spMkLst>
        </pc:spChg>
        <pc:grpChg chg="add mod">
          <ac:chgData name="KILANI, Yassine" userId="1aebaf60-5a20-455f-b28d-267e961535b9" providerId="ADAL" clId="{ABA46E8A-A96D-4E1A-9572-B85345154F3A}" dt="2024-02-16T15:41:02.335" v="1862" actId="571"/>
          <ac:grpSpMkLst>
            <pc:docMk/>
            <pc:sldMk cId="4155631524" sldId="2147481406"/>
            <ac:grpSpMk id="6" creationId="{AEE69B89-EDA2-7F06-5A7B-358F8A9F231C}"/>
          </ac:grpSpMkLst>
        </pc:grpChg>
        <pc:grpChg chg="add mod">
          <ac:chgData name="KILANI, Yassine" userId="1aebaf60-5a20-455f-b28d-267e961535b9" providerId="ADAL" clId="{ABA46E8A-A96D-4E1A-9572-B85345154F3A}" dt="2024-02-16T15:41:02.335" v="1862" actId="571"/>
          <ac:grpSpMkLst>
            <pc:docMk/>
            <pc:sldMk cId="4155631524" sldId="2147481406"/>
            <ac:grpSpMk id="20" creationId="{26F4085F-4F63-49A4-157A-A27146EEFD46}"/>
          </ac:grpSpMkLst>
        </pc:grpChg>
        <pc:grpChg chg="add mod">
          <ac:chgData name="KILANI, Yassine" userId="1aebaf60-5a20-455f-b28d-267e961535b9" providerId="ADAL" clId="{ABA46E8A-A96D-4E1A-9572-B85345154F3A}" dt="2024-02-16T15:41:02.335" v="1862" actId="571"/>
          <ac:grpSpMkLst>
            <pc:docMk/>
            <pc:sldMk cId="4155631524" sldId="2147481406"/>
            <ac:grpSpMk id="21" creationId="{B1A38F28-3AE9-0F73-D59F-F915D68C24DC}"/>
          </ac:grpSpMkLst>
        </pc:grpChg>
        <pc:picChg chg="add mod">
          <ac:chgData name="KILANI, Yassine" userId="1aebaf60-5a20-455f-b28d-267e961535b9" providerId="ADAL" clId="{ABA46E8A-A96D-4E1A-9572-B85345154F3A}" dt="2024-02-16T15:41:02.335" v="1862" actId="571"/>
          <ac:picMkLst>
            <pc:docMk/>
            <pc:sldMk cId="4155631524" sldId="2147481406"/>
            <ac:picMk id="1026" creationId="{492510D7-B807-92D8-E0F2-FB813766921A}"/>
          </ac:picMkLst>
        </pc:picChg>
        <pc:picChg chg="add del mod">
          <ac:chgData name="KILANI, Yassine" userId="1aebaf60-5a20-455f-b28d-267e961535b9" providerId="ADAL" clId="{ABA46E8A-A96D-4E1A-9572-B85345154F3A}" dt="2024-02-16T15:09:24.006" v="1469" actId="478"/>
          <ac:picMkLst>
            <pc:docMk/>
            <pc:sldMk cId="4155631524" sldId="2147481406"/>
            <ac:picMk id="1028" creationId="{ECEFEE96-5E93-46CE-D0E3-7EF9F8DD1B1F}"/>
          </ac:picMkLst>
        </pc:picChg>
      </pc:sldChg>
      <pc:sldChg chg="addSp delSp modSp new mod ord">
        <pc:chgData name="KILANI, Yassine" userId="1aebaf60-5a20-455f-b28d-267e961535b9" providerId="ADAL" clId="{ABA46E8A-A96D-4E1A-9572-B85345154F3A}" dt="2024-02-22T18:10:54.190" v="2093" actId="1076"/>
        <pc:sldMkLst>
          <pc:docMk/>
          <pc:sldMk cId="332520229" sldId="2147481408"/>
        </pc:sldMkLst>
        <pc:spChg chg="del">
          <ac:chgData name="KILANI, Yassine" userId="1aebaf60-5a20-455f-b28d-267e961535b9" providerId="ADAL" clId="{ABA46E8A-A96D-4E1A-9572-B85345154F3A}" dt="2024-02-16T15:10:19.088" v="1527" actId="478"/>
          <ac:spMkLst>
            <pc:docMk/>
            <pc:sldMk cId="332520229" sldId="2147481408"/>
            <ac:spMk id="2" creationId="{59E89CD6-CDE0-7C80-9441-3F56AC398ACA}"/>
          </ac:spMkLst>
        </pc:spChg>
        <pc:spChg chg="mod">
          <ac:chgData name="KILANI, Yassine" userId="1aebaf60-5a20-455f-b28d-267e961535b9" providerId="ADAL" clId="{ABA46E8A-A96D-4E1A-9572-B85345154F3A}" dt="2024-02-16T15:12:26.181" v="1582" actId="20577"/>
          <ac:spMkLst>
            <pc:docMk/>
            <pc:sldMk cId="332520229" sldId="2147481408"/>
            <ac:spMk id="3" creationId="{4412BFEF-11E6-0B86-9308-D04BCA5E0EDE}"/>
          </ac:spMkLst>
        </pc:spChg>
        <pc:spChg chg="add mod">
          <ac:chgData name="KILANI, Yassine" userId="1aebaf60-5a20-455f-b28d-267e961535b9" providerId="ADAL" clId="{ABA46E8A-A96D-4E1A-9572-B85345154F3A}" dt="2024-02-16T15:11:35.955" v="1571" actId="164"/>
          <ac:spMkLst>
            <pc:docMk/>
            <pc:sldMk cId="332520229" sldId="2147481408"/>
            <ac:spMk id="4" creationId="{3E19BB8F-7982-3FAD-F7EA-32108965C8D5}"/>
          </ac:spMkLst>
        </pc:spChg>
        <pc:spChg chg="mod">
          <ac:chgData name="KILANI, Yassine" userId="1aebaf60-5a20-455f-b28d-267e961535b9" providerId="ADAL" clId="{ABA46E8A-A96D-4E1A-9572-B85345154F3A}" dt="2024-02-16T15:11:40.025" v="1573"/>
          <ac:spMkLst>
            <pc:docMk/>
            <pc:sldMk cId="332520229" sldId="2147481408"/>
            <ac:spMk id="8" creationId="{27082487-DB0F-AD7D-9CAC-FC9F632D640C}"/>
          </ac:spMkLst>
        </pc:spChg>
        <pc:spChg chg="add mod">
          <ac:chgData name="KILANI, Yassine" userId="1aebaf60-5a20-455f-b28d-267e961535b9" providerId="ADAL" clId="{ABA46E8A-A96D-4E1A-9572-B85345154F3A}" dt="2024-02-16T15:20:27.164" v="1861" actId="20577"/>
          <ac:spMkLst>
            <pc:docMk/>
            <pc:sldMk cId="332520229" sldId="2147481408"/>
            <ac:spMk id="10" creationId="{7214088B-0432-0BF4-2EE4-915C8564C5B6}"/>
          </ac:spMkLst>
        </pc:spChg>
        <pc:spChg chg="add mod">
          <ac:chgData name="KILANI, Yassine" userId="1aebaf60-5a20-455f-b28d-267e961535b9" providerId="ADAL" clId="{ABA46E8A-A96D-4E1A-9572-B85345154F3A}" dt="2024-02-16T15:17:15.598" v="1623" actId="207"/>
          <ac:spMkLst>
            <pc:docMk/>
            <pc:sldMk cId="332520229" sldId="2147481408"/>
            <ac:spMk id="11" creationId="{540E6A5E-674E-601F-FCBC-030A52F5D5A8}"/>
          </ac:spMkLst>
        </pc:spChg>
        <pc:spChg chg="add mod">
          <ac:chgData name="KILANI, Yassine" userId="1aebaf60-5a20-455f-b28d-267e961535b9" providerId="ADAL" clId="{ABA46E8A-A96D-4E1A-9572-B85345154F3A}" dt="2024-02-16T15:44:20.690" v="1864" actId="1076"/>
          <ac:spMkLst>
            <pc:docMk/>
            <pc:sldMk cId="332520229" sldId="2147481408"/>
            <ac:spMk id="12" creationId="{22029089-DDA4-A73C-198D-DCD968F3B02C}"/>
          </ac:spMkLst>
        </pc:spChg>
        <pc:spChg chg="add mod">
          <ac:chgData name="KILANI, Yassine" userId="1aebaf60-5a20-455f-b28d-267e961535b9" providerId="ADAL" clId="{ABA46E8A-A96D-4E1A-9572-B85345154F3A}" dt="2024-02-22T18:10:54.190" v="2093" actId="1076"/>
          <ac:spMkLst>
            <pc:docMk/>
            <pc:sldMk cId="332520229" sldId="2147481408"/>
            <ac:spMk id="13" creationId="{8A087B72-1431-9F94-6268-5AACA0369442}"/>
          </ac:spMkLst>
        </pc:spChg>
        <pc:grpChg chg="add del mod">
          <ac:chgData name="KILANI, Yassine" userId="1aebaf60-5a20-455f-b28d-267e961535b9" providerId="ADAL" clId="{ABA46E8A-A96D-4E1A-9572-B85345154F3A}" dt="2024-02-16T15:11:39.158" v="1572" actId="21"/>
          <ac:grpSpMkLst>
            <pc:docMk/>
            <pc:sldMk cId="332520229" sldId="2147481408"/>
            <ac:grpSpMk id="5" creationId="{16468E78-6C0B-83FC-320F-DB10B9BB748F}"/>
          </ac:grpSpMkLst>
        </pc:grpChg>
        <pc:grpChg chg="add del mod">
          <ac:chgData name="KILANI, Yassine" userId="1aebaf60-5a20-455f-b28d-267e961535b9" providerId="ADAL" clId="{ABA46E8A-A96D-4E1A-9572-B85345154F3A}" dt="2024-02-16T15:11:42.835" v="1576"/>
          <ac:grpSpMkLst>
            <pc:docMk/>
            <pc:sldMk cId="332520229" sldId="2147481408"/>
            <ac:grpSpMk id="6" creationId="{578E0A75-DC6F-ED75-12D1-0563315D7E2B}"/>
          </ac:grpSpMkLst>
        </pc:grpChg>
        <pc:picChg chg="mod">
          <ac:chgData name="KILANI, Yassine" userId="1aebaf60-5a20-455f-b28d-267e961535b9" providerId="ADAL" clId="{ABA46E8A-A96D-4E1A-9572-B85345154F3A}" dt="2024-02-16T15:11:40.025" v="1573"/>
          <ac:picMkLst>
            <pc:docMk/>
            <pc:sldMk cId="332520229" sldId="2147481408"/>
            <ac:picMk id="7" creationId="{DE4D8213-F9D8-5AC2-87EB-24D0C3289366}"/>
          </ac:picMkLst>
        </pc:picChg>
        <pc:picChg chg="add mod">
          <ac:chgData name="KILANI, Yassine" userId="1aebaf60-5a20-455f-b28d-267e961535b9" providerId="ADAL" clId="{ABA46E8A-A96D-4E1A-9572-B85345154F3A}" dt="2024-02-16T15:11:48.054" v="1579" actId="1076"/>
          <ac:picMkLst>
            <pc:docMk/>
            <pc:sldMk cId="332520229" sldId="2147481408"/>
            <ac:picMk id="9" creationId="{410D9B31-D28A-5E18-4A05-3B3DB2A5CAC7}"/>
          </ac:picMkLst>
        </pc:picChg>
        <pc:picChg chg="add mod">
          <ac:chgData name="KILANI, Yassine" userId="1aebaf60-5a20-455f-b28d-267e961535b9" providerId="ADAL" clId="{ABA46E8A-A96D-4E1A-9572-B85345154F3A}" dt="2024-02-16T15:11:35.955" v="1571" actId="164"/>
          <ac:picMkLst>
            <pc:docMk/>
            <pc:sldMk cId="332520229" sldId="2147481408"/>
            <ac:picMk id="2050" creationId="{6EA2BB7F-E27C-512A-7807-CE08FFE95799}"/>
          </ac:picMkLst>
        </pc:picChg>
        <pc:picChg chg="add mod">
          <ac:chgData name="KILANI, Yassine" userId="1aebaf60-5a20-455f-b28d-267e961535b9" providerId="ADAL" clId="{ABA46E8A-A96D-4E1A-9572-B85345154F3A}" dt="2024-02-16T15:16:48.422" v="1599" actId="1076"/>
          <ac:picMkLst>
            <pc:docMk/>
            <pc:sldMk cId="332520229" sldId="2147481408"/>
            <ac:picMk id="2052" creationId="{5878D1CF-011E-E4CB-C1C5-4166D574FC87}"/>
          </ac:picMkLst>
        </pc:picChg>
        <pc:picChg chg="add mod">
          <ac:chgData name="KILANI, Yassine" userId="1aebaf60-5a20-455f-b28d-267e961535b9" providerId="ADAL" clId="{ABA46E8A-A96D-4E1A-9572-B85345154F3A}" dt="2024-02-16T15:44:26.386" v="1865" actId="1076"/>
          <ac:picMkLst>
            <pc:docMk/>
            <pc:sldMk cId="332520229" sldId="2147481408"/>
            <ac:picMk id="2054" creationId="{620A32CB-5F0F-3795-C23C-2DDADC1E2C21}"/>
          </ac:picMkLst>
        </pc:picChg>
      </pc:sldChg>
      <pc:sldChg chg="addSp delSp modSp new mod ord">
        <pc:chgData name="KILANI, Yassine" userId="1aebaf60-5a20-455f-b28d-267e961535b9" providerId="ADAL" clId="{ABA46E8A-A96D-4E1A-9572-B85345154F3A}" dt="2024-02-16T15:51:56.169" v="1988"/>
        <pc:sldMkLst>
          <pc:docMk/>
          <pc:sldMk cId="2276898899" sldId="2147481409"/>
        </pc:sldMkLst>
        <pc:spChg chg="add mod">
          <ac:chgData name="KILANI, Yassine" userId="1aebaf60-5a20-455f-b28d-267e961535b9" providerId="ADAL" clId="{ABA46E8A-A96D-4E1A-9572-B85345154F3A}" dt="2024-02-16T15:49:21" v="1975" actId="14100"/>
          <ac:spMkLst>
            <pc:docMk/>
            <pc:sldMk cId="2276898899" sldId="2147481409"/>
            <ac:spMk id="4" creationId="{0C8ED0A4-6BAA-9121-DC88-47FD7D9D91FD}"/>
          </ac:spMkLst>
        </pc:spChg>
        <pc:spChg chg="add mod">
          <ac:chgData name="KILANI, Yassine" userId="1aebaf60-5a20-455f-b28d-267e961535b9" providerId="ADAL" clId="{ABA46E8A-A96D-4E1A-9572-B85345154F3A}" dt="2024-02-16T15:49:15.042" v="1974" actId="20577"/>
          <ac:spMkLst>
            <pc:docMk/>
            <pc:sldMk cId="2276898899" sldId="2147481409"/>
            <ac:spMk id="5" creationId="{AFE0F16D-AC86-275E-5999-1C17494B3502}"/>
          </ac:spMkLst>
        </pc:spChg>
        <pc:spChg chg="add del">
          <ac:chgData name="KILANI, Yassine" userId="1aebaf60-5a20-455f-b28d-267e961535b9" providerId="ADAL" clId="{ABA46E8A-A96D-4E1A-9572-B85345154F3A}" dt="2024-02-16T15:49:28.667" v="1977" actId="478"/>
          <ac:spMkLst>
            <pc:docMk/>
            <pc:sldMk cId="2276898899" sldId="2147481409"/>
            <ac:spMk id="7" creationId="{62112F07-B56B-2B40-BEE0-A563FECD5E6D}"/>
          </ac:spMkLst>
        </pc:spChg>
        <pc:spChg chg="add mod">
          <ac:chgData name="KILANI, Yassine" userId="1aebaf60-5a20-455f-b28d-267e961535b9" providerId="ADAL" clId="{ABA46E8A-A96D-4E1A-9572-B85345154F3A}" dt="2024-02-16T15:49:56.939" v="1984" actId="14100"/>
          <ac:spMkLst>
            <pc:docMk/>
            <pc:sldMk cId="2276898899" sldId="2147481409"/>
            <ac:spMk id="8" creationId="{5031DAD5-B022-3184-4A04-B0C3AC7569E0}"/>
          </ac:spMkLst>
        </pc:spChg>
      </pc:sldChg>
    </pc:docChg>
  </pc:docChgLst>
  <pc:docChgLst>
    <pc:chgData name="PHAN, Auriane" userId="9aac93fd-b034-4dfb-92b5-a7c4c6c5a3b8" providerId="ADAL" clId="{0A007C18-7DE2-46CD-AB9D-FFEB1BBABF91}"/>
    <pc:docChg chg="modSld">
      <pc:chgData name="PHAN, Auriane" userId="9aac93fd-b034-4dfb-92b5-a7c4c6c5a3b8" providerId="ADAL" clId="{0A007C18-7DE2-46CD-AB9D-FFEB1BBABF91}" dt="2024-02-06T14:29:47.661" v="0" actId="14100"/>
      <pc:docMkLst>
        <pc:docMk/>
      </pc:docMkLst>
      <pc:sldChg chg="modSp mod">
        <pc:chgData name="PHAN, Auriane" userId="9aac93fd-b034-4dfb-92b5-a7c4c6c5a3b8" providerId="ADAL" clId="{0A007C18-7DE2-46CD-AB9D-FFEB1BBABF91}" dt="2024-02-06T14:29:47.661" v="0" actId="14100"/>
        <pc:sldMkLst>
          <pc:docMk/>
          <pc:sldMk cId="363695449" sldId="2147478734"/>
        </pc:sldMkLst>
        <pc:spChg chg="mod">
          <ac:chgData name="PHAN, Auriane" userId="9aac93fd-b034-4dfb-92b5-a7c4c6c5a3b8" providerId="ADAL" clId="{0A007C18-7DE2-46CD-AB9D-FFEB1BBABF91}" dt="2024-02-06T14:29:47.661" v="0" actId="14100"/>
          <ac:spMkLst>
            <pc:docMk/>
            <pc:sldMk cId="363695449" sldId="2147478734"/>
            <ac:spMk id="7" creationId="{130F58C5-2976-4846-A915-64CB73CFBA97}"/>
          </ac:spMkLst>
        </pc:spChg>
      </pc:sldChg>
    </pc:docChg>
  </pc:docChgLst>
  <pc:docChgLst>
    <pc:chgData name="ANTOINE, Nicolas" userId="1276d54b-281b-4eeb-bc40-34e8afea38f1" providerId="ADAL" clId="{9FBF4F53-7035-4A58-A2BA-9483BFEE7B8F}"/>
    <pc:docChg chg="delSld modSection">
      <pc:chgData name="ANTOINE, Nicolas" userId="1276d54b-281b-4eeb-bc40-34e8afea38f1" providerId="ADAL" clId="{9FBF4F53-7035-4A58-A2BA-9483BFEE7B8F}" dt="2024-02-06T10:53:59.277" v="0" actId="47"/>
      <pc:docMkLst>
        <pc:docMk/>
      </pc:docMkLst>
      <pc:sldChg chg="del">
        <pc:chgData name="ANTOINE, Nicolas" userId="1276d54b-281b-4eeb-bc40-34e8afea38f1" providerId="ADAL" clId="{9FBF4F53-7035-4A58-A2BA-9483BFEE7B8F}" dt="2024-02-06T10:53:59.277" v="0" actId="47"/>
        <pc:sldMkLst>
          <pc:docMk/>
          <pc:sldMk cId="2242208306" sldId="2147229069"/>
        </pc:sldMkLst>
      </pc:sldChg>
      <pc:sldChg chg="del">
        <pc:chgData name="ANTOINE, Nicolas" userId="1276d54b-281b-4eeb-bc40-34e8afea38f1" providerId="ADAL" clId="{9FBF4F53-7035-4A58-A2BA-9483BFEE7B8F}" dt="2024-02-06T10:53:59.277" v="0" actId="47"/>
        <pc:sldMkLst>
          <pc:docMk/>
          <pc:sldMk cId="3208209610" sldId="2147308506"/>
        </pc:sldMkLst>
      </pc:sldChg>
      <pc:sldChg chg="del">
        <pc:chgData name="ANTOINE, Nicolas" userId="1276d54b-281b-4eeb-bc40-34e8afea38f1" providerId="ADAL" clId="{9FBF4F53-7035-4A58-A2BA-9483BFEE7B8F}" dt="2024-02-06T10:53:59.277" v="0" actId="47"/>
        <pc:sldMkLst>
          <pc:docMk/>
          <pc:sldMk cId="1135294850" sldId="2147308515"/>
        </pc:sldMkLst>
      </pc:sldChg>
    </pc:docChg>
  </pc:docChgLst>
  <pc:docChgLst>
    <pc:chgData name="GUILLERME, Alexandre" userId="ea1c6976-b45d-4181-9324-3cd9e1255583" providerId="ADAL" clId="{FAA02EBD-A2D6-4E30-AEFB-7BC683FD876B}"/>
    <pc:docChg chg="undo redo custSel addSld delSld modSld sldOrd modSection">
      <pc:chgData name="GUILLERME, Alexandre" userId="ea1c6976-b45d-4181-9324-3cd9e1255583" providerId="ADAL" clId="{FAA02EBD-A2D6-4E30-AEFB-7BC683FD876B}" dt="2024-05-31T09:28:31.822" v="2081" actId="20577"/>
      <pc:docMkLst>
        <pc:docMk/>
      </pc:docMkLst>
      <pc:sldChg chg="modSp mod">
        <pc:chgData name="GUILLERME, Alexandre" userId="ea1c6976-b45d-4181-9324-3cd9e1255583" providerId="ADAL" clId="{FAA02EBD-A2D6-4E30-AEFB-7BC683FD876B}" dt="2024-05-28T13:37:45.142" v="679" actId="20577"/>
        <pc:sldMkLst>
          <pc:docMk/>
          <pc:sldMk cId="3489761148" sldId="2844"/>
        </pc:sldMkLst>
        <pc:spChg chg="mod">
          <ac:chgData name="GUILLERME, Alexandre" userId="ea1c6976-b45d-4181-9324-3cd9e1255583" providerId="ADAL" clId="{FAA02EBD-A2D6-4E30-AEFB-7BC683FD876B}" dt="2024-05-28T13:37:45.142" v="679" actId="20577"/>
          <ac:spMkLst>
            <pc:docMk/>
            <pc:sldMk cId="3489761148" sldId="2844"/>
            <ac:spMk id="81" creationId="{A7B97495-5C5E-4FD9-BEF2-9117E45BFFCB}"/>
          </ac:spMkLst>
        </pc:spChg>
      </pc:sldChg>
      <pc:sldChg chg="modNotesTx">
        <pc:chgData name="GUILLERME, Alexandre" userId="ea1c6976-b45d-4181-9324-3cd9e1255583" providerId="ADAL" clId="{FAA02EBD-A2D6-4E30-AEFB-7BC683FD876B}" dt="2024-05-28T13:27:39.356" v="672" actId="20577"/>
        <pc:sldMkLst>
          <pc:docMk/>
          <pc:sldMk cId="2631033068" sldId="2147229068"/>
        </pc:sldMkLst>
      </pc:sldChg>
      <pc:sldChg chg="modSp mod">
        <pc:chgData name="GUILLERME, Alexandre" userId="ea1c6976-b45d-4181-9324-3cd9e1255583" providerId="ADAL" clId="{FAA02EBD-A2D6-4E30-AEFB-7BC683FD876B}" dt="2024-05-28T13:50:59.369" v="680" actId="20577"/>
        <pc:sldMkLst>
          <pc:docMk/>
          <pc:sldMk cId="2028875791" sldId="2147478779"/>
        </pc:sldMkLst>
        <pc:spChg chg="mod">
          <ac:chgData name="GUILLERME, Alexandre" userId="ea1c6976-b45d-4181-9324-3cd9e1255583" providerId="ADAL" clId="{FAA02EBD-A2D6-4E30-AEFB-7BC683FD876B}" dt="2024-05-28T13:50:59.369" v="680" actId="20577"/>
          <ac:spMkLst>
            <pc:docMk/>
            <pc:sldMk cId="2028875791" sldId="2147478779"/>
            <ac:spMk id="2" creationId="{30A25494-3C68-96E8-E5DA-4BB21F611AF2}"/>
          </ac:spMkLst>
        </pc:spChg>
      </pc:sldChg>
      <pc:sldChg chg="addSp delSp modSp mod">
        <pc:chgData name="GUILLERME, Alexandre" userId="ea1c6976-b45d-4181-9324-3cd9e1255583" providerId="ADAL" clId="{FAA02EBD-A2D6-4E30-AEFB-7BC683FD876B}" dt="2024-05-28T14:06:29.874" v="685" actId="478"/>
        <pc:sldMkLst>
          <pc:docMk/>
          <pc:sldMk cId="22637000" sldId="2147478783"/>
        </pc:sldMkLst>
        <pc:spChg chg="mod">
          <ac:chgData name="GUILLERME, Alexandre" userId="ea1c6976-b45d-4181-9324-3cd9e1255583" providerId="ADAL" clId="{FAA02EBD-A2D6-4E30-AEFB-7BC683FD876B}" dt="2024-05-28T14:06:26.282" v="684" actId="552"/>
          <ac:spMkLst>
            <pc:docMk/>
            <pc:sldMk cId="22637000" sldId="2147478783"/>
            <ac:spMk id="2" creationId="{87206DBC-EA0C-7720-FF3B-F478F021968B}"/>
          </ac:spMkLst>
        </pc:spChg>
        <pc:spChg chg="add del mod">
          <ac:chgData name="GUILLERME, Alexandre" userId="ea1c6976-b45d-4181-9324-3cd9e1255583" providerId="ADAL" clId="{FAA02EBD-A2D6-4E30-AEFB-7BC683FD876B}" dt="2024-05-28T14:06:29.874" v="685" actId="478"/>
          <ac:spMkLst>
            <pc:docMk/>
            <pc:sldMk cId="22637000" sldId="2147478783"/>
            <ac:spMk id="5" creationId="{112894F3-0B17-4BF3-78BC-B41623E5B98C}"/>
          </ac:spMkLst>
        </pc:spChg>
        <pc:spChg chg="mod">
          <ac:chgData name="GUILLERME, Alexandre" userId="ea1c6976-b45d-4181-9324-3cd9e1255583" providerId="ADAL" clId="{FAA02EBD-A2D6-4E30-AEFB-7BC683FD876B}" dt="2024-05-28T14:04:56.678" v="681" actId="20577"/>
          <ac:spMkLst>
            <pc:docMk/>
            <pc:sldMk cId="22637000" sldId="2147478783"/>
            <ac:spMk id="35" creationId="{E1C52E6E-6E98-843F-A0CD-7CC59A03E7A1}"/>
          </ac:spMkLst>
        </pc:spChg>
      </pc:sldChg>
      <pc:sldChg chg="modSp mod">
        <pc:chgData name="GUILLERME, Alexandre" userId="ea1c6976-b45d-4181-9324-3cd9e1255583" providerId="ADAL" clId="{FAA02EBD-A2D6-4E30-AEFB-7BC683FD876B}" dt="2024-05-31T09:08:36.506" v="1815" actId="1076"/>
        <pc:sldMkLst>
          <pc:docMk/>
          <pc:sldMk cId="536213464" sldId="2147481379"/>
        </pc:sldMkLst>
        <pc:spChg chg="mod">
          <ac:chgData name="GUILLERME, Alexandre" userId="ea1c6976-b45d-4181-9324-3cd9e1255583" providerId="ADAL" clId="{FAA02EBD-A2D6-4E30-AEFB-7BC683FD876B}" dt="2024-05-31T09:08:36.506" v="1815" actId="1076"/>
          <ac:spMkLst>
            <pc:docMk/>
            <pc:sldMk cId="536213464" sldId="2147481379"/>
            <ac:spMk id="40" creationId="{A9E4D656-F68E-4C2B-9C3C-FBEA76EA0F33}"/>
          </ac:spMkLst>
        </pc:spChg>
      </pc:sldChg>
      <pc:sldChg chg="addSp delSp modSp mod">
        <pc:chgData name="GUILLERME, Alexandre" userId="ea1c6976-b45d-4181-9324-3cd9e1255583" providerId="ADAL" clId="{FAA02EBD-A2D6-4E30-AEFB-7BC683FD876B}" dt="2024-05-31T09:13:46.912" v="2000" actId="20577"/>
        <pc:sldMkLst>
          <pc:docMk/>
          <pc:sldMk cId="4080557187" sldId="2147481384"/>
        </pc:sldMkLst>
        <pc:spChg chg="add mod topLvl">
          <ac:chgData name="GUILLERME, Alexandre" userId="ea1c6976-b45d-4181-9324-3cd9e1255583" providerId="ADAL" clId="{FAA02EBD-A2D6-4E30-AEFB-7BC683FD876B}" dt="2024-05-31T09:09:44.474" v="1823" actId="165"/>
          <ac:spMkLst>
            <pc:docMk/>
            <pc:sldMk cId="4080557187" sldId="2147481384"/>
            <ac:spMk id="8" creationId="{4DFDC98A-257E-E0F5-F3FF-3C322DB40B2E}"/>
          </ac:spMkLst>
        </pc:spChg>
        <pc:spChg chg="add mod topLvl">
          <ac:chgData name="GUILLERME, Alexandre" userId="ea1c6976-b45d-4181-9324-3cd9e1255583" providerId="ADAL" clId="{FAA02EBD-A2D6-4E30-AEFB-7BC683FD876B}" dt="2024-05-31T09:09:44.474" v="1823" actId="165"/>
          <ac:spMkLst>
            <pc:docMk/>
            <pc:sldMk cId="4080557187" sldId="2147481384"/>
            <ac:spMk id="11" creationId="{9E5DDBDF-EEFE-EA91-98FC-4CA5619472CF}"/>
          </ac:spMkLst>
        </pc:spChg>
        <pc:spChg chg="add mod topLvl">
          <ac:chgData name="GUILLERME, Alexandre" userId="ea1c6976-b45d-4181-9324-3cd9e1255583" providerId="ADAL" clId="{FAA02EBD-A2D6-4E30-AEFB-7BC683FD876B}" dt="2024-05-31T09:09:44.474" v="1823" actId="165"/>
          <ac:spMkLst>
            <pc:docMk/>
            <pc:sldMk cId="4080557187" sldId="2147481384"/>
            <ac:spMk id="12" creationId="{80016D73-5818-C244-A266-FD32AD1A6311}"/>
          </ac:spMkLst>
        </pc:spChg>
        <pc:spChg chg="mod">
          <ac:chgData name="GUILLERME, Alexandre" userId="ea1c6976-b45d-4181-9324-3cd9e1255583" providerId="ADAL" clId="{FAA02EBD-A2D6-4E30-AEFB-7BC683FD876B}" dt="2024-05-31T09:13:28.757" v="1987" actId="14100"/>
          <ac:spMkLst>
            <pc:docMk/>
            <pc:sldMk cId="4080557187" sldId="2147481384"/>
            <ac:spMk id="13" creationId="{30647647-BC1A-0825-CF8A-41AD024BDAE8}"/>
          </ac:spMkLst>
        </pc:spChg>
        <pc:spChg chg="mod topLvl">
          <ac:chgData name="GUILLERME, Alexandre" userId="ea1c6976-b45d-4181-9324-3cd9e1255583" providerId="ADAL" clId="{FAA02EBD-A2D6-4E30-AEFB-7BC683FD876B}" dt="2024-05-31T09:09:44.474" v="1823" actId="165"/>
          <ac:spMkLst>
            <pc:docMk/>
            <pc:sldMk cId="4080557187" sldId="2147481384"/>
            <ac:spMk id="14" creationId="{F40E5E4D-FD0D-53B3-CAF9-9CE546BF43CF}"/>
          </ac:spMkLst>
        </pc:spChg>
        <pc:spChg chg="del">
          <ac:chgData name="GUILLERME, Alexandre" userId="ea1c6976-b45d-4181-9324-3cd9e1255583" providerId="ADAL" clId="{FAA02EBD-A2D6-4E30-AEFB-7BC683FD876B}" dt="2024-05-31T09:10:50.004" v="1906" actId="478"/>
          <ac:spMkLst>
            <pc:docMk/>
            <pc:sldMk cId="4080557187" sldId="2147481384"/>
            <ac:spMk id="15" creationId="{613FAFC2-C839-D751-9FD9-5192CB4067CA}"/>
          </ac:spMkLst>
        </pc:spChg>
        <pc:spChg chg="del">
          <ac:chgData name="GUILLERME, Alexandre" userId="ea1c6976-b45d-4181-9324-3cd9e1255583" providerId="ADAL" clId="{FAA02EBD-A2D6-4E30-AEFB-7BC683FD876B}" dt="2024-05-31T09:10:51.722" v="1907" actId="478"/>
          <ac:spMkLst>
            <pc:docMk/>
            <pc:sldMk cId="4080557187" sldId="2147481384"/>
            <ac:spMk id="16" creationId="{BAD20E7F-229A-8C30-6543-8D49F0E79371}"/>
          </ac:spMkLst>
        </pc:spChg>
        <pc:spChg chg="mod">
          <ac:chgData name="GUILLERME, Alexandre" userId="ea1c6976-b45d-4181-9324-3cd9e1255583" providerId="ADAL" clId="{FAA02EBD-A2D6-4E30-AEFB-7BC683FD876B}" dt="2024-05-31T09:13:40.606" v="1990" actId="465"/>
          <ac:spMkLst>
            <pc:docMk/>
            <pc:sldMk cId="4080557187" sldId="2147481384"/>
            <ac:spMk id="17" creationId="{2D53651A-E05D-5A3F-CF90-BC22AB40E019}"/>
          </ac:spMkLst>
        </pc:spChg>
        <pc:spChg chg="del">
          <ac:chgData name="GUILLERME, Alexandre" userId="ea1c6976-b45d-4181-9324-3cd9e1255583" providerId="ADAL" clId="{FAA02EBD-A2D6-4E30-AEFB-7BC683FD876B}" dt="2024-05-31T09:10:58.091" v="1919" actId="478"/>
          <ac:spMkLst>
            <pc:docMk/>
            <pc:sldMk cId="4080557187" sldId="2147481384"/>
            <ac:spMk id="18" creationId="{5DB87774-8563-CAB9-81BD-6B5073C60EC8}"/>
          </ac:spMkLst>
        </pc:spChg>
        <pc:spChg chg="del">
          <ac:chgData name="GUILLERME, Alexandre" userId="ea1c6976-b45d-4181-9324-3cd9e1255583" providerId="ADAL" clId="{FAA02EBD-A2D6-4E30-AEFB-7BC683FD876B}" dt="2024-05-31T09:11:00.081" v="1920" actId="478"/>
          <ac:spMkLst>
            <pc:docMk/>
            <pc:sldMk cId="4080557187" sldId="2147481384"/>
            <ac:spMk id="19" creationId="{55C122AD-6AC5-3FE2-6F67-782E32DB14B9}"/>
          </ac:spMkLst>
        </pc:spChg>
        <pc:spChg chg="mod">
          <ac:chgData name="GUILLERME, Alexandre" userId="ea1c6976-b45d-4181-9324-3cd9e1255583" providerId="ADAL" clId="{FAA02EBD-A2D6-4E30-AEFB-7BC683FD876B}" dt="2024-05-31T09:09:51.777" v="1827" actId="5793"/>
          <ac:spMkLst>
            <pc:docMk/>
            <pc:sldMk cId="4080557187" sldId="2147481384"/>
            <ac:spMk id="20" creationId="{2DBD63B9-C49A-DDBE-F483-DF9D2E025BDF}"/>
          </ac:spMkLst>
        </pc:spChg>
        <pc:spChg chg="add mod">
          <ac:chgData name="GUILLERME, Alexandre" userId="ea1c6976-b45d-4181-9324-3cd9e1255583" providerId="ADAL" clId="{FAA02EBD-A2D6-4E30-AEFB-7BC683FD876B}" dt="2024-05-31T09:13:02.840" v="1961" actId="20577"/>
          <ac:spMkLst>
            <pc:docMk/>
            <pc:sldMk cId="4080557187" sldId="2147481384"/>
            <ac:spMk id="24" creationId="{FFE9D206-188F-6E4A-62BC-D422D49911E0}"/>
          </ac:spMkLst>
        </pc:spChg>
        <pc:spChg chg="add mod">
          <ac:chgData name="GUILLERME, Alexandre" userId="ea1c6976-b45d-4181-9324-3cd9e1255583" providerId="ADAL" clId="{FAA02EBD-A2D6-4E30-AEFB-7BC683FD876B}" dt="2024-05-31T09:13:06.165" v="1967" actId="20577"/>
          <ac:spMkLst>
            <pc:docMk/>
            <pc:sldMk cId="4080557187" sldId="2147481384"/>
            <ac:spMk id="25" creationId="{E16FB659-1047-FF35-AC46-ABB90EFB9E6E}"/>
          </ac:spMkLst>
        </pc:spChg>
        <pc:spChg chg="add mod">
          <ac:chgData name="GUILLERME, Alexandre" userId="ea1c6976-b45d-4181-9324-3cd9e1255583" providerId="ADAL" clId="{FAA02EBD-A2D6-4E30-AEFB-7BC683FD876B}" dt="2024-05-31T09:13:11.644" v="1974" actId="6549"/>
          <ac:spMkLst>
            <pc:docMk/>
            <pc:sldMk cId="4080557187" sldId="2147481384"/>
            <ac:spMk id="26" creationId="{5563464F-63F9-0AD3-BD77-FE57EA21AFCE}"/>
          </ac:spMkLst>
        </pc:spChg>
        <pc:spChg chg="add mod">
          <ac:chgData name="GUILLERME, Alexandre" userId="ea1c6976-b45d-4181-9324-3cd9e1255583" providerId="ADAL" clId="{FAA02EBD-A2D6-4E30-AEFB-7BC683FD876B}" dt="2024-05-31T09:13:23.172" v="1986" actId="20577"/>
          <ac:spMkLst>
            <pc:docMk/>
            <pc:sldMk cId="4080557187" sldId="2147481384"/>
            <ac:spMk id="27" creationId="{F5999106-3207-26BB-F8ED-F0C42AB83DB9}"/>
          </ac:spMkLst>
        </pc:spChg>
        <pc:spChg chg="add del mod">
          <ac:chgData name="GUILLERME, Alexandre" userId="ea1c6976-b45d-4181-9324-3cd9e1255583" providerId="ADAL" clId="{FAA02EBD-A2D6-4E30-AEFB-7BC683FD876B}" dt="2024-05-31T09:13:13.774" v="1975" actId="478"/>
          <ac:spMkLst>
            <pc:docMk/>
            <pc:sldMk cId="4080557187" sldId="2147481384"/>
            <ac:spMk id="28" creationId="{CB12BF43-ADB5-6B74-DDD3-AD3CFF7BE163}"/>
          </ac:spMkLst>
        </pc:spChg>
        <pc:spChg chg="add mod">
          <ac:chgData name="GUILLERME, Alexandre" userId="ea1c6976-b45d-4181-9324-3cd9e1255583" providerId="ADAL" clId="{FAA02EBD-A2D6-4E30-AEFB-7BC683FD876B}" dt="2024-05-31T09:13:46.912" v="2000" actId="20577"/>
          <ac:spMkLst>
            <pc:docMk/>
            <pc:sldMk cId="4080557187" sldId="2147481384"/>
            <ac:spMk id="29" creationId="{E94DE1B7-573E-4117-7F14-22634895171C}"/>
          </ac:spMkLst>
        </pc:spChg>
        <pc:grpChg chg="add del mod">
          <ac:chgData name="GUILLERME, Alexandre" userId="ea1c6976-b45d-4181-9324-3cd9e1255583" providerId="ADAL" clId="{FAA02EBD-A2D6-4E30-AEFB-7BC683FD876B}" dt="2024-05-31T09:09:44.474" v="1823" actId="165"/>
          <ac:grpSpMkLst>
            <pc:docMk/>
            <pc:sldMk cId="4080557187" sldId="2147481384"/>
            <ac:grpSpMk id="21" creationId="{F0AD0C6B-E43A-FD66-C4E3-FEA1CAF2C1BC}"/>
          </ac:grpSpMkLst>
        </pc:grpChg>
      </pc:sldChg>
      <pc:sldChg chg="ord">
        <pc:chgData name="GUILLERME, Alexandre" userId="ea1c6976-b45d-4181-9324-3cd9e1255583" providerId="ADAL" clId="{FAA02EBD-A2D6-4E30-AEFB-7BC683FD876B}" dt="2024-05-31T09:20:52.575" v="2033"/>
        <pc:sldMkLst>
          <pc:docMk/>
          <pc:sldMk cId="1220370030" sldId="2147481390"/>
        </pc:sldMkLst>
      </pc:sldChg>
      <pc:sldChg chg="del">
        <pc:chgData name="GUILLERME, Alexandre" userId="ea1c6976-b45d-4181-9324-3cd9e1255583" providerId="ADAL" clId="{FAA02EBD-A2D6-4E30-AEFB-7BC683FD876B}" dt="2024-05-31T09:20:19.054" v="2030" actId="47"/>
        <pc:sldMkLst>
          <pc:docMk/>
          <pc:sldMk cId="3316868242" sldId="2147481394"/>
        </pc:sldMkLst>
      </pc:sldChg>
      <pc:sldChg chg="del">
        <pc:chgData name="GUILLERME, Alexandre" userId="ea1c6976-b45d-4181-9324-3cd9e1255583" providerId="ADAL" clId="{FAA02EBD-A2D6-4E30-AEFB-7BC683FD876B}" dt="2024-05-31T09:23:59.768" v="2061" actId="47"/>
        <pc:sldMkLst>
          <pc:docMk/>
          <pc:sldMk cId="2960014723" sldId="2147481405"/>
        </pc:sldMkLst>
      </pc:sldChg>
      <pc:sldChg chg="del">
        <pc:chgData name="GUILLERME, Alexandre" userId="ea1c6976-b45d-4181-9324-3cd9e1255583" providerId="ADAL" clId="{FAA02EBD-A2D6-4E30-AEFB-7BC683FD876B}" dt="2024-05-31T09:16:56.404" v="2002" actId="47"/>
        <pc:sldMkLst>
          <pc:docMk/>
          <pc:sldMk cId="2026483094" sldId="2147481411"/>
        </pc:sldMkLst>
      </pc:sldChg>
      <pc:sldChg chg="del">
        <pc:chgData name="GUILLERME, Alexandre" userId="ea1c6976-b45d-4181-9324-3cd9e1255583" providerId="ADAL" clId="{FAA02EBD-A2D6-4E30-AEFB-7BC683FD876B}" dt="2024-05-31T09:24:15.125" v="2062" actId="47"/>
        <pc:sldMkLst>
          <pc:docMk/>
          <pc:sldMk cId="327943054" sldId="2147481412"/>
        </pc:sldMkLst>
      </pc:sldChg>
      <pc:sldChg chg="delSp modSp mod">
        <pc:chgData name="GUILLERME, Alexandre" userId="ea1c6976-b45d-4181-9324-3cd9e1255583" providerId="ADAL" clId="{FAA02EBD-A2D6-4E30-AEFB-7BC683FD876B}" dt="2024-05-31T08:24:06.932" v="1462" actId="478"/>
        <pc:sldMkLst>
          <pc:docMk/>
          <pc:sldMk cId="3824454684" sldId="2147481417"/>
        </pc:sldMkLst>
        <pc:spChg chg="mod">
          <ac:chgData name="GUILLERME, Alexandre" userId="ea1c6976-b45d-4181-9324-3cd9e1255583" providerId="ADAL" clId="{FAA02EBD-A2D6-4E30-AEFB-7BC683FD876B}" dt="2024-05-28T13:17:23.074" v="55" actId="20577"/>
          <ac:spMkLst>
            <pc:docMk/>
            <pc:sldMk cId="3824454684" sldId="2147481417"/>
            <ac:spMk id="2" creationId="{09153CF7-2EF0-4034-FABB-EF69E193CC6A}"/>
          </ac:spMkLst>
        </pc:spChg>
        <pc:spChg chg="del">
          <ac:chgData name="GUILLERME, Alexandre" userId="ea1c6976-b45d-4181-9324-3cd9e1255583" providerId="ADAL" clId="{FAA02EBD-A2D6-4E30-AEFB-7BC683FD876B}" dt="2024-05-31T08:24:06.932" v="1462" actId="478"/>
          <ac:spMkLst>
            <pc:docMk/>
            <pc:sldMk cId="3824454684" sldId="2147481417"/>
            <ac:spMk id="5" creationId="{55846A21-DF7C-3477-69FE-8DC1A4802317}"/>
          </ac:spMkLst>
        </pc:spChg>
        <pc:spChg chg="del">
          <ac:chgData name="GUILLERME, Alexandre" userId="ea1c6976-b45d-4181-9324-3cd9e1255583" providerId="ADAL" clId="{FAA02EBD-A2D6-4E30-AEFB-7BC683FD876B}" dt="2024-05-31T08:24:06.932" v="1462" actId="478"/>
          <ac:spMkLst>
            <pc:docMk/>
            <pc:sldMk cId="3824454684" sldId="2147481417"/>
            <ac:spMk id="6" creationId="{FF18B552-67BE-3B6C-3B9E-D402FD17644C}"/>
          </ac:spMkLst>
        </pc:spChg>
        <pc:spChg chg="del">
          <ac:chgData name="GUILLERME, Alexandre" userId="ea1c6976-b45d-4181-9324-3cd9e1255583" providerId="ADAL" clId="{FAA02EBD-A2D6-4E30-AEFB-7BC683FD876B}" dt="2024-05-31T08:24:06.932" v="1462" actId="478"/>
          <ac:spMkLst>
            <pc:docMk/>
            <pc:sldMk cId="3824454684" sldId="2147481417"/>
            <ac:spMk id="7" creationId="{9D67B6B4-B458-CB3C-19E8-1409677B2667}"/>
          </ac:spMkLst>
        </pc:spChg>
      </pc:sldChg>
      <pc:sldChg chg="delSp mod">
        <pc:chgData name="GUILLERME, Alexandre" userId="ea1c6976-b45d-4181-9324-3cd9e1255583" providerId="ADAL" clId="{FAA02EBD-A2D6-4E30-AEFB-7BC683FD876B}" dt="2024-05-31T08:24:11.843" v="1463" actId="478"/>
        <pc:sldMkLst>
          <pc:docMk/>
          <pc:sldMk cId="4101049482" sldId="2147481418"/>
        </pc:sldMkLst>
        <pc:spChg chg="del">
          <ac:chgData name="GUILLERME, Alexandre" userId="ea1c6976-b45d-4181-9324-3cd9e1255583" providerId="ADAL" clId="{FAA02EBD-A2D6-4E30-AEFB-7BC683FD876B}" dt="2024-05-31T08:24:11.843" v="1463" actId="478"/>
          <ac:spMkLst>
            <pc:docMk/>
            <pc:sldMk cId="4101049482" sldId="2147481418"/>
            <ac:spMk id="5" creationId="{5353FDC3-2002-A1D6-B6F0-E6C2852A45FF}"/>
          </ac:spMkLst>
        </pc:spChg>
        <pc:spChg chg="del">
          <ac:chgData name="GUILLERME, Alexandre" userId="ea1c6976-b45d-4181-9324-3cd9e1255583" providerId="ADAL" clId="{FAA02EBD-A2D6-4E30-AEFB-7BC683FD876B}" dt="2024-05-31T08:24:11.843" v="1463" actId="478"/>
          <ac:spMkLst>
            <pc:docMk/>
            <pc:sldMk cId="4101049482" sldId="2147481418"/>
            <ac:spMk id="6" creationId="{0841E9B9-805C-E795-D64E-44CC8D5A198D}"/>
          </ac:spMkLst>
        </pc:spChg>
        <pc:spChg chg="del">
          <ac:chgData name="GUILLERME, Alexandre" userId="ea1c6976-b45d-4181-9324-3cd9e1255583" providerId="ADAL" clId="{FAA02EBD-A2D6-4E30-AEFB-7BC683FD876B}" dt="2024-05-31T08:24:11.843" v="1463" actId="478"/>
          <ac:spMkLst>
            <pc:docMk/>
            <pc:sldMk cId="4101049482" sldId="2147481418"/>
            <ac:spMk id="7" creationId="{065C948C-E16F-D7F8-D3F4-495C164D692F}"/>
          </ac:spMkLst>
        </pc:spChg>
      </pc:sldChg>
      <pc:sldChg chg="delSp mod">
        <pc:chgData name="GUILLERME, Alexandre" userId="ea1c6976-b45d-4181-9324-3cd9e1255583" providerId="ADAL" clId="{FAA02EBD-A2D6-4E30-AEFB-7BC683FD876B}" dt="2024-05-31T08:24:21.046" v="1464" actId="478"/>
        <pc:sldMkLst>
          <pc:docMk/>
          <pc:sldMk cId="2657418220" sldId="2147481419"/>
        </pc:sldMkLst>
        <pc:spChg chg="del">
          <ac:chgData name="GUILLERME, Alexandre" userId="ea1c6976-b45d-4181-9324-3cd9e1255583" providerId="ADAL" clId="{FAA02EBD-A2D6-4E30-AEFB-7BC683FD876B}" dt="2024-05-31T08:24:21.046" v="1464" actId="478"/>
          <ac:spMkLst>
            <pc:docMk/>
            <pc:sldMk cId="2657418220" sldId="2147481419"/>
            <ac:spMk id="4" creationId="{6DF82AC6-5530-6A61-DD9C-9C5AC8A785FB}"/>
          </ac:spMkLst>
        </pc:spChg>
        <pc:spChg chg="del">
          <ac:chgData name="GUILLERME, Alexandre" userId="ea1c6976-b45d-4181-9324-3cd9e1255583" providerId="ADAL" clId="{FAA02EBD-A2D6-4E30-AEFB-7BC683FD876B}" dt="2024-05-31T08:24:21.046" v="1464" actId="478"/>
          <ac:spMkLst>
            <pc:docMk/>
            <pc:sldMk cId="2657418220" sldId="2147481419"/>
            <ac:spMk id="6" creationId="{CF9296B9-97F8-EF50-FC80-0B1140CAA3FF}"/>
          </ac:spMkLst>
        </pc:spChg>
        <pc:spChg chg="del">
          <ac:chgData name="GUILLERME, Alexandre" userId="ea1c6976-b45d-4181-9324-3cd9e1255583" providerId="ADAL" clId="{FAA02EBD-A2D6-4E30-AEFB-7BC683FD876B}" dt="2024-05-31T08:24:21.046" v="1464" actId="478"/>
          <ac:spMkLst>
            <pc:docMk/>
            <pc:sldMk cId="2657418220" sldId="2147481419"/>
            <ac:spMk id="7" creationId="{61C95B89-CCA6-3097-51A1-4BD3CA16AC63}"/>
          </ac:spMkLst>
        </pc:spChg>
      </pc:sldChg>
      <pc:sldChg chg="addSp delSp modSp mod">
        <pc:chgData name="GUILLERME, Alexandre" userId="ea1c6976-b45d-4181-9324-3cd9e1255583" providerId="ADAL" clId="{FAA02EBD-A2D6-4E30-AEFB-7BC683FD876B}" dt="2024-05-31T09:19:01.791" v="2024" actId="12788"/>
        <pc:sldMkLst>
          <pc:docMk/>
          <pc:sldMk cId="1486632925" sldId="2147481426"/>
        </pc:sldMkLst>
        <pc:spChg chg="add mod">
          <ac:chgData name="GUILLERME, Alexandre" userId="ea1c6976-b45d-4181-9324-3cd9e1255583" providerId="ADAL" clId="{FAA02EBD-A2D6-4E30-AEFB-7BC683FD876B}" dt="2024-05-31T09:18:33.602" v="2016"/>
          <ac:spMkLst>
            <pc:docMk/>
            <pc:sldMk cId="1486632925" sldId="2147481426"/>
            <ac:spMk id="6" creationId="{AB1D9294-863C-3C10-2C02-5A51CEA1197D}"/>
          </ac:spMkLst>
        </pc:spChg>
        <pc:spChg chg="del">
          <ac:chgData name="GUILLERME, Alexandre" userId="ea1c6976-b45d-4181-9324-3cd9e1255583" providerId="ADAL" clId="{FAA02EBD-A2D6-4E30-AEFB-7BC683FD876B}" dt="2024-05-31T09:18:33.378" v="2015" actId="478"/>
          <ac:spMkLst>
            <pc:docMk/>
            <pc:sldMk cId="1486632925" sldId="2147481426"/>
            <ac:spMk id="8" creationId="{9CED62D4-9277-2C50-D7D6-2BB88BB05A3D}"/>
          </ac:spMkLst>
        </pc:spChg>
        <pc:spChg chg="add mod">
          <ac:chgData name="GUILLERME, Alexandre" userId="ea1c6976-b45d-4181-9324-3cd9e1255583" providerId="ADAL" clId="{FAA02EBD-A2D6-4E30-AEFB-7BC683FD876B}" dt="2024-05-31T09:19:01.791" v="2024" actId="12788"/>
          <ac:spMkLst>
            <pc:docMk/>
            <pc:sldMk cId="1486632925" sldId="2147481426"/>
            <ac:spMk id="12" creationId="{AD0FC357-FF39-B629-25DE-3509E3EF2144}"/>
          </ac:spMkLst>
        </pc:spChg>
        <pc:picChg chg="add mod">
          <ac:chgData name="GUILLERME, Alexandre" userId="ea1c6976-b45d-4181-9324-3cd9e1255583" providerId="ADAL" clId="{FAA02EBD-A2D6-4E30-AEFB-7BC683FD876B}" dt="2024-05-31T09:18:33.602" v="2016"/>
          <ac:picMkLst>
            <pc:docMk/>
            <pc:sldMk cId="1486632925" sldId="2147481426"/>
            <ac:picMk id="2" creationId="{E154DD0B-FAB4-1A88-BB03-28F4E01981FF}"/>
          </ac:picMkLst>
        </pc:picChg>
        <pc:picChg chg="del">
          <ac:chgData name="GUILLERME, Alexandre" userId="ea1c6976-b45d-4181-9324-3cd9e1255583" providerId="ADAL" clId="{FAA02EBD-A2D6-4E30-AEFB-7BC683FD876B}" dt="2024-05-31T09:18:33.378" v="2015" actId="478"/>
          <ac:picMkLst>
            <pc:docMk/>
            <pc:sldMk cId="1486632925" sldId="2147481426"/>
            <ac:picMk id="7" creationId="{103CA0EA-6C92-A1B3-930C-3B11A3B54083}"/>
          </ac:picMkLst>
        </pc:picChg>
        <pc:picChg chg="add del mod">
          <ac:chgData name="GUILLERME, Alexandre" userId="ea1c6976-b45d-4181-9324-3cd9e1255583" providerId="ADAL" clId="{FAA02EBD-A2D6-4E30-AEFB-7BC683FD876B}" dt="2024-05-31T09:18:59.478" v="2023" actId="478"/>
          <ac:picMkLst>
            <pc:docMk/>
            <pc:sldMk cId="1486632925" sldId="2147481426"/>
            <ac:picMk id="9" creationId="{6C89A395-679E-16A9-2191-B4EA4054A46F}"/>
          </ac:picMkLst>
        </pc:picChg>
        <pc:picChg chg="add mod ord">
          <ac:chgData name="GUILLERME, Alexandre" userId="ea1c6976-b45d-4181-9324-3cd9e1255583" providerId="ADAL" clId="{FAA02EBD-A2D6-4E30-AEFB-7BC683FD876B}" dt="2024-05-31T09:19:01.791" v="2024" actId="12788"/>
          <ac:picMkLst>
            <pc:docMk/>
            <pc:sldMk cId="1486632925" sldId="2147481426"/>
            <ac:picMk id="13" creationId="{E83962C3-57EE-0E6A-5D80-6CD6F85E2670}"/>
          </ac:picMkLst>
        </pc:picChg>
      </pc:sldChg>
      <pc:sldChg chg="del">
        <pc:chgData name="GUILLERME, Alexandre" userId="ea1c6976-b45d-4181-9324-3cd9e1255583" providerId="ADAL" clId="{FAA02EBD-A2D6-4E30-AEFB-7BC683FD876B}" dt="2024-05-31T09:20:57.741" v="2035" actId="47"/>
        <pc:sldMkLst>
          <pc:docMk/>
          <pc:sldMk cId="4220268473" sldId="2147481428"/>
        </pc:sldMkLst>
      </pc:sldChg>
      <pc:sldChg chg="delSp modSp mod">
        <pc:chgData name="GUILLERME, Alexandre" userId="ea1c6976-b45d-4181-9324-3cd9e1255583" providerId="ADAL" clId="{FAA02EBD-A2D6-4E30-AEFB-7BC683FD876B}" dt="2024-05-31T09:24:34.115" v="2064" actId="1076"/>
        <pc:sldMkLst>
          <pc:docMk/>
          <pc:sldMk cId="484667238" sldId="2147481430"/>
        </pc:sldMkLst>
        <pc:spChg chg="mod">
          <ac:chgData name="GUILLERME, Alexandre" userId="ea1c6976-b45d-4181-9324-3cd9e1255583" providerId="ADAL" clId="{FAA02EBD-A2D6-4E30-AEFB-7BC683FD876B}" dt="2024-05-31T09:24:34.115" v="2064" actId="1076"/>
          <ac:spMkLst>
            <pc:docMk/>
            <pc:sldMk cId="484667238" sldId="2147481430"/>
            <ac:spMk id="5" creationId="{BD28F52F-29FF-ED93-C9E8-1776150C6014}"/>
          </ac:spMkLst>
        </pc:spChg>
        <pc:spChg chg="mod">
          <ac:chgData name="GUILLERME, Alexandre" userId="ea1c6976-b45d-4181-9324-3cd9e1255583" providerId="ADAL" clId="{FAA02EBD-A2D6-4E30-AEFB-7BC683FD876B}" dt="2024-05-31T09:24:34.115" v="2064" actId="1076"/>
          <ac:spMkLst>
            <pc:docMk/>
            <pc:sldMk cId="484667238" sldId="2147481430"/>
            <ac:spMk id="8" creationId="{9CED62D4-9277-2C50-D7D6-2BB88BB05A3D}"/>
          </ac:spMkLst>
        </pc:spChg>
        <pc:spChg chg="del">
          <ac:chgData name="GUILLERME, Alexandre" userId="ea1c6976-b45d-4181-9324-3cd9e1255583" providerId="ADAL" clId="{FAA02EBD-A2D6-4E30-AEFB-7BC683FD876B}" dt="2024-05-31T09:24:29.888" v="2063" actId="478"/>
          <ac:spMkLst>
            <pc:docMk/>
            <pc:sldMk cId="484667238" sldId="2147481430"/>
            <ac:spMk id="11" creationId="{5BD25EEA-443D-58B9-4FE4-1AA9F3A2813A}"/>
          </ac:spMkLst>
        </pc:spChg>
        <pc:picChg chg="mod">
          <ac:chgData name="GUILLERME, Alexandre" userId="ea1c6976-b45d-4181-9324-3cd9e1255583" providerId="ADAL" clId="{FAA02EBD-A2D6-4E30-AEFB-7BC683FD876B}" dt="2024-05-31T09:24:34.115" v="2064" actId="1076"/>
          <ac:picMkLst>
            <pc:docMk/>
            <pc:sldMk cId="484667238" sldId="2147481430"/>
            <ac:picMk id="4" creationId="{895243AE-1E29-A262-C367-0CA611FCEA1C}"/>
          </ac:picMkLst>
        </pc:picChg>
        <pc:picChg chg="mod">
          <ac:chgData name="GUILLERME, Alexandre" userId="ea1c6976-b45d-4181-9324-3cd9e1255583" providerId="ADAL" clId="{FAA02EBD-A2D6-4E30-AEFB-7BC683FD876B}" dt="2024-05-31T09:24:34.115" v="2064" actId="1076"/>
          <ac:picMkLst>
            <pc:docMk/>
            <pc:sldMk cId="484667238" sldId="2147481430"/>
            <ac:picMk id="7" creationId="{103CA0EA-6C92-A1B3-930C-3B11A3B54083}"/>
          </ac:picMkLst>
        </pc:picChg>
        <pc:picChg chg="del">
          <ac:chgData name="GUILLERME, Alexandre" userId="ea1c6976-b45d-4181-9324-3cd9e1255583" providerId="ADAL" clId="{FAA02EBD-A2D6-4E30-AEFB-7BC683FD876B}" dt="2024-05-31T09:24:29.888" v="2063" actId="478"/>
          <ac:picMkLst>
            <pc:docMk/>
            <pc:sldMk cId="484667238" sldId="2147481430"/>
            <ac:picMk id="10" creationId="{C53E58E4-7E9F-265F-DD66-BAB4F0B97513}"/>
          </ac:picMkLst>
        </pc:picChg>
      </pc:sldChg>
      <pc:sldChg chg="ord">
        <pc:chgData name="GUILLERME, Alexandre" userId="ea1c6976-b45d-4181-9324-3cd9e1255583" providerId="ADAL" clId="{FAA02EBD-A2D6-4E30-AEFB-7BC683FD876B}" dt="2024-05-31T09:28:27.131" v="2071"/>
        <pc:sldMkLst>
          <pc:docMk/>
          <pc:sldMk cId="288322715" sldId="2147481443"/>
        </pc:sldMkLst>
      </pc:sldChg>
      <pc:sldChg chg="ord">
        <pc:chgData name="GUILLERME, Alexandre" userId="ea1c6976-b45d-4181-9324-3cd9e1255583" providerId="ADAL" clId="{FAA02EBD-A2D6-4E30-AEFB-7BC683FD876B}" dt="2024-05-31T09:28:23.875" v="2069"/>
        <pc:sldMkLst>
          <pc:docMk/>
          <pc:sldMk cId="1983833391" sldId="2147481445"/>
        </pc:sldMkLst>
      </pc:sldChg>
      <pc:sldChg chg="modSp mod">
        <pc:chgData name="GUILLERME, Alexandre" userId="ea1c6976-b45d-4181-9324-3cd9e1255583" providerId="ADAL" clId="{FAA02EBD-A2D6-4E30-AEFB-7BC683FD876B}" dt="2024-05-28T13:25:20.690" v="393" actId="207"/>
        <pc:sldMkLst>
          <pc:docMk/>
          <pc:sldMk cId="2310254202" sldId="2147481458"/>
        </pc:sldMkLst>
        <pc:spChg chg="mod">
          <ac:chgData name="GUILLERME, Alexandre" userId="ea1c6976-b45d-4181-9324-3cd9e1255583" providerId="ADAL" clId="{FAA02EBD-A2D6-4E30-AEFB-7BC683FD876B}" dt="2024-05-28T13:25:20.690" v="393" actId="207"/>
          <ac:spMkLst>
            <pc:docMk/>
            <pc:sldMk cId="2310254202" sldId="2147481458"/>
            <ac:spMk id="3" creationId="{976D257D-4BC0-0742-FE8C-8A114779B823}"/>
          </ac:spMkLst>
        </pc:spChg>
      </pc:sldChg>
      <pc:sldChg chg="addSp delSp modSp mod">
        <pc:chgData name="GUILLERME, Alexandre" userId="ea1c6976-b45d-4181-9324-3cd9e1255583" providerId="ADAL" clId="{FAA02EBD-A2D6-4E30-AEFB-7BC683FD876B}" dt="2024-05-28T12:09:52.327" v="51" actId="1076"/>
        <pc:sldMkLst>
          <pc:docMk/>
          <pc:sldMk cId="2572013485" sldId="2147481476"/>
        </pc:sldMkLst>
        <pc:spChg chg="mod">
          <ac:chgData name="GUILLERME, Alexandre" userId="ea1c6976-b45d-4181-9324-3cd9e1255583" providerId="ADAL" clId="{FAA02EBD-A2D6-4E30-AEFB-7BC683FD876B}" dt="2024-05-28T12:03:31.917" v="10" actId="20577"/>
          <ac:spMkLst>
            <pc:docMk/>
            <pc:sldMk cId="2572013485" sldId="2147481476"/>
            <ac:spMk id="16" creationId="{F55E39AD-41EC-9D3D-0A8C-82B167799720}"/>
          </ac:spMkLst>
        </pc:spChg>
        <pc:picChg chg="add mod ord">
          <ac:chgData name="GUILLERME, Alexandre" userId="ea1c6976-b45d-4181-9324-3cd9e1255583" providerId="ADAL" clId="{FAA02EBD-A2D6-4E30-AEFB-7BC683FD876B}" dt="2024-05-28T12:03:21.329" v="3" actId="167"/>
          <ac:picMkLst>
            <pc:docMk/>
            <pc:sldMk cId="2572013485" sldId="2147481476"/>
            <ac:picMk id="2" creationId="{77C6F581-7639-61B5-0E77-D4DAA2B8F008}"/>
          </ac:picMkLst>
        </pc:picChg>
        <pc:picChg chg="del">
          <ac:chgData name="GUILLERME, Alexandre" userId="ea1c6976-b45d-4181-9324-3cd9e1255583" providerId="ADAL" clId="{FAA02EBD-A2D6-4E30-AEFB-7BC683FD876B}" dt="2024-05-28T12:03:22.956" v="4" actId="478"/>
          <ac:picMkLst>
            <pc:docMk/>
            <pc:sldMk cId="2572013485" sldId="2147481476"/>
            <ac:picMk id="15" creationId="{8C1BB760-AA48-452E-6F55-BE2D09FC17EF}"/>
          </ac:picMkLst>
        </pc:picChg>
        <pc:picChg chg="add mod">
          <ac:chgData name="GUILLERME, Alexandre" userId="ea1c6976-b45d-4181-9324-3cd9e1255583" providerId="ADAL" clId="{FAA02EBD-A2D6-4E30-AEFB-7BC683FD876B}" dt="2024-05-28T12:09:21.976" v="46" actId="465"/>
          <ac:picMkLst>
            <pc:docMk/>
            <pc:sldMk cId="2572013485" sldId="2147481476"/>
            <ac:picMk id="1026" creationId="{3361CEE5-4207-A454-40AE-30A5EF892303}"/>
          </ac:picMkLst>
        </pc:picChg>
        <pc:picChg chg="add mod">
          <ac:chgData name="GUILLERME, Alexandre" userId="ea1c6976-b45d-4181-9324-3cd9e1255583" providerId="ADAL" clId="{FAA02EBD-A2D6-4E30-AEFB-7BC683FD876B}" dt="2024-05-28T12:09:52.327" v="51" actId="1076"/>
          <ac:picMkLst>
            <pc:docMk/>
            <pc:sldMk cId="2572013485" sldId="2147481476"/>
            <ac:picMk id="1028" creationId="{90E17479-E943-D382-C214-6D6DF9435149}"/>
          </ac:picMkLst>
        </pc:picChg>
        <pc:picChg chg="add mod">
          <ac:chgData name="GUILLERME, Alexandre" userId="ea1c6976-b45d-4181-9324-3cd9e1255583" providerId="ADAL" clId="{FAA02EBD-A2D6-4E30-AEFB-7BC683FD876B}" dt="2024-05-28T12:09:46.764" v="49" actId="1076"/>
          <ac:picMkLst>
            <pc:docMk/>
            <pc:sldMk cId="2572013485" sldId="2147481476"/>
            <ac:picMk id="1030" creationId="{BB04D437-C3EA-3BCD-731A-A458A452F221}"/>
          </ac:picMkLst>
        </pc:picChg>
        <pc:picChg chg="add mod">
          <ac:chgData name="GUILLERME, Alexandre" userId="ea1c6976-b45d-4181-9324-3cd9e1255583" providerId="ADAL" clId="{FAA02EBD-A2D6-4E30-AEFB-7BC683FD876B}" dt="2024-05-28T12:09:48.987" v="50" actId="1076"/>
          <ac:picMkLst>
            <pc:docMk/>
            <pc:sldMk cId="2572013485" sldId="2147481476"/>
            <ac:picMk id="2050" creationId="{6A4AE121-915E-027B-F6EA-D4B5E9872729}"/>
          </ac:picMkLst>
        </pc:picChg>
        <pc:picChg chg="add mod">
          <ac:chgData name="GUILLERME, Alexandre" userId="ea1c6976-b45d-4181-9324-3cd9e1255583" providerId="ADAL" clId="{FAA02EBD-A2D6-4E30-AEFB-7BC683FD876B}" dt="2024-05-28T12:09:21.976" v="46" actId="465"/>
          <ac:picMkLst>
            <pc:docMk/>
            <pc:sldMk cId="2572013485" sldId="2147481476"/>
            <ac:picMk id="3074" creationId="{849109CF-2ACD-0B13-FBB6-C4ACE0B5FF62}"/>
          </ac:picMkLst>
        </pc:picChg>
      </pc:sldChg>
      <pc:sldChg chg="del">
        <pc:chgData name="GUILLERME, Alexandre" userId="ea1c6976-b45d-4181-9324-3cd9e1255583" providerId="ADAL" clId="{FAA02EBD-A2D6-4E30-AEFB-7BC683FD876B}" dt="2024-05-31T09:20:57.741" v="2035" actId="47"/>
        <pc:sldMkLst>
          <pc:docMk/>
          <pc:sldMk cId="1470086245" sldId="2147481478"/>
        </pc:sldMkLst>
      </pc:sldChg>
      <pc:sldChg chg="addSp delSp modSp mod">
        <pc:chgData name="GUILLERME, Alexandre" userId="ea1c6976-b45d-4181-9324-3cd9e1255583" providerId="ADAL" clId="{FAA02EBD-A2D6-4E30-AEFB-7BC683FD876B}" dt="2024-05-31T09:23:12.714" v="2055" actId="478"/>
        <pc:sldMkLst>
          <pc:docMk/>
          <pc:sldMk cId="2803579720" sldId="2147481488"/>
        </pc:sldMkLst>
        <pc:spChg chg="mod">
          <ac:chgData name="GUILLERME, Alexandre" userId="ea1c6976-b45d-4181-9324-3cd9e1255583" providerId="ADAL" clId="{FAA02EBD-A2D6-4E30-AEFB-7BC683FD876B}" dt="2024-05-31T09:17:47.658" v="2005" actId="20577"/>
          <ac:spMkLst>
            <pc:docMk/>
            <pc:sldMk cId="2803579720" sldId="2147481488"/>
            <ac:spMk id="3" creationId="{82C18E46-EEBD-D6DE-E6A3-7F5A27B8BA41}"/>
          </ac:spMkLst>
        </pc:spChg>
        <pc:spChg chg="add mod">
          <ac:chgData name="GUILLERME, Alexandre" userId="ea1c6976-b45d-4181-9324-3cd9e1255583" providerId="ADAL" clId="{FAA02EBD-A2D6-4E30-AEFB-7BC683FD876B}" dt="2024-05-31T09:22:44.888" v="2049"/>
          <ac:spMkLst>
            <pc:docMk/>
            <pc:sldMk cId="2803579720" sldId="2147481488"/>
            <ac:spMk id="5" creationId="{D9202B7D-E7A8-EEAC-8C6A-4979CB3733A0}"/>
          </ac:spMkLst>
        </pc:spChg>
        <pc:spChg chg="add mod">
          <ac:chgData name="GUILLERME, Alexandre" userId="ea1c6976-b45d-4181-9324-3cd9e1255583" providerId="ADAL" clId="{FAA02EBD-A2D6-4E30-AEFB-7BC683FD876B}" dt="2024-05-31T09:22:44.888" v="2049"/>
          <ac:spMkLst>
            <pc:docMk/>
            <pc:sldMk cId="2803579720" sldId="2147481488"/>
            <ac:spMk id="6" creationId="{7D644AAD-F3FC-F2FB-EF23-74022E4BB9D2}"/>
          </ac:spMkLst>
        </pc:spChg>
        <pc:spChg chg="del">
          <ac:chgData name="GUILLERME, Alexandre" userId="ea1c6976-b45d-4181-9324-3cd9e1255583" providerId="ADAL" clId="{FAA02EBD-A2D6-4E30-AEFB-7BC683FD876B}" dt="2024-05-31T09:22:44.674" v="2048" actId="478"/>
          <ac:spMkLst>
            <pc:docMk/>
            <pc:sldMk cId="2803579720" sldId="2147481488"/>
            <ac:spMk id="11" creationId="{5BD25EEA-443D-58B9-4FE4-1AA9F3A2813A}"/>
          </ac:spMkLst>
        </pc:spChg>
        <pc:picChg chg="add mod">
          <ac:chgData name="GUILLERME, Alexandre" userId="ea1c6976-b45d-4181-9324-3cd9e1255583" providerId="ADAL" clId="{FAA02EBD-A2D6-4E30-AEFB-7BC683FD876B}" dt="2024-05-31T09:22:44.888" v="2049"/>
          <ac:picMkLst>
            <pc:docMk/>
            <pc:sldMk cId="2803579720" sldId="2147481488"/>
            <ac:picMk id="2" creationId="{0EEC2B74-85D0-15E1-810C-83BB0E7E846B}"/>
          </ac:picMkLst>
        </pc:picChg>
        <pc:picChg chg="add del mod">
          <ac:chgData name="GUILLERME, Alexandre" userId="ea1c6976-b45d-4181-9324-3cd9e1255583" providerId="ADAL" clId="{FAA02EBD-A2D6-4E30-AEFB-7BC683FD876B}" dt="2024-05-31T09:23:12.714" v="2055" actId="478"/>
          <ac:picMkLst>
            <pc:docMk/>
            <pc:sldMk cId="2803579720" sldId="2147481488"/>
            <ac:picMk id="4" creationId="{26EA1A50-0167-A20E-AE7B-7749643C8DD7}"/>
          </ac:picMkLst>
        </pc:picChg>
        <pc:picChg chg="add mod">
          <ac:chgData name="GUILLERME, Alexandre" userId="ea1c6976-b45d-4181-9324-3cd9e1255583" providerId="ADAL" clId="{FAA02EBD-A2D6-4E30-AEFB-7BC683FD876B}" dt="2024-05-31T09:23:08.703" v="2054" actId="14100"/>
          <ac:picMkLst>
            <pc:docMk/>
            <pc:sldMk cId="2803579720" sldId="2147481488"/>
            <ac:picMk id="7" creationId="{C0F736BC-DC46-248F-1F1C-FFD4FDA1D9DE}"/>
          </ac:picMkLst>
        </pc:picChg>
        <pc:picChg chg="del">
          <ac:chgData name="GUILLERME, Alexandre" userId="ea1c6976-b45d-4181-9324-3cd9e1255583" providerId="ADAL" clId="{FAA02EBD-A2D6-4E30-AEFB-7BC683FD876B}" dt="2024-05-31T09:22:44.674" v="2048" actId="478"/>
          <ac:picMkLst>
            <pc:docMk/>
            <pc:sldMk cId="2803579720" sldId="2147481488"/>
            <ac:picMk id="10" creationId="{C53E58E4-7E9F-265F-DD66-BAB4F0B97513}"/>
          </ac:picMkLst>
        </pc:picChg>
      </pc:sldChg>
      <pc:sldChg chg="addCm modCm">
        <pc:chgData name="GUILLERME, Alexandre" userId="ea1c6976-b45d-4181-9324-3cd9e1255583" providerId="ADAL" clId="{FAA02EBD-A2D6-4E30-AEFB-7BC683FD876B}" dt="2024-05-31T09:26:36.049" v="2066"/>
        <pc:sldMkLst>
          <pc:docMk/>
          <pc:sldMk cId="1786172485" sldId="2147481489"/>
        </pc:sldMkLst>
        <pc:extLst>
          <p:ext xmlns:p="http://schemas.openxmlformats.org/presentationml/2006/main" uri="{D6D511B9-2390-475A-947B-AFAB55BFBCF1}">
            <pc226:cmChg xmlns:pc226="http://schemas.microsoft.com/office/powerpoint/2022/06/main/command" chg="add mod">
              <pc226:chgData name="GUILLERME, Alexandre" userId="ea1c6976-b45d-4181-9324-3cd9e1255583" providerId="ADAL" clId="{FAA02EBD-A2D6-4E30-AEFB-7BC683FD876B}" dt="2024-05-31T09:26:36.049" v="2066"/>
              <pc2:cmMkLst xmlns:pc2="http://schemas.microsoft.com/office/powerpoint/2019/9/main/command">
                <pc:docMk/>
                <pc:sldMk cId="1786172485" sldId="2147481489"/>
                <pc2:cmMk id="{851CFBE3-D433-458B-A665-BDF488D95884}"/>
              </pc2:cmMkLst>
            </pc226:cmChg>
          </p:ext>
        </pc:extLst>
      </pc:sldChg>
      <pc:sldChg chg="addSp delSp modSp add mod">
        <pc:chgData name="GUILLERME, Alexandre" userId="ea1c6976-b45d-4181-9324-3cd9e1255583" providerId="ADAL" clId="{FAA02EBD-A2D6-4E30-AEFB-7BC683FD876B}" dt="2024-05-31T08:31:26.444" v="1548" actId="207"/>
        <pc:sldMkLst>
          <pc:docMk/>
          <pc:sldMk cId="3717505289" sldId="2147481490"/>
        </pc:sldMkLst>
        <pc:spChg chg="del">
          <ac:chgData name="GUILLERME, Alexandre" userId="ea1c6976-b45d-4181-9324-3cd9e1255583" providerId="ADAL" clId="{FAA02EBD-A2D6-4E30-AEFB-7BC683FD876B}" dt="2024-05-31T08:10:13.270" v="697" actId="478"/>
          <ac:spMkLst>
            <pc:docMk/>
            <pc:sldMk cId="3717505289" sldId="2147481490"/>
            <ac:spMk id="2" creationId="{09153CF7-2EF0-4034-FABB-EF69E193CC6A}"/>
          </ac:spMkLst>
        </pc:spChg>
        <pc:spChg chg="add mod">
          <ac:chgData name="GUILLERME, Alexandre" userId="ea1c6976-b45d-4181-9324-3cd9e1255583" providerId="ADAL" clId="{FAA02EBD-A2D6-4E30-AEFB-7BC683FD876B}" dt="2024-05-31T08:10:09.409" v="696" actId="20577"/>
          <ac:spMkLst>
            <pc:docMk/>
            <pc:sldMk cId="3717505289" sldId="2147481490"/>
            <ac:spMk id="3" creationId="{CE9F9015-2EF0-3969-AC67-CA044B41BED4}"/>
          </ac:spMkLst>
        </pc:spChg>
        <pc:spChg chg="mod topLvl">
          <ac:chgData name="GUILLERME, Alexandre" userId="ea1c6976-b45d-4181-9324-3cd9e1255583" providerId="ADAL" clId="{FAA02EBD-A2D6-4E30-AEFB-7BC683FD876B}" dt="2024-05-31T08:31:26.444" v="1548" actId="207"/>
          <ac:spMkLst>
            <pc:docMk/>
            <pc:sldMk cId="3717505289" sldId="2147481490"/>
            <ac:spMk id="5" creationId="{55846A21-DF7C-3477-69FE-8DC1A4802317}"/>
          </ac:spMkLst>
        </pc:spChg>
        <pc:spChg chg="mod topLvl">
          <ac:chgData name="GUILLERME, Alexandre" userId="ea1c6976-b45d-4181-9324-3cd9e1255583" providerId="ADAL" clId="{FAA02EBD-A2D6-4E30-AEFB-7BC683FD876B}" dt="2024-05-31T08:31:26.444" v="1548" actId="207"/>
          <ac:spMkLst>
            <pc:docMk/>
            <pc:sldMk cId="3717505289" sldId="2147481490"/>
            <ac:spMk id="6" creationId="{FF18B552-67BE-3B6C-3B9E-D402FD17644C}"/>
          </ac:spMkLst>
        </pc:spChg>
        <pc:spChg chg="del">
          <ac:chgData name="GUILLERME, Alexandre" userId="ea1c6976-b45d-4181-9324-3cd9e1255583" providerId="ADAL" clId="{FAA02EBD-A2D6-4E30-AEFB-7BC683FD876B}" dt="2024-05-31T08:10:06.104" v="689" actId="478"/>
          <ac:spMkLst>
            <pc:docMk/>
            <pc:sldMk cId="3717505289" sldId="2147481490"/>
            <ac:spMk id="7" creationId="{9D67B6B4-B458-CB3C-19E8-1409677B2667}"/>
          </ac:spMkLst>
        </pc:spChg>
        <pc:spChg chg="add del mod">
          <ac:chgData name="GUILLERME, Alexandre" userId="ea1c6976-b45d-4181-9324-3cd9e1255583" providerId="ADAL" clId="{FAA02EBD-A2D6-4E30-AEFB-7BC683FD876B}" dt="2024-05-31T08:10:16.631" v="698" actId="478"/>
          <ac:spMkLst>
            <pc:docMk/>
            <pc:sldMk cId="3717505289" sldId="2147481490"/>
            <ac:spMk id="9" creationId="{53AD96F1-6078-093D-EDEF-6359DBD83E38}"/>
          </ac:spMkLst>
        </pc:spChg>
        <pc:spChg chg="add mod topLvl">
          <ac:chgData name="GUILLERME, Alexandre" userId="ea1c6976-b45d-4181-9324-3cd9e1255583" providerId="ADAL" clId="{FAA02EBD-A2D6-4E30-AEFB-7BC683FD876B}" dt="2024-05-31T08:31:26.444" v="1548" actId="207"/>
          <ac:spMkLst>
            <pc:docMk/>
            <pc:sldMk cId="3717505289" sldId="2147481490"/>
            <ac:spMk id="10" creationId="{58C91679-1E21-2E05-DB95-4A4A6740D9D0}"/>
          </ac:spMkLst>
        </pc:spChg>
        <pc:spChg chg="add del mod">
          <ac:chgData name="GUILLERME, Alexandre" userId="ea1c6976-b45d-4181-9324-3cd9e1255583" providerId="ADAL" clId="{FAA02EBD-A2D6-4E30-AEFB-7BC683FD876B}" dt="2024-05-31T08:25:14.354" v="1465" actId="21"/>
          <ac:spMkLst>
            <pc:docMk/>
            <pc:sldMk cId="3717505289" sldId="2147481490"/>
            <ac:spMk id="11" creationId="{17F2FE59-3A7D-9407-8524-246EF0781DB8}"/>
          </ac:spMkLst>
        </pc:spChg>
        <pc:spChg chg="add mod topLvl">
          <ac:chgData name="GUILLERME, Alexandre" userId="ea1c6976-b45d-4181-9324-3cd9e1255583" providerId="ADAL" clId="{FAA02EBD-A2D6-4E30-AEFB-7BC683FD876B}" dt="2024-05-31T08:31:26.444" v="1548" actId="207"/>
          <ac:spMkLst>
            <pc:docMk/>
            <pc:sldMk cId="3717505289" sldId="2147481490"/>
            <ac:spMk id="12" creationId="{58B5CB71-6D8B-BEBE-5E7F-BE68B5F168F3}"/>
          </ac:spMkLst>
        </pc:spChg>
        <pc:spChg chg="add mod topLvl">
          <ac:chgData name="GUILLERME, Alexandre" userId="ea1c6976-b45d-4181-9324-3cd9e1255583" providerId="ADAL" clId="{FAA02EBD-A2D6-4E30-AEFB-7BC683FD876B}" dt="2024-05-31T08:31:26.444" v="1548" actId="207"/>
          <ac:spMkLst>
            <pc:docMk/>
            <pc:sldMk cId="3717505289" sldId="2147481490"/>
            <ac:spMk id="13" creationId="{B6AF507B-6FFC-C42F-E5DA-D3AECD0065E7}"/>
          </ac:spMkLst>
        </pc:spChg>
        <pc:spChg chg="add mod topLvl">
          <ac:chgData name="GUILLERME, Alexandre" userId="ea1c6976-b45d-4181-9324-3cd9e1255583" providerId="ADAL" clId="{FAA02EBD-A2D6-4E30-AEFB-7BC683FD876B}" dt="2024-05-31T08:31:26.444" v="1548" actId="207"/>
          <ac:spMkLst>
            <pc:docMk/>
            <pc:sldMk cId="3717505289" sldId="2147481490"/>
            <ac:spMk id="14" creationId="{5A70A566-9497-AEE7-0275-41E4FDA8C1B9}"/>
          </ac:spMkLst>
        </pc:spChg>
        <pc:grpChg chg="add del mod">
          <ac:chgData name="GUILLERME, Alexandre" userId="ea1c6976-b45d-4181-9324-3cd9e1255583" providerId="ADAL" clId="{FAA02EBD-A2D6-4E30-AEFB-7BC683FD876B}" dt="2024-05-31T08:29:33.463" v="1543" actId="165"/>
          <ac:grpSpMkLst>
            <pc:docMk/>
            <pc:sldMk cId="3717505289" sldId="2147481490"/>
            <ac:grpSpMk id="15" creationId="{4A1832D1-660D-6B5F-13BC-AC4A427FEEE2}"/>
          </ac:grpSpMkLst>
        </pc:grpChg>
        <pc:picChg chg="del">
          <ac:chgData name="GUILLERME, Alexandre" userId="ea1c6976-b45d-4181-9324-3cd9e1255583" providerId="ADAL" clId="{FAA02EBD-A2D6-4E30-AEFB-7BC683FD876B}" dt="2024-05-31T08:09:44.878" v="687" actId="478"/>
          <ac:picMkLst>
            <pc:docMk/>
            <pc:sldMk cId="3717505289" sldId="2147481490"/>
            <ac:picMk id="4" creationId="{CB857379-99EF-755D-0C7D-B85070B7AA94}"/>
          </ac:picMkLst>
        </pc:picChg>
        <pc:picChg chg="del">
          <ac:chgData name="GUILLERME, Alexandre" userId="ea1c6976-b45d-4181-9324-3cd9e1255583" providerId="ADAL" clId="{FAA02EBD-A2D6-4E30-AEFB-7BC683FD876B}" dt="2024-05-31T08:10:18.562" v="699" actId="478"/>
          <ac:picMkLst>
            <pc:docMk/>
            <pc:sldMk cId="3717505289" sldId="2147481490"/>
            <ac:picMk id="2050" creationId="{9F7A6597-1D0D-45E3-8712-AF3F7E36C16F}"/>
          </ac:picMkLst>
        </pc:picChg>
      </pc:sldChg>
      <pc:sldChg chg="addSp delSp modSp add mod">
        <pc:chgData name="GUILLERME, Alexandre" userId="ea1c6976-b45d-4181-9324-3cd9e1255583" providerId="ADAL" clId="{FAA02EBD-A2D6-4E30-AEFB-7BC683FD876B}" dt="2024-05-31T08:35:53.915" v="1622" actId="1076"/>
        <pc:sldMkLst>
          <pc:docMk/>
          <pc:sldMk cId="1453045096" sldId="2147481491"/>
        </pc:sldMkLst>
        <pc:spChg chg="add mod">
          <ac:chgData name="GUILLERME, Alexandre" userId="ea1c6976-b45d-4181-9324-3cd9e1255583" providerId="ADAL" clId="{FAA02EBD-A2D6-4E30-AEFB-7BC683FD876B}" dt="2024-05-31T08:34:25.322" v="1593" actId="14100"/>
          <ac:spMkLst>
            <pc:docMk/>
            <pc:sldMk cId="1453045096" sldId="2147481491"/>
            <ac:spMk id="2" creationId="{34A8272F-C29A-A1BA-0BFD-1D7BC52C2356}"/>
          </ac:spMkLst>
        </pc:spChg>
        <pc:spChg chg="mod">
          <ac:chgData name="GUILLERME, Alexandre" userId="ea1c6976-b45d-4181-9324-3cd9e1255583" providerId="ADAL" clId="{FAA02EBD-A2D6-4E30-AEFB-7BC683FD876B}" dt="2024-05-31T08:25:28.831" v="1468" actId="552"/>
          <ac:spMkLst>
            <pc:docMk/>
            <pc:sldMk cId="1453045096" sldId="2147481491"/>
            <ac:spMk id="3" creationId="{CE9F9015-2EF0-3969-AC67-CA044B41BED4}"/>
          </ac:spMkLst>
        </pc:spChg>
        <pc:spChg chg="add mod">
          <ac:chgData name="GUILLERME, Alexandre" userId="ea1c6976-b45d-4181-9324-3cd9e1255583" providerId="ADAL" clId="{FAA02EBD-A2D6-4E30-AEFB-7BC683FD876B}" dt="2024-05-31T08:34:25.322" v="1593" actId="14100"/>
          <ac:spMkLst>
            <pc:docMk/>
            <pc:sldMk cId="1453045096" sldId="2147481491"/>
            <ac:spMk id="4" creationId="{E4AD5082-2CBF-F9C0-88C4-127EEC1F8DA5}"/>
          </ac:spMkLst>
        </pc:spChg>
        <pc:spChg chg="del">
          <ac:chgData name="GUILLERME, Alexandre" userId="ea1c6976-b45d-4181-9324-3cd9e1255583" providerId="ADAL" clId="{FAA02EBD-A2D6-4E30-AEFB-7BC683FD876B}" dt="2024-05-31T08:19:42.860" v="1236" actId="478"/>
          <ac:spMkLst>
            <pc:docMk/>
            <pc:sldMk cId="1453045096" sldId="2147481491"/>
            <ac:spMk id="5" creationId="{55846A21-DF7C-3477-69FE-8DC1A4802317}"/>
          </ac:spMkLst>
        </pc:spChg>
        <pc:spChg chg="del">
          <ac:chgData name="GUILLERME, Alexandre" userId="ea1c6976-b45d-4181-9324-3cd9e1255583" providerId="ADAL" clId="{FAA02EBD-A2D6-4E30-AEFB-7BC683FD876B}" dt="2024-05-31T08:19:42.860" v="1236" actId="478"/>
          <ac:spMkLst>
            <pc:docMk/>
            <pc:sldMk cId="1453045096" sldId="2147481491"/>
            <ac:spMk id="6" creationId="{FF18B552-67BE-3B6C-3B9E-D402FD17644C}"/>
          </ac:spMkLst>
        </pc:spChg>
        <pc:spChg chg="add del mod">
          <ac:chgData name="GUILLERME, Alexandre" userId="ea1c6976-b45d-4181-9324-3cd9e1255583" providerId="ADAL" clId="{FAA02EBD-A2D6-4E30-AEFB-7BC683FD876B}" dt="2024-05-31T08:34:42.005" v="1596" actId="478"/>
          <ac:spMkLst>
            <pc:docMk/>
            <pc:sldMk cId="1453045096" sldId="2147481491"/>
            <ac:spMk id="7" creationId="{86F5BBE9-9B66-9928-F8A6-B6C81B554AF1}"/>
          </ac:spMkLst>
        </pc:spChg>
        <pc:spChg chg="add del mod">
          <ac:chgData name="GUILLERME, Alexandre" userId="ea1c6976-b45d-4181-9324-3cd9e1255583" providerId="ADAL" clId="{FAA02EBD-A2D6-4E30-AEFB-7BC683FD876B}" dt="2024-05-31T08:34:42.005" v="1596" actId="478"/>
          <ac:spMkLst>
            <pc:docMk/>
            <pc:sldMk cId="1453045096" sldId="2147481491"/>
            <ac:spMk id="8" creationId="{C50CF629-E9EB-C351-7D2E-5A939D203DA6}"/>
          </ac:spMkLst>
        </pc:spChg>
        <pc:spChg chg="mod">
          <ac:chgData name="GUILLERME, Alexandre" userId="ea1c6976-b45d-4181-9324-3cd9e1255583" providerId="ADAL" clId="{FAA02EBD-A2D6-4E30-AEFB-7BC683FD876B}" dt="2024-05-31T08:34:56.112" v="1599" actId="14100"/>
          <ac:spMkLst>
            <pc:docMk/>
            <pc:sldMk cId="1453045096" sldId="2147481491"/>
            <ac:spMk id="10" creationId="{58C91679-1E21-2E05-DB95-4A4A6740D9D0}"/>
          </ac:spMkLst>
        </pc:spChg>
        <pc:spChg chg="mod">
          <ac:chgData name="GUILLERME, Alexandre" userId="ea1c6976-b45d-4181-9324-3cd9e1255583" providerId="ADAL" clId="{FAA02EBD-A2D6-4E30-AEFB-7BC683FD876B}" dt="2024-05-31T08:35:51.146" v="1621" actId="14100"/>
          <ac:spMkLst>
            <pc:docMk/>
            <pc:sldMk cId="1453045096" sldId="2147481491"/>
            <ac:spMk id="11" creationId="{17F2FE59-3A7D-9407-8524-246EF0781DB8}"/>
          </ac:spMkLst>
        </pc:spChg>
        <pc:spChg chg="add del">
          <ac:chgData name="GUILLERME, Alexandre" userId="ea1c6976-b45d-4181-9324-3cd9e1255583" providerId="ADAL" clId="{FAA02EBD-A2D6-4E30-AEFB-7BC683FD876B}" dt="2024-05-31T08:33:48.530" v="1583" actId="22"/>
          <ac:spMkLst>
            <pc:docMk/>
            <pc:sldMk cId="1453045096" sldId="2147481491"/>
            <ac:spMk id="12" creationId="{F3F8AC29-6961-9135-CF98-ECB377EEA445}"/>
          </ac:spMkLst>
        </pc:spChg>
        <pc:spChg chg="add mod">
          <ac:chgData name="GUILLERME, Alexandre" userId="ea1c6976-b45d-4181-9324-3cd9e1255583" providerId="ADAL" clId="{FAA02EBD-A2D6-4E30-AEFB-7BC683FD876B}" dt="2024-05-31T08:35:09.418" v="1604" actId="1076"/>
          <ac:spMkLst>
            <pc:docMk/>
            <pc:sldMk cId="1453045096" sldId="2147481491"/>
            <ac:spMk id="13" creationId="{B08914ED-34FC-7BA3-A822-54A7C7AE1F36}"/>
          </ac:spMkLst>
        </pc:spChg>
        <pc:spChg chg="add mod">
          <ac:chgData name="GUILLERME, Alexandre" userId="ea1c6976-b45d-4181-9324-3cd9e1255583" providerId="ADAL" clId="{FAA02EBD-A2D6-4E30-AEFB-7BC683FD876B}" dt="2024-05-31T08:35:53.915" v="1622" actId="1076"/>
          <ac:spMkLst>
            <pc:docMk/>
            <pc:sldMk cId="1453045096" sldId="2147481491"/>
            <ac:spMk id="14" creationId="{1C18A15A-842A-5F5D-907A-D8B51C162CF1}"/>
          </ac:spMkLst>
        </pc:spChg>
      </pc:sldChg>
      <pc:sldChg chg="addSp delSp modSp add mod">
        <pc:chgData name="GUILLERME, Alexandre" userId="ea1c6976-b45d-4181-9324-3cd9e1255583" providerId="ADAL" clId="{FAA02EBD-A2D6-4E30-AEFB-7BC683FD876B}" dt="2024-05-31T08:57:36.942" v="1813" actId="207"/>
        <pc:sldMkLst>
          <pc:docMk/>
          <pc:sldMk cId="2210762901" sldId="2147481492"/>
        </pc:sldMkLst>
        <pc:spChg chg="del">
          <ac:chgData name="GUILLERME, Alexandre" userId="ea1c6976-b45d-4181-9324-3cd9e1255583" providerId="ADAL" clId="{FAA02EBD-A2D6-4E30-AEFB-7BC683FD876B}" dt="2024-05-31T08:42:20.995" v="1624" actId="478"/>
          <ac:spMkLst>
            <pc:docMk/>
            <pc:sldMk cId="2210762901" sldId="2147481492"/>
            <ac:spMk id="2" creationId="{34A8272F-C29A-A1BA-0BFD-1D7BC52C2356}"/>
          </ac:spMkLst>
        </pc:spChg>
        <pc:spChg chg="mod">
          <ac:chgData name="GUILLERME, Alexandre" userId="ea1c6976-b45d-4181-9324-3cd9e1255583" providerId="ADAL" clId="{FAA02EBD-A2D6-4E30-AEFB-7BC683FD876B}" dt="2024-05-31T08:42:33.853" v="1665" actId="20577"/>
          <ac:spMkLst>
            <pc:docMk/>
            <pc:sldMk cId="2210762901" sldId="2147481492"/>
            <ac:spMk id="3" creationId="{CE9F9015-2EF0-3969-AC67-CA044B41BED4}"/>
          </ac:spMkLst>
        </pc:spChg>
        <pc:spChg chg="del">
          <ac:chgData name="GUILLERME, Alexandre" userId="ea1c6976-b45d-4181-9324-3cd9e1255583" providerId="ADAL" clId="{FAA02EBD-A2D6-4E30-AEFB-7BC683FD876B}" dt="2024-05-31T08:42:20.995" v="1624" actId="478"/>
          <ac:spMkLst>
            <pc:docMk/>
            <pc:sldMk cId="2210762901" sldId="2147481492"/>
            <ac:spMk id="4" creationId="{E4AD5082-2CBF-F9C0-88C4-127EEC1F8DA5}"/>
          </ac:spMkLst>
        </pc:spChg>
        <pc:spChg chg="add mod topLvl">
          <ac:chgData name="GUILLERME, Alexandre" userId="ea1c6976-b45d-4181-9324-3cd9e1255583" providerId="ADAL" clId="{FAA02EBD-A2D6-4E30-AEFB-7BC683FD876B}" dt="2024-05-31T08:55:51.917" v="1808" actId="207"/>
          <ac:spMkLst>
            <pc:docMk/>
            <pc:sldMk cId="2210762901" sldId="2147481492"/>
            <ac:spMk id="8" creationId="{8B854241-87CC-E30F-8F76-32E14773EF5E}"/>
          </ac:spMkLst>
        </pc:spChg>
        <pc:spChg chg="del">
          <ac:chgData name="GUILLERME, Alexandre" userId="ea1c6976-b45d-4181-9324-3cd9e1255583" providerId="ADAL" clId="{FAA02EBD-A2D6-4E30-AEFB-7BC683FD876B}" dt="2024-05-31T08:42:20.995" v="1624" actId="478"/>
          <ac:spMkLst>
            <pc:docMk/>
            <pc:sldMk cId="2210762901" sldId="2147481492"/>
            <ac:spMk id="10" creationId="{58C91679-1E21-2E05-DB95-4A4A6740D9D0}"/>
          </ac:spMkLst>
        </pc:spChg>
        <pc:spChg chg="del">
          <ac:chgData name="GUILLERME, Alexandre" userId="ea1c6976-b45d-4181-9324-3cd9e1255583" providerId="ADAL" clId="{FAA02EBD-A2D6-4E30-AEFB-7BC683FD876B}" dt="2024-05-31T08:42:20.995" v="1624" actId="478"/>
          <ac:spMkLst>
            <pc:docMk/>
            <pc:sldMk cId="2210762901" sldId="2147481492"/>
            <ac:spMk id="11" creationId="{17F2FE59-3A7D-9407-8524-246EF0781DB8}"/>
          </ac:spMkLst>
        </pc:spChg>
        <pc:spChg chg="del">
          <ac:chgData name="GUILLERME, Alexandre" userId="ea1c6976-b45d-4181-9324-3cd9e1255583" providerId="ADAL" clId="{FAA02EBD-A2D6-4E30-AEFB-7BC683FD876B}" dt="2024-05-31T08:42:20.995" v="1624" actId="478"/>
          <ac:spMkLst>
            <pc:docMk/>
            <pc:sldMk cId="2210762901" sldId="2147481492"/>
            <ac:spMk id="13" creationId="{B08914ED-34FC-7BA3-A822-54A7C7AE1F36}"/>
          </ac:spMkLst>
        </pc:spChg>
        <pc:spChg chg="del">
          <ac:chgData name="GUILLERME, Alexandre" userId="ea1c6976-b45d-4181-9324-3cd9e1255583" providerId="ADAL" clId="{FAA02EBD-A2D6-4E30-AEFB-7BC683FD876B}" dt="2024-05-31T08:42:20.995" v="1624" actId="478"/>
          <ac:spMkLst>
            <pc:docMk/>
            <pc:sldMk cId="2210762901" sldId="2147481492"/>
            <ac:spMk id="14" creationId="{1C18A15A-842A-5F5D-907A-D8B51C162CF1}"/>
          </ac:spMkLst>
        </pc:spChg>
        <pc:spChg chg="add mod topLvl">
          <ac:chgData name="GUILLERME, Alexandre" userId="ea1c6976-b45d-4181-9324-3cd9e1255583" providerId="ADAL" clId="{FAA02EBD-A2D6-4E30-AEFB-7BC683FD876B}" dt="2024-05-31T08:55:51.917" v="1808" actId="207"/>
          <ac:spMkLst>
            <pc:docMk/>
            <pc:sldMk cId="2210762901" sldId="2147481492"/>
            <ac:spMk id="16" creationId="{04B735EC-61E1-85B1-469F-895664411085}"/>
          </ac:spMkLst>
        </pc:spChg>
        <pc:spChg chg="add mod topLvl">
          <ac:chgData name="GUILLERME, Alexandre" userId="ea1c6976-b45d-4181-9324-3cd9e1255583" providerId="ADAL" clId="{FAA02EBD-A2D6-4E30-AEFB-7BC683FD876B}" dt="2024-05-31T08:55:51.917" v="1808" actId="207"/>
          <ac:spMkLst>
            <pc:docMk/>
            <pc:sldMk cId="2210762901" sldId="2147481492"/>
            <ac:spMk id="19" creationId="{12F160EA-5ECB-AAD3-F0CB-7132B1559AAF}"/>
          </ac:spMkLst>
        </pc:spChg>
        <pc:spChg chg="add mod topLvl">
          <ac:chgData name="GUILLERME, Alexandre" userId="ea1c6976-b45d-4181-9324-3cd9e1255583" providerId="ADAL" clId="{FAA02EBD-A2D6-4E30-AEFB-7BC683FD876B}" dt="2024-05-31T08:57:36.942" v="1813" actId="207"/>
          <ac:spMkLst>
            <pc:docMk/>
            <pc:sldMk cId="2210762901" sldId="2147481492"/>
            <ac:spMk id="22" creationId="{51AE06F0-D3C3-EE57-80FC-9744BF67895F}"/>
          </ac:spMkLst>
        </pc:spChg>
        <pc:spChg chg="add mod topLvl">
          <ac:chgData name="GUILLERME, Alexandre" userId="ea1c6976-b45d-4181-9324-3cd9e1255583" providerId="ADAL" clId="{FAA02EBD-A2D6-4E30-AEFB-7BC683FD876B}" dt="2024-05-31T08:57:36.942" v="1813" actId="207"/>
          <ac:spMkLst>
            <pc:docMk/>
            <pc:sldMk cId="2210762901" sldId="2147481492"/>
            <ac:spMk id="23" creationId="{5BAAB415-B11A-5F80-A8A8-69F8868794D6}"/>
          </ac:spMkLst>
        </pc:spChg>
        <pc:spChg chg="add mod topLvl">
          <ac:chgData name="GUILLERME, Alexandre" userId="ea1c6976-b45d-4181-9324-3cd9e1255583" providerId="ADAL" clId="{FAA02EBD-A2D6-4E30-AEFB-7BC683FD876B}" dt="2024-05-31T08:57:36.942" v="1813" actId="207"/>
          <ac:spMkLst>
            <pc:docMk/>
            <pc:sldMk cId="2210762901" sldId="2147481492"/>
            <ac:spMk id="24" creationId="{23A3CCEA-7161-75F6-B7AA-CF2899B286CB}"/>
          </ac:spMkLst>
        </pc:spChg>
        <pc:grpChg chg="add del mod">
          <ac:chgData name="GUILLERME, Alexandre" userId="ea1c6976-b45d-4181-9324-3cd9e1255583" providerId="ADAL" clId="{FAA02EBD-A2D6-4E30-AEFB-7BC683FD876B}" dt="2024-05-31T08:54:09.241" v="1795" actId="165"/>
          <ac:grpSpMkLst>
            <pc:docMk/>
            <pc:sldMk cId="2210762901" sldId="2147481492"/>
            <ac:grpSpMk id="25" creationId="{5FA9565B-52A0-C362-14D1-BB935E6A63B8}"/>
          </ac:grpSpMkLst>
        </pc:grpChg>
        <pc:picChg chg="add mod topLvl">
          <ac:chgData name="GUILLERME, Alexandre" userId="ea1c6976-b45d-4181-9324-3cd9e1255583" providerId="ADAL" clId="{FAA02EBD-A2D6-4E30-AEFB-7BC683FD876B}" dt="2024-05-31T08:57:20.100" v="1811" actId="1076"/>
          <ac:picMkLst>
            <pc:docMk/>
            <pc:sldMk cId="2210762901" sldId="2147481492"/>
            <ac:picMk id="5" creationId="{BDB88F21-2589-C9DA-7AB3-C5FFACA4670D}"/>
          </ac:picMkLst>
        </pc:picChg>
        <pc:picChg chg="add mod topLvl">
          <ac:chgData name="GUILLERME, Alexandre" userId="ea1c6976-b45d-4181-9324-3cd9e1255583" providerId="ADAL" clId="{FAA02EBD-A2D6-4E30-AEFB-7BC683FD876B}" dt="2024-05-31T08:57:20.100" v="1811" actId="1076"/>
          <ac:picMkLst>
            <pc:docMk/>
            <pc:sldMk cId="2210762901" sldId="2147481492"/>
            <ac:picMk id="6" creationId="{EA598B51-7C4E-7B1A-CF49-464F3B75FF55}"/>
          </ac:picMkLst>
        </pc:picChg>
        <pc:picChg chg="add mod topLvl">
          <ac:chgData name="GUILLERME, Alexandre" userId="ea1c6976-b45d-4181-9324-3cd9e1255583" providerId="ADAL" clId="{FAA02EBD-A2D6-4E30-AEFB-7BC683FD876B}" dt="2024-05-31T08:57:20.100" v="1811" actId="1076"/>
          <ac:picMkLst>
            <pc:docMk/>
            <pc:sldMk cId="2210762901" sldId="2147481492"/>
            <ac:picMk id="7" creationId="{301EB2DD-D99A-3868-D494-425D568E731A}"/>
          </ac:picMkLst>
        </pc:picChg>
        <pc:picChg chg="add del mod">
          <ac:chgData name="GUILLERME, Alexandre" userId="ea1c6976-b45d-4181-9324-3cd9e1255583" providerId="ADAL" clId="{FAA02EBD-A2D6-4E30-AEFB-7BC683FD876B}" dt="2024-05-31T08:43:13.662" v="1672" actId="478"/>
          <ac:picMkLst>
            <pc:docMk/>
            <pc:sldMk cId="2210762901" sldId="2147481492"/>
            <ac:picMk id="9" creationId="{97CC4D68-66DC-E424-3787-58E93E3F3D27}"/>
          </ac:picMkLst>
        </pc:picChg>
        <pc:picChg chg="add mod topLvl">
          <ac:chgData name="GUILLERME, Alexandre" userId="ea1c6976-b45d-4181-9324-3cd9e1255583" providerId="ADAL" clId="{FAA02EBD-A2D6-4E30-AEFB-7BC683FD876B}" dt="2024-05-31T08:54:09.241" v="1795" actId="165"/>
          <ac:picMkLst>
            <pc:docMk/>
            <pc:sldMk cId="2210762901" sldId="2147481492"/>
            <ac:picMk id="12" creationId="{C53587FD-F5DD-6308-DBCB-87AD311F3CA6}"/>
          </ac:picMkLst>
        </pc:picChg>
        <pc:picChg chg="add mod topLvl">
          <ac:chgData name="GUILLERME, Alexandre" userId="ea1c6976-b45d-4181-9324-3cd9e1255583" providerId="ADAL" clId="{FAA02EBD-A2D6-4E30-AEFB-7BC683FD876B}" dt="2024-05-31T08:54:09.241" v="1795" actId="165"/>
          <ac:picMkLst>
            <pc:docMk/>
            <pc:sldMk cId="2210762901" sldId="2147481492"/>
            <ac:picMk id="15" creationId="{B2ACCF88-0D48-A692-849E-3577E8998688}"/>
          </ac:picMkLst>
        </pc:picChg>
        <pc:picChg chg="add mod topLvl">
          <ac:chgData name="GUILLERME, Alexandre" userId="ea1c6976-b45d-4181-9324-3cd9e1255583" providerId="ADAL" clId="{FAA02EBD-A2D6-4E30-AEFB-7BC683FD876B}" dt="2024-05-31T08:54:09.241" v="1795" actId="165"/>
          <ac:picMkLst>
            <pc:docMk/>
            <pc:sldMk cId="2210762901" sldId="2147481492"/>
            <ac:picMk id="17" creationId="{4CD3B7B6-B586-0124-E2C1-D6C0E908AE46}"/>
          </ac:picMkLst>
        </pc:picChg>
        <pc:picChg chg="add mod topLvl">
          <ac:chgData name="GUILLERME, Alexandre" userId="ea1c6976-b45d-4181-9324-3cd9e1255583" providerId="ADAL" clId="{FAA02EBD-A2D6-4E30-AEFB-7BC683FD876B}" dt="2024-05-31T08:54:09.241" v="1795" actId="165"/>
          <ac:picMkLst>
            <pc:docMk/>
            <pc:sldMk cId="2210762901" sldId="2147481492"/>
            <ac:picMk id="18" creationId="{528EB466-C0A6-7631-2777-10D304D5031D}"/>
          </ac:picMkLst>
        </pc:picChg>
        <pc:picChg chg="add mod topLvl">
          <ac:chgData name="GUILLERME, Alexandre" userId="ea1c6976-b45d-4181-9324-3cd9e1255583" providerId="ADAL" clId="{FAA02EBD-A2D6-4E30-AEFB-7BC683FD876B}" dt="2024-05-31T08:54:09.241" v="1795" actId="165"/>
          <ac:picMkLst>
            <pc:docMk/>
            <pc:sldMk cId="2210762901" sldId="2147481492"/>
            <ac:picMk id="20" creationId="{FDEF902D-5D1E-F824-797E-9A559A944412}"/>
          </ac:picMkLst>
        </pc:picChg>
        <pc:picChg chg="add mod topLvl">
          <ac:chgData name="GUILLERME, Alexandre" userId="ea1c6976-b45d-4181-9324-3cd9e1255583" providerId="ADAL" clId="{FAA02EBD-A2D6-4E30-AEFB-7BC683FD876B}" dt="2024-05-31T08:54:09.241" v="1795" actId="165"/>
          <ac:picMkLst>
            <pc:docMk/>
            <pc:sldMk cId="2210762901" sldId="2147481492"/>
            <ac:picMk id="21" creationId="{61E8BFAC-117A-22E7-ED14-94668697C6C9}"/>
          </ac:picMkLst>
        </pc:picChg>
      </pc:sldChg>
      <pc:sldChg chg="add del ord">
        <pc:chgData name="GUILLERME, Alexandre" userId="ea1c6976-b45d-4181-9324-3cd9e1255583" providerId="ADAL" clId="{FAA02EBD-A2D6-4E30-AEFB-7BC683FD876B}" dt="2024-05-31T09:20:21.338" v="2031" actId="47"/>
        <pc:sldMkLst>
          <pc:docMk/>
          <pc:sldMk cId="1032336279" sldId="2147481493"/>
        </pc:sldMkLst>
      </pc:sldChg>
      <pc:sldChg chg="addSp delSp modSp add mod">
        <pc:chgData name="GUILLERME, Alexandre" userId="ea1c6976-b45d-4181-9324-3cd9e1255583" providerId="ADAL" clId="{FAA02EBD-A2D6-4E30-AEFB-7BC683FD876B}" dt="2024-05-31T09:18:23.192" v="2014" actId="165"/>
        <pc:sldMkLst>
          <pc:docMk/>
          <pc:sldMk cId="4068056280" sldId="2147481494"/>
        </pc:sldMkLst>
        <pc:spChg chg="add mod topLvl">
          <ac:chgData name="GUILLERME, Alexandre" userId="ea1c6976-b45d-4181-9324-3cd9e1255583" providerId="ADAL" clId="{FAA02EBD-A2D6-4E30-AEFB-7BC683FD876B}" dt="2024-05-31T09:18:23.192" v="2014" actId="165"/>
          <ac:spMkLst>
            <pc:docMk/>
            <pc:sldMk cId="4068056280" sldId="2147481494"/>
            <ac:spMk id="4" creationId="{0BCC1F16-DCBE-5BAD-D4E6-9CF3F40DCA00}"/>
          </ac:spMkLst>
        </pc:spChg>
        <pc:spChg chg="mod topLvl">
          <ac:chgData name="GUILLERME, Alexandre" userId="ea1c6976-b45d-4181-9324-3cd9e1255583" providerId="ADAL" clId="{FAA02EBD-A2D6-4E30-AEFB-7BC683FD876B}" dt="2024-05-31T09:18:23.192" v="2014" actId="165"/>
          <ac:spMkLst>
            <pc:docMk/>
            <pc:sldMk cId="4068056280" sldId="2147481494"/>
            <ac:spMk id="8" creationId="{9CED62D4-9277-2C50-D7D6-2BB88BB05A3D}"/>
          </ac:spMkLst>
        </pc:spChg>
        <pc:grpChg chg="add del mod">
          <ac:chgData name="GUILLERME, Alexandre" userId="ea1c6976-b45d-4181-9324-3cd9e1255583" providerId="ADAL" clId="{FAA02EBD-A2D6-4E30-AEFB-7BC683FD876B}" dt="2024-05-31T09:18:23.192" v="2014" actId="165"/>
          <ac:grpSpMkLst>
            <pc:docMk/>
            <pc:sldMk cId="4068056280" sldId="2147481494"/>
            <ac:grpSpMk id="5" creationId="{AFF6407C-E8B1-D55E-0071-B6A9602E3F8C}"/>
          </ac:grpSpMkLst>
        </pc:grpChg>
        <pc:picChg chg="add mod topLvl">
          <ac:chgData name="GUILLERME, Alexandre" userId="ea1c6976-b45d-4181-9324-3cd9e1255583" providerId="ADAL" clId="{FAA02EBD-A2D6-4E30-AEFB-7BC683FD876B}" dt="2024-05-31T09:18:23.192" v="2014" actId="165"/>
          <ac:picMkLst>
            <pc:docMk/>
            <pc:sldMk cId="4068056280" sldId="2147481494"/>
            <ac:picMk id="2" creationId="{5E9E951E-5CCF-10D2-B326-EA34200E4712}"/>
          </ac:picMkLst>
        </pc:picChg>
        <pc:picChg chg="mod topLvl">
          <ac:chgData name="GUILLERME, Alexandre" userId="ea1c6976-b45d-4181-9324-3cd9e1255583" providerId="ADAL" clId="{FAA02EBD-A2D6-4E30-AEFB-7BC683FD876B}" dt="2024-05-31T09:18:23.192" v="2014" actId="165"/>
          <ac:picMkLst>
            <pc:docMk/>
            <pc:sldMk cId="4068056280" sldId="2147481494"/>
            <ac:picMk id="7" creationId="{103CA0EA-6C92-A1B3-930C-3B11A3B54083}"/>
          </ac:picMkLst>
        </pc:picChg>
      </pc:sldChg>
      <pc:sldChg chg="add del setBg">
        <pc:chgData name="GUILLERME, Alexandre" userId="ea1c6976-b45d-4181-9324-3cd9e1255583" providerId="ADAL" clId="{FAA02EBD-A2D6-4E30-AEFB-7BC683FD876B}" dt="2024-05-31T09:20:54.545" v="2034" actId="47"/>
        <pc:sldMkLst>
          <pc:docMk/>
          <pc:sldMk cId="2117909555" sldId="2147481495"/>
        </pc:sldMkLst>
      </pc:sldChg>
      <pc:sldChg chg="add">
        <pc:chgData name="GUILLERME, Alexandre" userId="ea1c6976-b45d-4181-9324-3cd9e1255583" providerId="ADAL" clId="{FAA02EBD-A2D6-4E30-AEFB-7BC683FD876B}" dt="2024-05-31T09:18:03.171" v="2006"/>
        <pc:sldMkLst>
          <pc:docMk/>
          <pc:sldMk cId="1439983877" sldId="2147481496"/>
        </pc:sldMkLst>
      </pc:sldChg>
      <pc:sldChg chg="addSp delSp modSp add mod">
        <pc:chgData name="GUILLERME, Alexandre" userId="ea1c6976-b45d-4181-9324-3cd9e1255583" providerId="ADAL" clId="{FAA02EBD-A2D6-4E30-AEFB-7BC683FD876B}" dt="2024-05-31T09:23:32.638" v="2057"/>
        <pc:sldMkLst>
          <pc:docMk/>
          <pc:sldMk cId="506043991" sldId="2147481497"/>
        </pc:sldMkLst>
        <pc:spChg chg="add del mod topLvl">
          <ac:chgData name="GUILLERME, Alexandre" userId="ea1c6976-b45d-4181-9324-3cd9e1255583" providerId="ADAL" clId="{FAA02EBD-A2D6-4E30-AEFB-7BC683FD876B}" dt="2024-05-31T09:23:32.435" v="2056" actId="478"/>
          <ac:spMkLst>
            <pc:docMk/>
            <pc:sldMk cId="506043991" sldId="2147481497"/>
            <ac:spMk id="4" creationId="{B67E86E8-F00B-3ACA-6ABE-D83C2C2C5F65}"/>
          </ac:spMkLst>
        </pc:spChg>
        <pc:spChg chg="add mod">
          <ac:chgData name="GUILLERME, Alexandre" userId="ea1c6976-b45d-4181-9324-3cd9e1255583" providerId="ADAL" clId="{FAA02EBD-A2D6-4E30-AEFB-7BC683FD876B}" dt="2024-05-31T09:23:32.638" v="2057"/>
          <ac:spMkLst>
            <pc:docMk/>
            <pc:sldMk cId="506043991" sldId="2147481497"/>
            <ac:spMk id="8" creationId="{A6E120E0-8DAA-6CEA-D040-A3830D4C6A19}"/>
          </ac:spMkLst>
        </pc:spChg>
        <pc:spChg chg="add mod">
          <ac:chgData name="GUILLERME, Alexandre" userId="ea1c6976-b45d-4181-9324-3cd9e1255583" providerId="ADAL" clId="{FAA02EBD-A2D6-4E30-AEFB-7BC683FD876B}" dt="2024-05-31T09:23:32.638" v="2057"/>
          <ac:spMkLst>
            <pc:docMk/>
            <pc:sldMk cId="506043991" sldId="2147481497"/>
            <ac:spMk id="9" creationId="{FBEAD0BC-6940-F5D7-E804-A5A1E8E20EC3}"/>
          </ac:spMkLst>
        </pc:spChg>
        <pc:spChg chg="del mod topLvl">
          <ac:chgData name="GUILLERME, Alexandre" userId="ea1c6976-b45d-4181-9324-3cd9e1255583" providerId="ADAL" clId="{FAA02EBD-A2D6-4E30-AEFB-7BC683FD876B}" dt="2024-05-31T09:23:32.435" v="2056" actId="478"/>
          <ac:spMkLst>
            <pc:docMk/>
            <pc:sldMk cId="506043991" sldId="2147481497"/>
            <ac:spMk id="11" creationId="{5BD25EEA-443D-58B9-4FE4-1AA9F3A2813A}"/>
          </ac:spMkLst>
        </pc:spChg>
        <pc:grpChg chg="add del mod">
          <ac:chgData name="GUILLERME, Alexandre" userId="ea1c6976-b45d-4181-9324-3cd9e1255583" providerId="ADAL" clId="{FAA02EBD-A2D6-4E30-AEFB-7BC683FD876B}" dt="2024-05-31T09:22:07.640" v="2040" actId="165"/>
          <ac:grpSpMkLst>
            <pc:docMk/>
            <pc:sldMk cId="506043991" sldId="2147481497"/>
            <ac:grpSpMk id="5" creationId="{46B21838-5C5C-D02A-9EEB-DD0CE97C9D11}"/>
          </ac:grpSpMkLst>
        </pc:grpChg>
        <pc:picChg chg="add del mod topLvl">
          <ac:chgData name="GUILLERME, Alexandre" userId="ea1c6976-b45d-4181-9324-3cd9e1255583" providerId="ADAL" clId="{FAA02EBD-A2D6-4E30-AEFB-7BC683FD876B}" dt="2024-05-31T09:22:22.181" v="2047" actId="478"/>
          <ac:picMkLst>
            <pc:docMk/>
            <pc:sldMk cId="506043991" sldId="2147481497"/>
            <ac:picMk id="2" creationId="{A10F0FCB-DFB6-86D0-FEF8-5251DFC53C36}"/>
          </ac:picMkLst>
        </pc:picChg>
        <pc:picChg chg="add del mod ord">
          <ac:chgData name="GUILLERME, Alexandre" userId="ea1c6976-b45d-4181-9324-3cd9e1255583" providerId="ADAL" clId="{FAA02EBD-A2D6-4E30-AEFB-7BC683FD876B}" dt="2024-05-31T09:23:32.435" v="2056" actId="478"/>
          <ac:picMkLst>
            <pc:docMk/>
            <pc:sldMk cId="506043991" sldId="2147481497"/>
            <ac:picMk id="6" creationId="{E6EA90B9-DFF7-F9BE-1D8D-B03DAD7ADE72}"/>
          </ac:picMkLst>
        </pc:picChg>
        <pc:picChg chg="add mod">
          <ac:chgData name="GUILLERME, Alexandre" userId="ea1c6976-b45d-4181-9324-3cd9e1255583" providerId="ADAL" clId="{FAA02EBD-A2D6-4E30-AEFB-7BC683FD876B}" dt="2024-05-31T09:23:32.638" v="2057"/>
          <ac:picMkLst>
            <pc:docMk/>
            <pc:sldMk cId="506043991" sldId="2147481497"/>
            <ac:picMk id="7" creationId="{36A7A643-7110-23EC-F436-EFCB7A1E5CC6}"/>
          </ac:picMkLst>
        </pc:picChg>
        <pc:picChg chg="del mod topLvl">
          <ac:chgData name="GUILLERME, Alexandre" userId="ea1c6976-b45d-4181-9324-3cd9e1255583" providerId="ADAL" clId="{FAA02EBD-A2D6-4E30-AEFB-7BC683FD876B}" dt="2024-05-31T09:23:32.435" v="2056" actId="478"/>
          <ac:picMkLst>
            <pc:docMk/>
            <pc:sldMk cId="506043991" sldId="2147481497"/>
            <ac:picMk id="10" creationId="{C53E58E4-7E9F-265F-DD66-BAB4F0B97513}"/>
          </ac:picMkLst>
        </pc:picChg>
        <pc:picChg chg="add mod">
          <ac:chgData name="GUILLERME, Alexandre" userId="ea1c6976-b45d-4181-9324-3cd9e1255583" providerId="ADAL" clId="{FAA02EBD-A2D6-4E30-AEFB-7BC683FD876B}" dt="2024-05-31T09:23:32.638" v="2057"/>
          <ac:picMkLst>
            <pc:docMk/>
            <pc:sldMk cId="506043991" sldId="2147481497"/>
            <ac:picMk id="12" creationId="{0C3F9E01-BE6D-4EB9-C373-E92DBDE45041}"/>
          </ac:picMkLst>
        </pc:picChg>
      </pc:sldChg>
      <pc:sldChg chg="add del">
        <pc:chgData name="GUILLERME, Alexandre" userId="ea1c6976-b45d-4181-9324-3cd9e1255583" providerId="ADAL" clId="{FAA02EBD-A2D6-4E30-AEFB-7BC683FD876B}" dt="2024-05-31T09:20:15.675" v="2028"/>
        <pc:sldMkLst>
          <pc:docMk/>
          <pc:sldMk cId="1303381561" sldId="2147481497"/>
        </pc:sldMkLst>
      </pc:sldChg>
      <pc:sldChg chg="add del">
        <pc:chgData name="GUILLERME, Alexandre" userId="ea1c6976-b45d-4181-9324-3cd9e1255583" providerId="ADAL" clId="{FAA02EBD-A2D6-4E30-AEFB-7BC683FD876B}" dt="2024-05-31T09:20:11.675" v="2026"/>
        <pc:sldMkLst>
          <pc:docMk/>
          <pc:sldMk cId="2283349606" sldId="2147481497"/>
        </pc:sldMkLst>
      </pc:sldChg>
      <pc:sldChg chg="add del setBg">
        <pc:chgData name="GUILLERME, Alexandre" userId="ea1c6976-b45d-4181-9324-3cd9e1255583" providerId="ADAL" clId="{FAA02EBD-A2D6-4E30-AEFB-7BC683FD876B}" dt="2024-05-31T09:20:11.675" v="2026"/>
        <pc:sldMkLst>
          <pc:docMk/>
          <pc:sldMk cId="259178418" sldId="2147481498"/>
        </pc:sldMkLst>
      </pc:sldChg>
      <pc:sldChg chg="add">
        <pc:chgData name="GUILLERME, Alexandre" userId="ea1c6976-b45d-4181-9324-3cd9e1255583" providerId="ADAL" clId="{FAA02EBD-A2D6-4E30-AEFB-7BC683FD876B}" dt="2024-05-31T09:20:15.778" v="2029"/>
        <pc:sldMkLst>
          <pc:docMk/>
          <pc:sldMk cId="566125766" sldId="2147481498"/>
        </pc:sldMkLst>
      </pc:sldChg>
      <pc:sldChg chg="add del setBg">
        <pc:chgData name="GUILLERME, Alexandre" userId="ea1c6976-b45d-4181-9324-3cd9e1255583" providerId="ADAL" clId="{FAA02EBD-A2D6-4E30-AEFB-7BC683FD876B}" dt="2024-05-31T09:20:15.675" v="2028"/>
        <pc:sldMkLst>
          <pc:docMk/>
          <pc:sldMk cId="4000978079" sldId="2147481498"/>
        </pc:sldMkLst>
      </pc:sldChg>
      <pc:sldChg chg="add del">
        <pc:chgData name="GUILLERME, Alexandre" userId="ea1c6976-b45d-4181-9324-3cd9e1255583" providerId="ADAL" clId="{FAA02EBD-A2D6-4E30-AEFB-7BC683FD876B}" dt="2024-05-31T09:20:11.675" v="2026"/>
        <pc:sldMkLst>
          <pc:docMk/>
          <pc:sldMk cId="1727246887" sldId="2147481499"/>
        </pc:sldMkLst>
      </pc:sldChg>
      <pc:sldChg chg="add del">
        <pc:chgData name="GUILLERME, Alexandre" userId="ea1c6976-b45d-4181-9324-3cd9e1255583" providerId="ADAL" clId="{FAA02EBD-A2D6-4E30-AEFB-7BC683FD876B}" dt="2024-05-31T09:20:15.675" v="2028"/>
        <pc:sldMkLst>
          <pc:docMk/>
          <pc:sldMk cId="1799888433" sldId="2147481499"/>
        </pc:sldMkLst>
      </pc:sldChg>
      <pc:sldChg chg="add">
        <pc:chgData name="GUILLERME, Alexandre" userId="ea1c6976-b45d-4181-9324-3cd9e1255583" providerId="ADAL" clId="{FAA02EBD-A2D6-4E30-AEFB-7BC683FD876B}" dt="2024-05-31T09:20:15.778" v="2029"/>
        <pc:sldMkLst>
          <pc:docMk/>
          <pc:sldMk cId="2955465873" sldId="2147481499"/>
        </pc:sldMkLst>
      </pc:sldChg>
      <pc:sldChg chg="add del">
        <pc:chgData name="GUILLERME, Alexandre" userId="ea1c6976-b45d-4181-9324-3cd9e1255583" providerId="ADAL" clId="{FAA02EBD-A2D6-4E30-AEFB-7BC683FD876B}" dt="2024-05-31T09:23:50.618" v="2059"/>
        <pc:sldMkLst>
          <pc:docMk/>
          <pc:sldMk cId="2844770689" sldId="2147481500"/>
        </pc:sldMkLst>
      </pc:sldChg>
      <pc:sldChg chg="add">
        <pc:chgData name="GUILLERME, Alexandre" userId="ea1c6976-b45d-4181-9324-3cd9e1255583" providerId="ADAL" clId="{FAA02EBD-A2D6-4E30-AEFB-7BC683FD876B}" dt="2024-05-31T09:23:50.720" v="2060"/>
        <pc:sldMkLst>
          <pc:docMk/>
          <pc:sldMk cId="3796569287" sldId="2147481500"/>
        </pc:sldMkLst>
      </pc:sldChg>
      <pc:sldChg chg="add">
        <pc:chgData name="GUILLERME, Alexandre" userId="ea1c6976-b45d-4181-9324-3cd9e1255583" providerId="ADAL" clId="{FAA02EBD-A2D6-4E30-AEFB-7BC683FD876B}" dt="2024-05-31T09:23:50.720" v="2060"/>
        <pc:sldMkLst>
          <pc:docMk/>
          <pc:sldMk cId="3282809073" sldId="2147481501"/>
        </pc:sldMkLst>
      </pc:sldChg>
      <pc:sldChg chg="add del setBg">
        <pc:chgData name="GUILLERME, Alexandre" userId="ea1c6976-b45d-4181-9324-3cd9e1255583" providerId="ADAL" clId="{FAA02EBD-A2D6-4E30-AEFB-7BC683FD876B}" dt="2024-05-31T09:23:50.618" v="2059"/>
        <pc:sldMkLst>
          <pc:docMk/>
          <pc:sldMk cId="3847986040" sldId="2147481501"/>
        </pc:sldMkLst>
      </pc:sldChg>
      <pc:sldChg chg="add del">
        <pc:chgData name="GUILLERME, Alexandre" userId="ea1c6976-b45d-4181-9324-3cd9e1255583" providerId="ADAL" clId="{FAA02EBD-A2D6-4E30-AEFB-7BC683FD876B}" dt="2024-05-31T09:23:50.618" v="2059"/>
        <pc:sldMkLst>
          <pc:docMk/>
          <pc:sldMk cId="1039039491" sldId="2147481502"/>
        </pc:sldMkLst>
      </pc:sldChg>
      <pc:sldChg chg="add">
        <pc:chgData name="GUILLERME, Alexandre" userId="ea1c6976-b45d-4181-9324-3cd9e1255583" providerId="ADAL" clId="{FAA02EBD-A2D6-4E30-AEFB-7BC683FD876B}" dt="2024-05-31T09:23:50.720" v="2060"/>
        <pc:sldMkLst>
          <pc:docMk/>
          <pc:sldMk cId="2174894881" sldId="2147481502"/>
        </pc:sldMkLst>
      </pc:sldChg>
      <pc:sldChg chg="add">
        <pc:chgData name="GUILLERME, Alexandre" userId="ea1c6976-b45d-4181-9324-3cd9e1255583" providerId="ADAL" clId="{FAA02EBD-A2D6-4E30-AEFB-7BC683FD876B}" dt="2024-05-31T09:28:20.630" v="2067"/>
        <pc:sldMkLst>
          <pc:docMk/>
          <pc:sldMk cId="19703441" sldId="2147481503"/>
        </pc:sldMkLst>
      </pc:sldChg>
      <pc:sldChg chg="modSp add mod">
        <pc:chgData name="GUILLERME, Alexandre" userId="ea1c6976-b45d-4181-9324-3cd9e1255583" providerId="ADAL" clId="{FAA02EBD-A2D6-4E30-AEFB-7BC683FD876B}" dt="2024-05-31T09:28:31.822" v="2081" actId="20577"/>
        <pc:sldMkLst>
          <pc:docMk/>
          <pc:sldMk cId="3365737955" sldId="2147481504"/>
        </pc:sldMkLst>
        <pc:spChg chg="mod">
          <ac:chgData name="GUILLERME, Alexandre" userId="ea1c6976-b45d-4181-9324-3cd9e1255583" providerId="ADAL" clId="{FAA02EBD-A2D6-4E30-AEFB-7BC683FD876B}" dt="2024-05-31T09:28:31.822" v="2081" actId="20577"/>
          <ac:spMkLst>
            <pc:docMk/>
            <pc:sldMk cId="3365737955" sldId="2147481504"/>
            <ac:spMk id="3" creationId="{0CC09F09-E8F2-F904-CE8A-E9927FE3FEF8}"/>
          </ac:spMkLst>
        </pc:spChg>
      </pc:sldChg>
    </pc:docChg>
  </pc:docChgLst>
  <pc:docChgLst>
    <pc:chgData name="PHAN, Auriane" userId="9aac93fd-b034-4dfb-92b5-a7c4c6c5a3b8" providerId="ADAL" clId="{AA5DAE6E-58C9-4987-B994-872D7A122814}"/>
    <pc:docChg chg="undo redo custSel addSld delSld modSld sldOrd modMainMaster modSection">
      <pc:chgData name="PHAN, Auriane" userId="9aac93fd-b034-4dfb-92b5-a7c4c6c5a3b8" providerId="ADAL" clId="{AA5DAE6E-58C9-4987-B994-872D7A122814}" dt="2024-02-26T09:15:22.682" v="2955" actId="14100"/>
      <pc:docMkLst>
        <pc:docMk/>
      </pc:docMkLst>
      <pc:sldChg chg="modSp mod">
        <pc:chgData name="PHAN, Auriane" userId="9aac93fd-b034-4dfb-92b5-a7c4c6c5a3b8" providerId="ADAL" clId="{AA5DAE6E-58C9-4987-B994-872D7A122814}" dt="2024-02-12T14:27:02.469" v="3" actId="33524"/>
        <pc:sldMkLst>
          <pc:docMk/>
          <pc:sldMk cId="4132157064" sldId="2134806153"/>
        </pc:sldMkLst>
        <pc:spChg chg="mod">
          <ac:chgData name="PHAN, Auriane" userId="9aac93fd-b034-4dfb-92b5-a7c4c6c5a3b8" providerId="ADAL" clId="{AA5DAE6E-58C9-4987-B994-872D7A122814}" dt="2024-02-12T14:26:55.170" v="2" actId="33524"/>
          <ac:spMkLst>
            <pc:docMk/>
            <pc:sldMk cId="4132157064" sldId="2134806153"/>
            <ac:spMk id="4" creationId="{EF4CFF39-29D1-42BA-9546-01499FEF9C07}"/>
          </ac:spMkLst>
        </pc:spChg>
        <pc:spChg chg="mod">
          <ac:chgData name="PHAN, Auriane" userId="9aac93fd-b034-4dfb-92b5-a7c4c6c5a3b8" providerId="ADAL" clId="{AA5DAE6E-58C9-4987-B994-872D7A122814}" dt="2024-02-12T14:26:47.380" v="0" actId="33524"/>
          <ac:spMkLst>
            <pc:docMk/>
            <pc:sldMk cId="4132157064" sldId="2134806153"/>
            <ac:spMk id="37" creationId="{A5C291EC-195E-4829-BBB7-564B974D1423}"/>
          </ac:spMkLst>
        </pc:spChg>
        <pc:spChg chg="mod">
          <ac:chgData name="PHAN, Auriane" userId="9aac93fd-b034-4dfb-92b5-a7c4c6c5a3b8" providerId="ADAL" clId="{AA5DAE6E-58C9-4987-B994-872D7A122814}" dt="2024-02-12T14:27:02.469" v="3" actId="33524"/>
          <ac:spMkLst>
            <pc:docMk/>
            <pc:sldMk cId="4132157064" sldId="2134806153"/>
            <ac:spMk id="132" creationId="{30C81F65-DCF5-40D9-ACBD-A3B805F8B3C6}"/>
          </ac:spMkLst>
        </pc:spChg>
      </pc:sldChg>
      <pc:sldChg chg="addSp modSp add mod">
        <pc:chgData name="PHAN, Auriane" userId="9aac93fd-b034-4dfb-92b5-a7c4c6c5a3b8" providerId="ADAL" clId="{AA5DAE6E-58C9-4987-B994-872D7A122814}" dt="2024-02-19T10:26:05.719" v="2530" actId="208"/>
        <pc:sldMkLst>
          <pc:docMk/>
          <pc:sldMk cId="2644363888" sldId="2134806240"/>
        </pc:sldMkLst>
        <pc:spChg chg="mod">
          <ac:chgData name="PHAN, Auriane" userId="9aac93fd-b034-4dfb-92b5-a7c4c6c5a3b8" providerId="ADAL" clId="{AA5DAE6E-58C9-4987-B994-872D7A122814}" dt="2024-02-19T10:25:22.914" v="2520" actId="20577"/>
          <ac:spMkLst>
            <pc:docMk/>
            <pc:sldMk cId="2644363888" sldId="2134806240"/>
            <ac:spMk id="7" creationId="{26EF2914-107A-4255-96D0-EB57A51F375D}"/>
          </ac:spMkLst>
        </pc:spChg>
        <pc:picChg chg="add mod">
          <ac:chgData name="PHAN, Auriane" userId="9aac93fd-b034-4dfb-92b5-a7c4c6c5a3b8" providerId="ADAL" clId="{AA5DAE6E-58C9-4987-B994-872D7A122814}" dt="2024-02-19T10:25:34.404" v="2523" actId="1076"/>
          <ac:picMkLst>
            <pc:docMk/>
            <pc:sldMk cId="2644363888" sldId="2134806240"/>
            <ac:picMk id="2" creationId="{8F25D790-AB61-621E-3979-D3A641BC5617}"/>
          </ac:picMkLst>
        </pc:picChg>
        <pc:picChg chg="add mod">
          <ac:chgData name="PHAN, Auriane" userId="9aac93fd-b034-4dfb-92b5-a7c4c6c5a3b8" providerId="ADAL" clId="{AA5DAE6E-58C9-4987-B994-872D7A122814}" dt="2024-02-19T10:25:56.693" v="2528" actId="1076"/>
          <ac:picMkLst>
            <pc:docMk/>
            <pc:sldMk cId="2644363888" sldId="2134806240"/>
            <ac:picMk id="3" creationId="{74542DA5-90EB-3869-DDD5-24B500DDC31D}"/>
          </ac:picMkLst>
        </pc:picChg>
        <pc:picChg chg="mod">
          <ac:chgData name="PHAN, Auriane" userId="9aac93fd-b034-4dfb-92b5-a7c4c6c5a3b8" providerId="ADAL" clId="{AA5DAE6E-58C9-4987-B994-872D7A122814}" dt="2024-02-19T10:26:05.719" v="2530" actId="208"/>
          <ac:picMkLst>
            <pc:docMk/>
            <pc:sldMk cId="2644363888" sldId="2134806240"/>
            <ac:picMk id="10" creationId="{6A9E0351-3495-4419-8514-E8214C87ECD4}"/>
          </ac:picMkLst>
        </pc:picChg>
      </pc:sldChg>
      <pc:sldChg chg="mod ord modShow">
        <pc:chgData name="PHAN, Auriane" userId="9aac93fd-b034-4dfb-92b5-a7c4c6c5a3b8" providerId="ADAL" clId="{AA5DAE6E-58C9-4987-B994-872D7A122814}" dt="2024-02-16T13:42:51.691" v="1735"/>
        <pc:sldMkLst>
          <pc:docMk/>
          <pc:sldMk cId="1970944974" sldId="2147308507"/>
        </pc:sldMkLst>
      </pc:sldChg>
      <pc:sldChg chg="add del">
        <pc:chgData name="PHAN, Auriane" userId="9aac93fd-b034-4dfb-92b5-a7c4c6c5a3b8" providerId="ADAL" clId="{AA5DAE6E-58C9-4987-B994-872D7A122814}" dt="2024-02-12T14:58:43.786" v="8" actId="47"/>
        <pc:sldMkLst>
          <pc:docMk/>
          <pc:sldMk cId="1472331970" sldId="2147473419"/>
        </pc:sldMkLst>
      </pc:sldChg>
      <pc:sldChg chg="addSp delSp modSp add del mod">
        <pc:chgData name="PHAN, Auriane" userId="9aac93fd-b034-4dfb-92b5-a7c4c6c5a3b8" providerId="ADAL" clId="{AA5DAE6E-58C9-4987-B994-872D7A122814}" dt="2024-02-13T14:58:24.242" v="755" actId="47"/>
        <pc:sldMkLst>
          <pc:docMk/>
          <pc:sldMk cId="2228311828" sldId="2147473420"/>
        </pc:sldMkLst>
        <pc:spChg chg="add mod">
          <ac:chgData name="PHAN, Auriane" userId="9aac93fd-b034-4dfb-92b5-a7c4c6c5a3b8" providerId="ADAL" clId="{AA5DAE6E-58C9-4987-B994-872D7A122814}" dt="2024-02-12T15:00:15.602" v="74"/>
          <ac:spMkLst>
            <pc:docMk/>
            <pc:sldMk cId="2228311828" sldId="2147473420"/>
            <ac:spMk id="2" creationId="{CA738552-D965-8781-78FB-371B1526E3A3}"/>
          </ac:spMkLst>
        </pc:spChg>
        <pc:picChg chg="del">
          <ac:chgData name="PHAN, Auriane" userId="9aac93fd-b034-4dfb-92b5-a7c4c6c5a3b8" providerId="ADAL" clId="{AA5DAE6E-58C9-4987-B994-872D7A122814}" dt="2024-02-12T14:59:20.232" v="17" actId="478"/>
          <ac:picMkLst>
            <pc:docMk/>
            <pc:sldMk cId="2228311828" sldId="2147473420"/>
            <ac:picMk id="10" creationId="{8B9CE969-0A63-5DD8-45D0-5B211FB2EB1F}"/>
          </ac:picMkLst>
        </pc:picChg>
        <pc:picChg chg="del">
          <ac:chgData name="PHAN, Auriane" userId="9aac93fd-b034-4dfb-92b5-a7c4c6c5a3b8" providerId="ADAL" clId="{AA5DAE6E-58C9-4987-B994-872D7A122814}" dt="2024-02-12T14:59:20.933" v="18" actId="478"/>
          <ac:picMkLst>
            <pc:docMk/>
            <pc:sldMk cId="2228311828" sldId="2147473420"/>
            <ac:picMk id="11" creationId="{70508AAB-1BAC-626A-E4F0-E2A7A6B9404F}"/>
          </ac:picMkLst>
        </pc:picChg>
      </pc:sldChg>
      <pc:sldChg chg="addSp delSp modSp add mod">
        <pc:chgData name="PHAN, Auriane" userId="9aac93fd-b034-4dfb-92b5-a7c4c6c5a3b8" providerId="ADAL" clId="{AA5DAE6E-58C9-4987-B994-872D7A122814}" dt="2024-02-16T09:04:11.433" v="1643" actId="20577"/>
        <pc:sldMkLst>
          <pc:docMk/>
          <pc:sldMk cId="1646583794" sldId="2147473421"/>
        </pc:sldMkLst>
        <pc:spChg chg="add del mod">
          <ac:chgData name="PHAN, Auriane" userId="9aac93fd-b034-4dfb-92b5-a7c4c6c5a3b8" providerId="ADAL" clId="{AA5DAE6E-58C9-4987-B994-872D7A122814}" dt="2024-02-16T09:00:07.761" v="1053" actId="478"/>
          <ac:spMkLst>
            <pc:docMk/>
            <pc:sldMk cId="1646583794" sldId="2147473421"/>
            <ac:spMk id="2" creationId="{E65F8664-73CB-C6DD-4A9B-24B1CD06D4F1}"/>
          </ac:spMkLst>
        </pc:spChg>
        <pc:spChg chg="mod">
          <ac:chgData name="PHAN, Auriane" userId="9aac93fd-b034-4dfb-92b5-a7c4c6c5a3b8" providerId="ADAL" clId="{AA5DAE6E-58C9-4987-B994-872D7A122814}" dt="2024-02-16T09:00:16.185" v="1057" actId="13926"/>
          <ac:spMkLst>
            <pc:docMk/>
            <pc:sldMk cId="1646583794" sldId="2147473421"/>
            <ac:spMk id="9" creationId="{A0F9A617-2BBC-4936-7671-F1E6E7526787}"/>
          </ac:spMkLst>
        </pc:spChg>
        <pc:spChg chg="mod">
          <ac:chgData name="PHAN, Auriane" userId="9aac93fd-b034-4dfb-92b5-a7c4c6c5a3b8" providerId="ADAL" clId="{AA5DAE6E-58C9-4987-B994-872D7A122814}" dt="2024-02-16T09:04:11.433" v="1643" actId="20577"/>
          <ac:spMkLst>
            <pc:docMk/>
            <pc:sldMk cId="1646583794" sldId="2147473421"/>
            <ac:spMk id="12" creationId="{D9E6D9C2-8C16-C3F6-D160-C63440F5033B}"/>
          </ac:spMkLst>
        </pc:spChg>
        <pc:spChg chg="del">
          <ac:chgData name="PHAN, Auriane" userId="9aac93fd-b034-4dfb-92b5-a7c4c6c5a3b8" providerId="ADAL" clId="{AA5DAE6E-58C9-4987-B994-872D7A122814}" dt="2024-02-16T09:03:05.083" v="1391" actId="478"/>
          <ac:spMkLst>
            <pc:docMk/>
            <pc:sldMk cId="1646583794" sldId="2147473421"/>
            <ac:spMk id="14" creationId="{DB31B6AA-92A7-C426-3913-BE1D5D0BAA76}"/>
          </ac:spMkLst>
        </pc:spChg>
        <pc:picChg chg="del">
          <ac:chgData name="PHAN, Auriane" userId="9aac93fd-b034-4dfb-92b5-a7c4c6c5a3b8" providerId="ADAL" clId="{AA5DAE6E-58C9-4987-B994-872D7A122814}" dt="2024-02-12T14:59:11.982" v="11" actId="478"/>
          <ac:picMkLst>
            <pc:docMk/>
            <pc:sldMk cId="1646583794" sldId="2147473421"/>
            <ac:picMk id="3" creationId="{B2126408-E184-0322-4F03-6E870EF68151}"/>
          </ac:picMkLst>
        </pc:picChg>
        <pc:picChg chg="del">
          <ac:chgData name="PHAN, Auriane" userId="9aac93fd-b034-4dfb-92b5-a7c4c6c5a3b8" providerId="ADAL" clId="{AA5DAE6E-58C9-4987-B994-872D7A122814}" dt="2024-02-12T14:59:12.699" v="12" actId="478"/>
          <ac:picMkLst>
            <pc:docMk/>
            <pc:sldMk cId="1646583794" sldId="2147473421"/>
            <ac:picMk id="4" creationId="{383C175B-E994-06B3-9460-02AED3E24C09}"/>
          </ac:picMkLst>
        </pc:picChg>
      </pc:sldChg>
      <pc:sldChg chg="add del">
        <pc:chgData name="PHAN, Auriane" userId="9aac93fd-b034-4dfb-92b5-a7c4c6c5a3b8" providerId="ADAL" clId="{AA5DAE6E-58C9-4987-B994-872D7A122814}" dt="2024-02-12T14:58:46.804" v="9" actId="47"/>
        <pc:sldMkLst>
          <pc:docMk/>
          <pc:sldMk cId="3504465252" sldId="2147473422"/>
        </pc:sldMkLst>
      </pc:sldChg>
      <pc:sldChg chg="addSp delSp modSp add del mod">
        <pc:chgData name="PHAN, Auriane" userId="9aac93fd-b034-4dfb-92b5-a7c4c6c5a3b8" providerId="ADAL" clId="{AA5DAE6E-58C9-4987-B994-872D7A122814}" dt="2024-02-13T14:58:25.094" v="756" actId="47"/>
        <pc:sldMkLst>
          <pc:docMk/>
          <pc:sldMk cId="1660768775" sldId="2147473423"/>
        </pc:sldMkLst>
        <pc:spChg chg="add mod">
          <ac:chgData name="PHAN, Auriane" userId="9aac93fd-b034-4dfb-92b5-a7c4c6c5a3b8" providerId="ADAL" clId="{AA5DAE6E-58C9-4987-B994-872D7A122814}" dt="2024-02-12T15:00:12.951" v="73"/>
          <ac:spMkLst>
            <pc:docMk/>
            <pc:sldMk cId="1660768775" sldId="2147473423"/>
            <ac:spMk id="10" creationId="{9ACE45D1-87DD-D9FE-DCA6-A8217AE81A08}"/>
          </ac:spMkLst>
        </pc:spChg>
        <pc:picChg chg="del">
          <ac:chgData name="PHAN, Auriane" userId="9aac93fd-b034-4dfb-92b5-a7c4c6c5a3b8" providerId="ADAL" clId="{AA5DAE6E-58C9-4987-B994-872D7A122814}" dt="2024-02-12T14:59:17.733" v="15" actId="478"/>
          <ac:picMkLst>
            <pc:docMk/>
            <pc:sldMk cId="1660768775" sldId="2147473423"/>
            <ac:picMk id="2" creationId="{42C848C2-4A29-FA87-52E2-4542E3E63202}"/>
          </ac:picMkLst>
        </pc:picChg>
        <pc:picChg chg="del">
          <ac:chgData name="PHAN, Auriane" userId="9aac93fd-b034-4dfb-92b5-a7c4c6c5a3b8" providerId="ADAL" clId="{AA5DAE6E-58C9-4987-B994-872D7A122814}" dt="2024-02-12T14:59:18.343" v="16" actId="478"/>
          <ac:picMkLst>
            <pc:docMk/>
            <pc:sldMk cId="1660768775" sldId="2147473423"/>
            <ac:picMk id="4" creationId="{54491D5E-EA4D-9469-0AFE-0ABB61B7D609}"/>
          </ac:picMkLst>
        </pc:picChg>
      </pc:sldChg>
      <pc:sldChg chg="add del">
        <pc:chgData name="PHAN, Auriane" userId="9aac93fd-b034-4dfb-92b5-a7c4c6c5a3b8" providerId="ADAL" clId="{AA5DAE6E-58C9-4987-B994-872D7A122814}" dt="2024-02-12T14:58:59.053" v="10" actId="47"/>
        <pc:sldMkLst>
          <pc:docMk/>
          <pc:sldMk cId="2875408254" sldId="2147473425"/>
        </pc:sldMkLst>
      </pc:sldChg>
      <pc:sldChg chg="addSp delSp modSp add del mod">
        <pc:chgData name="PHAN, Auriane" userId="9aac93fd-b034-4dfb-92b5-a7c4c6c5a3b8" providerId="ADAL" clId="{AA5DAE6E-58C9-4987-B994-872D7A122814}" dt="2024-02-12T14:59:53.437" v="68" actId="47"/>
        <pc:sldMkLst>
          <pc:docMk/>
          <pc:sldMk cId="464031295" sldId="2147473427"/>
        </pc:sldMkLst>
        <pc:spChg chg="add mod">
          <ac:chgData name="PHAN, Auriane" userId="9aac93fd-b034-4dfb-92b5-a7c4c6c5a3b8" providerId="ADAL" clId="{AA5DAE6E-58C9-4987-B994-872D7A122814}" dt="2024-02-12T14:59:49.940" v="66"/>
          <ac:spMkLst>
            <pc:docMk/>
            <pc:sldMk cId="464031295" sldId="2147473427"/>
            <ac:spMk id="2" creationId="{0838BDB0-4282-3032-92D0-A86A78FED4BA}"/>
          </ac:spMkLst>
        </pc:spChg>
        <pc:picChg chg="del">
          <ac:chgData name="PHAN, Auriane" userId="9aac93fd-b034-4dfb-92b5-a7c4c6c5a3b8" providerId="ADAL" clId="{AA5DAE6E-58C9-4987-B994-872D7A122814}" dt="2024-02-12T14:59:23.234" v="19" actId="478"/>
          <ac:picMkLst>
            <pc:docMk/>
            <pc:sldMk cId="464031295" sldId="2147473427"/>
            <ac:picMk id="3" creationId="{C8358F78-8E26-3D1E-3900-6DFA39346509}"/>
          </ac:picMkLst>
        </pc:picChg>
        <pc:picChg chg="del">
          <ac:chgData name="PHAN, Auriane" userId="9aac93fd-b034-4dfb-92b5-a7c4c6c5a3b8" providerId="ADAL" clId="{AA5DAE6E-58C9-4987-B994-872D7A122814}" dt="2024-02-12T14:59:23.919" v="20" actId="478"/>
          <ac:picMkLst>
            <pc:docMk/>
            <pc:sldMk cId="464031295" sldId="2147473427"/>
            <ac:picMk id="4" creationId="{60E9C2B9-4742-68EA-591E-72A69FF1EB74}"/>
          </ac:picMkLst>
        </pc:picChg>
      </pc:sldChg>
      <pc:sldChg chg="addSp delSp modSp add del mod">
        <pc:chgData name="PHAN, Auriane" userId="9aac93fd-b034-4dfb-92b5-a7c4c6c5a3b8" providerId="ADAL" clId="{AA5DAE6E-58C9-4987-B994-872D7A122814}" dt="2024-02-13T14:58:23.424" v="754" actId="47"/>
        <pc:sldMkLst>
          <pc:docMk/>
          <pc:sldMk cId="2923968983" sldId="2147473428"/>
        </pc:sldMkLst>
        <pc:spChg chg="add mod">
          <ac:chgData name="PHAN, Auriane" userId="9aac93fd-b034-4dfb-92b5-a7c4c6c5a3b8" providerId="ADAL" clId="{AA5DAE6E-58C9-4987-B994-872D7A122814}" dt="2024-02-12T15:00:19.340" v="75"/>
          <ac:spMkLst>
            <pc:docMk/>
            <pc:sldMk cId="2923968983" sldId="2147473428"/>
            <ac:spMk id="2" creationId="{5B13D615-AEAF-9185-7D97-7F629DAFF2E6}"/>
          </ac:spMkLst>
        </pc:spChg>
        <pc:picChg chg="del">
          <ac:chgData name="PHAN, Auriane" userId="9aac93fd-b034-4dfb-92b5-a7c4c6c5a3b8" providerId="ADAL" clId="{AA5DAE6E-58C9-4987-B994-872D7A122814}" dt="2024-02-12T14:59:25.781" v="21" actId="478"/>
          <ac:picMkLst>
            <pc:docMk/>
            <pc:sldMk cId="2923968983" sldId="2147473428"/>
            <ac:picMk id="3" creationId="{178B70C3-BB8B-C3F0-E55F-D3DB404BCD77}"/>
          </ac:picMkLst>
        </pc:picChg>
        <pc:picChg chg="del">
          <ac:chgData name="PHAN, Auriane" userId="9aac93fd-b034-4dfb-92b5-a7c4c6c5a3b8" providerId="ADAL" clId="{AA5DAE6E-58C9-4987-B994-872D7A122814}" dt="2024-02-12T14:59:26.283" v="22" actId="478"/>
          <ac:picMkLst>
            <pc:docMk/>
            <pc:sldMk cId="2923968983" sldId="2147473428"/>
            <ac:picMk id="4" creationId="{9077D134-CAAE-BB81-1D49-D05F41BEC61E}"/>
          </ac:picMkLst>
        </pc:picChg>
      </pc:sldChg>
      <pc:sldChg chg="addSp delSp modSp add mod">
        <pc:chgData name="PHAN, Auriane" userId="9aac93fd-b034-4dfb-92b5-a7c4c6c5a3b8" providerId="ADAL" clId="{AA5DAE6E-58C9-4987-B994-872D7A122814}" dt="2024-02-16T09:04:16.365" v="1644" actId="478"/>
        <pc:sldMkLst>
          <pc:docMk/>
          <pc:sldMk cId="4011928000" sldId="2147473429"/>
        </pc:sldMkLst>
        <pc:spChg chg="add del mod">
          <ac:chgData name="PHAN, Auriane" userId="9aac93fd-b034-4dfb-92b5-a7c4c6c5a3b8" providerId="ADAL" clId="{AA5DAE6E-58C9-4987-B994-872D7A122814}" dt="2024-02-16T09:00:11.421" v="1055" actId="478"/>
          <ac:spMkLst>
            <pc:docMk/>
            <pc:sldMk cId="4011928000" sldId="2147473429"/>
            <ac:spMk id="2" creationId="{26C8C2F2-377B-129A-E6F1-E10BF65FACD6}"/>
          </ac:spMkLst>
        </pc:spChg>
        <pc:spChg chg="mod">
          <ac:chgData name="PHAN, Auriane" userId="9aac93fd-b034-4dfb-92b5-a7c4c6c5a3b8" providerId="ADAL" clId="{AA5DAE6E-58C9-4987-B994-872D7A122814}" dt="2024-02-16T09:00:13.757" v="1056" actId="13926"/>
          <ac:spMkLst>
            <pc:docMk/>
            <pc:sldMk cId="4011928000" sldId="2147473429"/>
            <ac:spMk id="9" creationId="{A0F9A617-2BBC-4936-7671-F1E6E7526787}"/>
          </ac:spMkLst>
        </pc:spChg>
        <pc:spChg chg="del">
          <ac:chgData name="PHAN, Auriane" userId="9aac93fd-b034-4dfb-92b5-a7c4c6c5a3b8" providerId="ADAL" clId="{AA5DAE6E-58C9-4987-B994-872D7A122814}" dt="2024-02-16T09:04:16.365" v="1644" actId="478"/>
          <ac:spMkLst>
            <pc:docMk/>
            <pc:sldMk cId="4011928000" sldId="2147473429"/>
            <ac:spMk id="11" creationId="{82E9695B-4FC1-7D89-CDA2-4C5716A6636D}"/>
          </ac:spMkLst>
        </pc:spChg>
        <pc:spChg chg="del">
          <ac:chgData name="PHAN, Auriane" userId="9aac93fd-b034-4dfb-92b5-a7c4c6c5a3b8" providerId="ADAL" clId="{AA5DAE6E-58C9-4987-B994-872D7A122814}" dt="2024-02-16T09:04:16.365" v="1644" actId="478"/>
          <ac:spMkLst>
            <pc:docMk/>
            <pc:sldMk cId="4011928000" sldId="2147473429"/>
            <ac:spMk id="14" creationId="{DB31B6AA-92A7-C426-3913-BE1D5D0BAA76}"/>
          </ac:spMkLst>
        </pc:spChg>
        <pc:spChg chg="del">
          <ac:chgData name="PHAN, Auriane" userId="9aac93fd-b034-4dfb-92b5-a7c4c6c5a3b8" providerId="ADAL" clId="{AA5DAE6E-58C9-4987-B994-872D7A122814}" dt="2024-02-16T09:04:16.365" v="1644" actId="478"/>
          <ac:spMkLst>
            <pc:docMk/>
            <pc:sldMk cId="4011928000" sldId="2147473429"/>
            <ac:spMk id="15" creationId="{4BA20423-0739-4DEC-8E25-3DA003A3B0CB}"/>
          </ac:spMkLst>
        </pc:spChg>
        <pc:picChg chg="del">
          <ac:chgData name="PHAN, Auriane" userId="9aac93fd-b034-4dfb-92b5-a7c4c6c5a3b8" providerId="ADAL" clId="{AA5DAE6E-58C9-4987-B994-872D7A122814}" dt="2024-02-12T14:59:14.682" v="13" actId="478"/>
          <ac:picMkLst>
            <pc:docMk/>
            <pc:sldMk cId="4011928000" sldId="2147473429"/>
            <ac:picMk id="3" creationId="{537673B9-964A-4252-233D-F99976ED6E81}"/>
          </ac:picMkLst>
        </pc:picChg>
        <pc:picChg chg="del">
          <ac:chgData name="PHAN, Auriane" userId="9aac93fd-b034-4dfb-92b5-a7c4c6c5a3b8" providerId="ADAL" clId="{AA5DAE6E-58C9-4987-B994-872D7A122814}" dt="2024-02-12T14:59:15.225" v="14" actId="478"/>
          <ac:picMkLst>
            <pc:docMk/>
            <pc:sldMk cId="4011928000" sldId="2147473429"/>
            <ac:picMk id="4" creationId="{67B9D270-E796-6160-AE70-2B241395A7FA}"/>
          </ac:picMkLst>
        </pc:picChg>
      </pc:sldChg>
      <pc:sldChg chg="addSp delSp modSp add mod">
        <pc:chgData name="PHAN, Auriane" userId="9aac93fd-b034-4dfb-92b5-a7c4c6c5a3b8" providerId="ADAL" clId="{AA5DAE6E-58C9-4987-B994-872D7A122814}" dt="2024-02-16T15:50:40.871" v="2502" actId="1036"/>
        <pc:sldMkLst>
          <pc:docMk/>
          <pc:sldMk cId="2455323060" sldId="2147473457"/>
        </pc:sldMkLst>
        <pc:spChg chg="add del mod">
          <ac:chgData name="PHAN, Auriane" userId="9aac93fd-b034-4dfb-92b5-a7c4c6c5a3b8" providerId="ADAL" clId="{AA5DAE6E-58C9-4987-B994-872D7A122814}" dt="2024-02-16T09:00:09.873" v="1054" actId="478"/>
          <ac:spMkLst>
            <pc:docMk/>
            <pc:sldMk cId="2455323060" sldId="2147473457"/>
            <ac:spMk id="2" creationId="{FE9C81F4-A6EB-4148-8D62-413007763498}"/>
          </ac:spMkLst>
        </pc:spChg>
        <pc:spChg chg="del">
          <ac:chgData name="PHAN, Auriane" userId="9aac93fd-b034-4dfb-92b5-a7c4c6c5a3b8" providerId="ADAL" clId="{AA5DAE6E-58C9-4987-B994-872D7A122814}" dt="2024-02-16T09:00:38.922" v="1061" actId="478"/>
          <ac:spMkLst>
            <pc:docMk/>
            <pc:sldMk cId="2455323060" sldId="2147473457"/>
            <ac:spMk id="4" creationId="{03047622-0B0A-DEF2-894B-990687A02AC0}"/>
          </ac:spMkLst>
        </pc:spChg>
        <pc:spChg chg="mod">
          <ac:chgData name="PHAN, Auriane" userId="9aac93fd-b034-4dfb-92b5-a7c4c6c5a3b8" providerId="ADAL" clId="{AA5DAE6E-58C9-4987-B994-872D7A122814}" dt="2024-02-16T15:50:35.298" v="2492" actId="14100"/>
          <ac:spMkLst>
            <pc:docMk/>
            <pc:sldMk cId="2455323060" sldId="2147473457"/>
            <ac:spMk id="7" creationId="{BC1B3AA4-AB13-D74F-7F23-CE3DB5B81AD8}"/>
          </ac:spMkLst>
        </pc:spChg>
        <pc:spChg chg="mod">
          <ac:chgData name="PHAN, Auriane" userId="9aac93fd-b034-4dfb-92b5-a7c4c6c5a3b8" providerId="ADAL" clId="{AA5DAE6E-58C9-4987-B994-872D7A122814}" dt="2024-02-16T15:50:35.298" v="2492" actId="14100"/>
          <ac:spMkLst>
            <pc:docMk/>
            <pc:sldMk cId="2455323060" sldId="2147473457"/>
            <ac:spMk id="9" creationId="{A0F9A617-2BBC-4936-7671-F1E6E7526787}"/>
          </ac:spMkLst>
        </pc:spChg>
        <pc:spChg chg="add del">
          <ac:chgData name="PHAN, Auriane" userId="9aac93fd-b034-4dfb-92b5-a7c4c6c5a3b8" providerId="ADAL" clId="{AA5DAE6E-58C9-4987-B994-872D7A122814}" dt="2024-02-16T15:46:54.104" v="2409"/>
          <ac:spMkLst>
            <pc:docMk/>
            <pc:sldMk cId="2455323060" sldId="2147473457"/>
            <ac:spMk id="10" creationId="{536161A8-9E34-B819-FC1A-75C249F0DA0C}"/>
          </ac:spMkLst>
        </pc:spChg>
        <pc:spChg chg="add del">
          <ac:chgData name="PHAN, Auriane" userId="9aac93fd-b034-4dfb-92b5-a7c4c6c5a3b8" providerId="ADAL" clId="{AA5DAE6E-58C9-4987-B994-872D7A122814}" dt="2024-02-16T15:46:56.796" v="2411"/>
          <ac:spMkLst>
            <pc:docMk/>
            <pc:sldMk cId="2455323060" sldId="2147473457"/>
            <ac:spMk id="11" creationId="{3D1E2F63-AAB5-CC0C-F2AE-378E7E8D9902}"/>
          </ac:spMkLst>
        </pc:spChg>
        <pc:spChg chg="add del mod">
          <ac:chgData name="PHAN, Auriane" userId="9aac93fd-b034-4dfb-92b5-a7c4c6c5a3b8" providerId="ADAL" clId="{AA5DAE6E-58C9-4987-B994-872D7A122814}" dt="2024-02-16T15:50:40.871" v="2502" actId="1036"/>
          <ac:spMkLst>
            <pc:docMk/>
            <pc:sldMk cId="2455323060" sldId="2147473457"/>
            <ac:spMk id="12" creationId="{D9E6D9C2-8C16-C3F6-D160-C63440F5033B}"/>
          </ac:spMkLst>
        </pc:spChg>
        <pc:spChg chg="del">
          <ac:chgData name="PHAN, Auriane" userId="9aac93fd-b034-4dfb-92b5-a7c4c6c5a3b8" providerId="ADAL" clId="{AA5DAE6E-58C9-4987-B994-872D7A122814}" dt="2024-02-16T09:00:38.922" v="1061" actId="478"/>
          <ac:spMkLst>
            <pc:docMk/>
            <pc:sldMk cId="2455323060" sldId="2147473457"/>
            <ac:spMk id="13" creationId="{C4FF81CD-8BBD-C74D-0991-F3299F2B8D76}"/>
          </ac:spMkLst>
        </pc:spChg>
        <pc:spChg chg="del">
          <ac:chgData name="PHAN, Auriane" userId="9aac93fd-b034-4dfb-92b5-a7c4c6c5a3b8" providerId="ADAL" clId="{AA5DAE6E-58C9-4987-B994-872D7A122814}" dt="2024-02-16T09:00:38.922" v="1061" actId="478"/>
          <ac:spMkLst>
            <pc:docMk/>
            <pc:sldMk cId="2455323060" sldId="2147473457"/>
            <ac:spMk id="14" creationId="{DB31B6AA-92A7-C426-3913-BE1D5D0BAA76}"/>
          </ac:spMkLst>
        </pc:spChg>
        <pc:picChg chg="del">
          <ac:chgData name="PHAN, Auriane" userId="9aac93fd-b034-4dfb-92b5-a7c4c6c5a3b8" providerId="ADAL" clId="{AA5DAE6E-58C9-4987-B994-872D7A122814}" dt="2024-02-12T14:58:20.880" v="7" actId="478"/>
          <ac:picMkLst>
            <pc:docMk/>
            <pc:sldMk cId="2455323060" sldId="2147473457"/>
            <ac:picMk id="11" creationId="{B3FD043C-B067-7D64-C0E9-68EEE599C6C3}"/>
          </ac:picMkLst>
        </pc:picChg>
        <pc:picChg chg="del mod">
          <ac:chgData name="PHAN, Auriane" userId="9aac93fd-b034-4dfb-92b5-a7c4c6c5a3b8" providerId="ADAL" clId="{AA5DAE6E-58C9-4987-B994-872D7A122814}" dt="2024-02-12T14:58:19.980" v="6" actId="478"/>
          <ac:picMkLst>
            <pc:docMk/>
            <pc:sldMk cId="2455323060" sldId="2147473457"/>
            <ac:picMk id="15" creationId="{C2484810-6883-F90E-5883-6A40C6C82D00}"/>
          </ac:picMkLst>
        </pc:picChg>
      </pc:sldChg>
      <pc:sldChg chg="addSp delSp mod">
        <pc:chgData name="PHAN, Auriane" userId="9aac93fd-b034-4dfb-92b5-a7c4c6c5a3b8" providerId="ADAL" clId="{AA5DAE6E-58C9-4987-B994-872D7A122814}" dt="2024-02-16T13:39:09.111" v="1646" actId="22"/>
        <pc:sldMkLst>
          <pc:docMk/>
          <pc:sldMk cId="1638268596" sldId="2147478766"/>
        </pc:sldMkLst>
        <pc:spChg chg="add del">
          <ac:chgData name="PHAN, Auriane" userId="9aac93fd-b034-4dfb-92b5-a7c4c6c5a3b8" providerId="ADAL" clId="{AA5DAE6E-58C9-4987-B994-872D7A122814}" dt="2024-02-16T13:39:09.111" v="1646" actId="22"/>
          <ac:spMkLst>
            <pc:docMk/>
            <pc:sldMk cId="1638268596" sldId="2147478766"/>
            <ac:spMk id="3" creationId="{6F0F9CAF-DBB5-0B86-1476-1E36A844FC14}"/>
          </ac:spMkLst>
        </pc:spChg>
      </pc:sldChg>
      <pc:sldChg chg="modSp del mod">
        <pc:chgData name="PHAN, Auriane" userId="9aac93fd-b034-4dfb-92b5-a7c4c6c5a3b8" providerId="ADAL" clId="{AA5DAE6E-58C9-4987-B994-872D7A122814}" dt="2024-02-16T13:41:07.567" v="1699" actId="47"/>
        <pc:sldMkLst>
          <pc:docMk/>
          <pc:sldMk cId="3930050288" sldId="2147478769"/>
        </pc:sldMkLst>
        <pc:graphicFrameChg chg="modGraphic">
          <ac:chgData name="PHAN, Auriane" userId="9aac93fd-b034-4dfb-92b5-a7c4c6c5a3b8" providerId="ADAL" clId="{AA5DAE6E-58C9-4987-B994-872D7A122814}" dt="2024-02-13T15:15:04.508" v="824" actId="5793"/>
          <ac:graphicFrameMkLst>
            <pc:docMk/>
            <pc:sldMk cId="3930050288" sldId="2147478769"/>
            <ac:graphicFrameMk id="3" creationId="{35060650-FBE1-18D5-C05B-FA41C44EC928}"/>
          </ac:graphicFrameMkLst>
        </pc:graphicFrameChg>
      </pc:sldChg>
      <pc:sldChg chg="modSp mod">
        <pc:chgData name="PHAN, Auriane" userId="9aac93fd-b034-4dfb-92b5-a7c4c6c5a3b8" providerId="ADAL" clId="{AA5DAE6E-58C9-4987-B994-872D7A122814}" dt="2024-02-16T13:48:57.410" v="1751" actId="1076"/>
        <pc:sldMkLst>
          <pc:docMk/>
          <pc:sldMk cId="2758980206" sldId="2147478770"/>
        </pc:sldMkLst>
        <pc:spChg chg="mod">
          <ac:chgData name="PHAN, Auriane" userId="9aac93fd-b034-4dfb-92b5-a7c4c6c5a3b8" providerId="ADAL" clId="{AA5DAE6E-58C9-4987-B994-872D7A122814}" dt="2024-02-16T13:48:57.410" v="1751" actId="1076"/>
          <ac:spMkLst>
            <pc:docMk/>
            <pc:sldMk cId="2758980206" sldId="2147478770"/>
            <ac:spMk id="5" creationId="{9662650D-FBF1-116B-70A8-9975FA62FEF4}"/>
          </ac:spMkLst>
        </pc:spChg>
      </pc:sldChg>
      <pc:sldChg chg="addSp modSp mod ord">
        <pc:chgData name="PHAN, Auriane" userId="9aac93fd-b034-4dfb-92b5-a7c4c6c5a3b8" providerId="ADAL" clId="{AA5DAE6E-58C9-4987-B994-872D7A122814}" dt="2024-02-14T08:54:54.427" v="903"/>
        <pc:sldMkLst>
          <pc:docMk/>
          <pc:sldMk cId="3675638760" sldId="2147478771"/>
        </pc:sldMkLst>
        <pc:spChg chg="mod">
          <ac:chgData name="PHAN, Auriane" userId="9aac93fd-b034-4dfb-92b5-a7c4c6c5a3b8" providerId="ADAL" clId="{AA5DAE6E-58C9-4987-B994-872D7A122814}" dt="2024-02-13T13:38:16.947" v="147" actId="20577"/>
          <ac:spMkLst>
            <pc:docMk/>
            <pc:sldMk cId="3675638760" sldId="2147478771"/>
            <ac:spMk id="2" creationId="{30A25494-3C68-96E8-E5DA-4BB21F611AF2}"/>
          </ac:spMkLst>
        </pc:spChg>
        <pc:spChg chg="mod">
          <ac:chgData name="PHAN, Auriane" userId="9aac93fd-b034-4dfb-92b5-a7c4c6c5a3b8" providerId="ADAL" clId="{AA5DAE6E-58C9-4987-B994-872D7A122814}" dt="2024-02-13T14:59:11.881" v="762" actId="13926"/>
          <ac:spMkLst>
            <pc:docMk/>
            <pc:sldMk cId="3675638760" sldId="2147478771"/>
            <ac:spMk id="3" creationId="{39184969-CD23-CF24-EE03-EEB6E614C962}"/>
          </ac:spMkLst>
        </pc:spChg>
        <pc:spChg chg="mod">
          <ac:chgData name="PHAN, Auriane" userId="9aac93fd-b034-4dfb-92b5-a7c4c6c5a3b8" providerId="ADAL" clId="{AA5DAE6E-58C9-4987-B994-872D7A122814}" dt="2024-02-13T13:33:40.970" v="119" actId="1076"/>
          <ac:spMkLst>
            <pc:docMk/>
            <pc:sldMk cId="3675638760" sldId="2147478771"/>
            <ac:spMk id="4" creationId="{69927FF9-89D6-C1D1-C84E-ADE76157E908}"/>
          </ac:spMkLst>
        </pc:spChg>
        <pc:spChg chg="add mod">
          <ac:chgData name="PHAN, Auriane" userId="9aac93fd-b034-4dfb-92b5-a7c4c6c5a3b8" providerId="ADAL" clId="{AA5DAE6E-58C9-4987-B994-872D7A122814}" dt="2024-02-14T08:54:47.921" v="901" actId="20577"/>
          <ac:spMkLst>
            <pc:docMk/>
            <pc:sldMk cId="3675638760" sldId="2147478771"/>
            <ac:spMk id="5" creationId="{8725EE8F-D06C-2434-7C1A-BC815D81E367}"/>
          </ac:spMkLst>
        </pc:spChg>
      </pc:sldChg>
      <pc:sldChg chg="addSp delSp modSp mod">
        <pc:chgData name="PHAN, Auriane" userId="9aac93fd-b034-4dfb-92b5-a7c4c6c5a3b8" providerId="ADAL" clId="{AA5DAE6E-58C9-4987-B994-872D7A122814}" dt="2024-02-14T09:15:27.331" v="1007" actId="478"/>
        <pc:sldMkLst>
          <pc:docMk/>
          <pc:sldMk cId="3563718015" sldId="2147478772"/>
        </pc:sldMkLst>
        <pc:spChg chg="add del mod">
          <ac:chgData name="PHAN, Auriane" userId="9aac93fd-b034-4dfb-92b5-a7c4c6c5a3b8" providerId="ADAL" clId="{AA5DAE6E-58C9-4987-B994-872D7A122814}" dt="2024-02-14T08:55:06.067" v="904" actId="478"/>
          <ac:spMkLst>
            <pc:docMk/>
            <pc:sldMk cId="3563718015" sldId="2147478772"/>
            <ac:spMk id="2" creationId="{7620C36C-CF23-2142-1175-06F96E3F363E}"/>
          </ac:spMkLst>
        </pc:spChg>
        <pc:spChg chg="mod">
          <ac:chgData name="PHAN, Auriane" userId="9aac93fd-b034-4dfb-92b5-a7c4c6c5a3b8" providerId="ADAL" clId="{AA5DAE6E-58C9-4987-B994-872D7A122814}" dt="2024-02-14T09:09:09.456" v="962" actId="20577"/>
          <ac:spMkLst>
            <pc:docMk/>
            <pc:sldMk cId="3563718015" sldId="2147478772"/>
            <ac:spMk id="3" creationId="{66B5D2F6-417A-1FD6-D838-E891DAA248BE}"/>
          </ac:spMkLst>
        </pc:spChg>
        <pc:graphicFrameChg chg="add mod modGraphic">
          <ac:chgData name="PHAN, Auriane" userId="9aac93fd-b034-4dfb-92b5-a7c4c6c5a3b8" providerId="ADAL" clId="{AA5DAE6E-58C9-4987-B994-872D7A122814}" dt="2024-02-14T09:14:55.437" v="1006"/>
          <ac:graphicFrameMkLst>
            <pc:docMk/>
            <pc:sldMk cId="3563718015" sldId="2147478772"/>
            <ac:graphicFrameMk id="4" creationId="{4E63152A-9CDF-3A98-503B-E1A0B69B6CEE}"/>
          </ac:graphicFrameMkLst>
        </pc:graphicFrameChg>
        <pc:graphicFrameChg chg="del mod modGraphic">
          <ac:chgData name="PHAN, Auriane" userId="9aac93fd-b034-4dfb-92b5-a7c4c6c5a3b8" providerId="ADAL" clId="{AA5DAE6E-58C9-4987-B994-872D7A122814}" dt="2024-02-14T09:15:27.331" v="1007" actId="478"/>
          <ac:graphicFrameMkLst>
            <pc:docMk/>
            <pc:sldMk cId="3563718015" sldId="2147478772"/>
            <ac:graphicFrameMk id="5" creationId="{4C421945-ED27-3095-E254-E948557B882F}"/>
          </ac:graphicFrameMkLst>
        </pc:graphicFrameChg>
      </pc:sldChg>
      <pc:sldChg chg="addSp delSp modSp mod ord">
        <pc:chgData name="PHAN, Auriane" userId="9aac93fd-b034-4dfb-92b5-a7c4c6c5a3b8" providerId="ADAL" clId="{AA5DAE6E-58C9-4987-B994-872D7A122814}" dt="2024-02-19T10:24:12.405" v="2504"/>
        <pc:sldMkLst>
          <pc:docMk/>
          <pc:sldMk cId="1971018762" sldId="2147478773"/>
        </pc:sldMkLst>
        <pc:spChg chg="mod">
          <ac:chgData name="PHAN, Auriane" userId="9aac93fd-b034-4dfb-92b5-a7c4c6c5a3b8" providerId="ADAL" clId="{AA5DAE6E-58C9-4987-B994-872D7A122814}" dt="2024-02-13T14:53:44.564" v="704" actId="14100"/>
          <ac:spMkLst>
            <pc:docMk/>
            <pc:sldMk cId="1971018762" sldId="2147478773"/>
            <ac:spMk id="2" creationId="{252E238D-2DA3-09A5-CC3F-977365D494A9}"/>
          </ac:spMkLst>
        </pc:spChg>
        <pc:spChg chg="mod">
          <ac:chgData name="PHAN, Auriane" userId="9aac93fd-b034-4dfb-92b5-a7c4c6c5a3b8" providerId="ADAL" clId="{AA5DAE6E-58C9-4987-B994-872D7A122814}" dt="2024-02-13T14:58:47.369" v="760" actId="13926"/>
          <ac:spMkLst>
            <pc:docMk/>
            <pc:sldMk cId="1971018762" sldId="2147478773"/>
            <ac:spMk id="3" creationId="{30715E58-030B-196C-A99C-2B480FD5E124}"/>
          </ac:spMkLst>
        </pc:spChg>
        <pc:spChg chg="add del">
          <ac:chgData name="PHAN, Auriane" userId="9aac93fd-b034-4dfb-92b5-a7c4c6c5a3b8" providerId="ADAL" clId="{AA5DAE6E-58C9-4987-B994-872D7A122814}" dt="2024-02-13T14:38:36.220" v="531"/>
          <ac:spMkLst>
            <pc:docMk/>
            <pc:sldMk cId="1971018762" sldId="2147478773"/>
            <ac:spMk id="4" creationId="{62EE2C59-4C84-31BF-4FFD-9579C9D15C9F}"/>
          </ac:spMkLst>
        </pc:spChg>
        <pc:spChg chg="add del">
          <ac:chgData name="PHAN, Auriane" userId="9aac93fd-b034-4dfb-92b5-a7c4c6c5a3b8" providerId="ADAL" clId="{AA5DAE6E-58C9-4987-B994-872D7A122814}" dt="2024-02-13T14:38:36.220" v="531"/>
          <ac:spMkLst>
            <pc:docMk/>
            <pc:sldMk cId="1971018762" sldId="2147478773"/>
            <ac:spMk id="5" creationId="{619E8FC0-DC10-54CF-F1D8-33D1166FE8CB}"/>
          </ac:spMkLst>
        </pc:spChg>
        <pc:spChg chg="add del">
          <ac:chgData name="PHAN, Auriane" userId="9aac93fd-b034-4dfb-92b5-a7c4c6c5a3b8" providerId="ADAL" clId="{AA5DAE6E-58C9-4987-B994-872D7A122814}" dt="2024-02-13T14:38:36.220" v="531"/>
          <ac:spMkLst>
            <pc:docMk/>
            <pc:sldMk cId="1971018762" sldId="2147478773"/>
            <ac:spMk id="6" creationId="{D2556774-69A9-BEA0-C05A-524A666D2CDF}"/>
          </ac:spMkLst>
        </pc:spChg>
        <pc:spChg chg="add del">
          <ac:chgData name="PHAN, Auriane" userId="9aac93fd-b034-4dfb-92b5-a7c4c6c5a3b8" providerId="ADAL" clId="{AA5DAE6E-58C9-4987-B994-872D7A122814}" dt="2024-02-13T14:38:38.199" v="533"/>
          <ac:spMkLst>
            <pc:docMk/>
            <pc:sldMk cId="1971018762" sldId="2147478773"/>
            <ac:spMk id="7" creationId="{B7F4DE0C-F814-7626-F7AB-5832FFFDB2C6}"/>
          </ac:spMkLst>
        </pc:spChg>
        <pc:spChg chg="add del">
          <ac:chgData name="PHAN, Auriane" userId="9aac93fd-b034-4dfb-92b5-a7c4c6c5a3b8" providerId="ADAL" clId="{AA5DAE6E-58C9-4987-B994-872D7A122814}" dt="2024-02-13T14:38:38.199" v="533"/>
          <ac:spMkLst>
            <pc:docMk/>
            <pc:sldMk cId="1971018762" sldId="2147478773"/>
            <ac:spMk id="8" creationId="{E1D19D38-D2E3-0F92-A999-513459C47A53}"/>
          </ac:spMkLst>
        </pc:spChg>
        <pc:spChg chg="add del">
          <ac:chgData name="PHAN, Auriane" userId="9aac93fd-b034-4dfb-92b5-a7c4c6c5a3b8" providerId="ADAL" clId="{AA5DAE6E-58C9-4987-B994-872D7A122814}" dt="2024-02-13T14:38:38.199" v="533"/>
          <ac:spMkLst>
            <pc:docMk/>
            <pc:sldMk cId="1971018762" sldId="2147478773"/>
            <ac:spMk id="9" creationId="{83CAE5E9-D5CF-CF50-AE40-FC2A306C3CC1}"/>
          </ac:spMkLst>
        </pc:spChg>
        <pc:spChg chg="add mod">
          <ac:chgData name="PHAN, Auriane" userId="9aac93fd-b034-4dfb-92b5-a7c4c6c5a3b8" providerId="ADAL" clId="{AA5DAE6E-58C9-4987-B994-872D7A122814}" dt="2024-02-13T14:53:55.673" v="721" actId="1037"/>
          <ac:spMkLst>
            <pc:docMk/>
            <pc:sldMk cId="1971018762" sldId="2147478773"/>
            <ac:spMk id="10" creationId="{895E2E25-ACAF-3680-5D66-746163F28FD8}"/>
          </ac:spMkLst>
        </pc:spChg>
        <pc:picChg chg="add mod modCrop">
          <ac:chgData name="PHAN, Auriane" userId="9aac93fd-b034-4dfb-92b5-a7c4c6c5a3b8" providerId="ADAL" clId="{AA5DAE6E-58C9-4987-B994-872D7A122814}" dt="2024-02-13T14:46:55.573" v="653" actId="1076"/>
          <ac:picMkLst>
            <pc:docMk/>
            <pc:sldMk cId="1971018762" sldId="2147478773"/>
            <ac:picMk id="12" creationId="{5400319B-A04B-E40B-43AE-D9053264A970}"/>
          </ac:picMkLst>
        </pc:picChg>
        <pc:picChg chg="add del mod">
          <ac:chgData name="PHAN, Auriane" userId="9aac93fd-b034-4dfb-92b5-a7c4c6c5a3b8" providerId="ADAL" clId="{AA5DAE6E-58C9-4987-B994-872D7A122814}" dt="2024-02-13T14:51:18.232" v="685" actId="478"/>
          <ac:picMkLst>
            <pc:docMk/>
            <pc:sldMk cId="1971018762" sldId="2147478773"/>
            <ac:picMk id="1032" creationId="{A60F620E-B5AD-4B2A-55A9-F5DF68A95CDA}"/>
          </ac:picMkLst>
        </pc:picChg>
        <pc:picChg chg="add del mod">
          <ac:chgData name="PHAN, Auriane" userId="9aac93fd-b034-4dfb-92b5-a7c4c6c5a3b8" providerId="ADAL" clId="{AA5DAE6E-58C9-4987-B994-872D7A122814}" dt="2024-02-13T14:51:34.173" v="689" actId="478"/>
          <ac:picMkLst>
            <pc:docMk/>
            <pc:sldMk cId="1971018762" sldId="2147478773"/>
            <ac:picMk id="1034" creationId="{DC94BEB3-DCE9-6849-B96A-4CB94B75B99B}"/>
          </ac:picMkLst>
        </pc:picChg>
        <pc:picChg chg="add del">
          <ac:chgData name="PHAN, Auriane" userId="9aac93fd-b034-4dfb-92b5-a7c4c6c5a3b8" providerId="ADAL" clId="{AA5DAE6E-58C9-4987-B994-872D7A122814}" dt="2024-02-13T14:51:36.333" v="691"/>
          <ac:picMkLst>
            <pc:docMk/>
            <pc:sldMk cId="1971018762" sldId="2147478773"/>
            <ac:picMk id="1036" creationId="{9FC10255-6729-85DC-7CA3-523166E17DB5}"/>
          </ac:picMkLst>
        </pc:picChg>
        <pc:picChg chg="add del mod">
          <ac:chgData name="PHAN, Auriane" userId="9aac93fd-b034-4dfb-92b5-a7c4c6c5a3b8" providerId="ADAL" clId="{AA5DAE6E-58C9-4987-B994-872D7A122814}" dt="2024-02-13T14:52:03.546" v="696" actId="478"/>
          <ac:picMkLst>
            <pc:docMk/>
            <pc:sldMk cId="1971018762" sldId="2147478773"/>
            <ac:picMk id="1038" creationId="{F5320B11-A65D-A589-61DC-5EFDCD3F77BA}"/>
          </ac:picMkLst>
        </pc:picChg>
        <pc:picChg chg="add del mod">
          <ac:chgData name="PHAN, Auriane" userId="9aac93fd-b034-4dfb-92b5-a7c4c6c5a3b8" providerId="ADAL" clId="{AA5DAE6E-58C9-4987-B994-872D7A122814}" dt="2024-02-13T14:54:01.591" v="722" actId="478"/>
          <ac:picMkLst>
            <pc:docMk/>
            <pc:sldMk cId="1971018762" sldId="2147478773"/>
            <ac:picMk id="1040" creationId="{22A2275E-026E-3180-C9DC-CF806C83741F}"/>
          </ac:picMkLst>
        </pc:picChg>
        <pc:picChg chg="add del">
          <ac:chgData name="PHAN, Auriane" userId="9aac93fd-b034-4dfb-92b5-a7c4c6c5a3b8" providerId="ADAL" clId="{AA5DAE6E-58C9-4987-B994-872D7A122814}" dt="2024-02-13T14:54:19.025" v="724" actId="478"/>
          <ac:picMkLst>
            <pc:docMk/>
            <pc:sldMk cId="1971018762" sldId="2147478773"/>
            <ac:picMk id="1042" creationId="{E2E3DF2B-AC28-D606-D2B5-2323DF18B7C8}"/>
          </ac:picMkLst>
        </pc:picChg>
        <pc:picChg chg="add del mod">
          <ac:chgData name="PHAN, Auriane" userId="9aac93fd-b034-4dfb-92b5-a7c4c6c5a3b8" providerId="ADAL" clId="{AA5DAE6E-58C9-4987-B994-872D7A122814}" dt="2024-02-13T14:56:22.958" v="729" actId="478"/>
          <ac:picMkLst>
            <pc:docMk/>
            <pc:sldMk cId="1971018762" sldId="2147478773"/>
            <ac:picMk id="1044" creationId="{F09AF1CA-943B-627C-2B51-19CAD04B04CF}"/>
          </ac:picMkLst>
        </pc:picChg>
        <pc:picChg chg="add mod">
          <ac:chgData name="PHAN, Auriane" userId="9aac93fd-b034-4dfb-92b5-a7c4c6c5a3b8" providerId="ADAL" clId="{AA5DAE6E-58C9-4987-B994-872D7A122814}" dt="2024-02-13T14:57:53.647" v="753" actId="732"/>
          <ac:picMkLst>
            <pc:docMk/>
            <pc:sldMk cId="1971018762" sldId="2147478773"/>
            <ac:picMk id="1046" creationId="{8FE3118B-8150-D5EE-913D-F5EC8C34BB3E}"/>
          </ac:picMkLst>
        </pc:picChg>
      </pc:sldChg>
      <pc:sldChg chg="modSp mod">
        <pc:chgData name="PHAN, Auriane" userId="9aac93fd-b034-4dfb-92b5-a7c4c6c5a3b8" providerId="ADAL" clId="{AA5DAE6E-58C9-4987-B994-872D7A122814}" dt="2024-02-16T15:39:50.587" v="1902" actId="2711"/>
        <pc:sldMkLst>
          <pc:docMk/>
          <pc:sldMk cId="2460672719" sldId="2147478774"/>
        </pc:sldMkLst>
        <pc:spChg chg="mod">
          <ac:chgData name="PHAN, Auriane" userId="9aac93fd-b034-4dfb-92b5-a7c4c6c5a3b8" providerId="ADAL" clId="{AA5DAE6E-58C9-4987-B994-872D7A122814}" dt="2024-02-16T15:39:50.587" v="1902" actId="2711"/>
          <ac:spMkLst>
            <pc:docMk/>
            <pc:sldMk cId="2460672719" sldId="2147478774"/>
            <ac:spMk id="2" creationId="{30A25494-3C68-96E8-E5DA-4BB21F611AF2}"/>
          </ac:spMkLst>
        </pc:spChg>
      </pc:sldChg>
      <pc:sldChg chg="modSp mod">
        <pc:chgData name="PHAN, Auriane" userId="9aac93fd-b034-4dfb-92b5-a7c4c6c5a3b8" providerId="ADAL" clId="{AA5DAE6E-58C9-4987-B994-872D7A122814}" dt="2024-02-16T15:40:01.684" v="1903" actId="2711"/>
        <pc:sldMkLst>
          <pc:docMk/>
          <pc:sldMk cId="3818255527" sldId="2147478779"/>
        </pc:sldMkLst>
        <pc:spChg chg="mod">
          <ac:chgData name="PHAN, Auriane" userId="9aac93fd-b034-4dfb-92b5-a7c4c6c5a3b8" providerId="ADAL" clId="{AA5DAE6E-58C9-4987-B994-872D7A122814}" dt="2024-02-16T15:40:01.684" v="1903" actId="2711"/>
          <ac:spMkLst>
            <pc:docMk/>
            <pc:sldMk cId="3818255527" sldId="2147478779"/>
            <ac:spMk id="2" creationId="{30A25494-3C68-96E8-E5DA-4BB21F611AF2}"/>
          </ac:spMkLst>
        </pc:spChg>
      </pc:sldChg>
      <pc:sldChg chg="modSp mod">
        <pc:chgData name="PHAN, Auriane" userId="9aac93fd-b034-4dfb-92b5-a7c4c6c5a3b8" providerId="ADAL" clId="{AA5DAE6E-58C9-4987-B994-872D7A122814}" dt="2024-02-16T15:40:07.199" v="1904" actId="2711"/>
        <pc:sldMkLst>
          <pc:docMk/>
          <pc:sldMk cId="2793514166" sldId="2147478780"/>
        </pc:sldMkLst>
        <pc:spChg chg="mod">
          <ac:chgData name="PHAN, Auriane" userId="9aac93fd-b034-4dfb-92b5-a7c4c6c5a3b8" providerId="ADAL" clId="{AA5DAE6E-58C9-4987-B994-872D7A122814}" dt="2024-02-16T15:40:07.199" v="1904" actId="2711"/>
          <ac:spMkLst>
            <pc:docMk/>
            <pc:sldMk cId="2793514166" sldId="2147478780"/>
            <ac:spMk id="2" creationId="{30A25494-3C68-96E8-E5DA-4BB21F611AF2}"/>
          </ac:spMkLst>
        </pc:spChg>
      </pc:sldChg>
      <pc:sldChg chg="modSp mod">
        <pc:chgData name="PHAN, Auriane" userId="9aac93fd-b034-4dfb-92b5-a7c4c6c5a3b8" providerId="ADAL" clId="{AA5DAE6E-58C9-4987-B994-872D7A122814}" dt="2024-02-16T15:40:21.744" v="1905" actId="2711"/>
        <pc:sldMkLst>
          <pc:docMk/>
          <pc:sldMk cId="3783171242" sldId="2147478782"/>
        </pc:sldMkLst>
        <pc:spChg chg="mod">
          <ac:chgData name="PHAN, Auriane" userId="9aac93fd-b034-4dfb-92b5-a7c4c6c5a3b8" providerId="ADAL" clId="{AA5DAE6E-58C9-4987-B994-872D7A122814}" dt="2024-02-16T15:40:21.744" v="1905" actId="2711"/>
          <ac:spMkLst>
            <pc:docMk/>
            <pc:sldMk cId="3783171242" sldId="2147478782"/>
            <ac:spMk id="2" creationId="{30A25494-3C68-96E8-E5DA-4BB21F611AF2}"/>
          </ac:spMkLst>
        </pc:spChg>
      </pc:sldChg>
      <pc:sldChg chg="addSp delSp modSp new mod ord">
        <pc:chgData name="PHAN, Auriane" userId="9aac93fd-b034-4dfb-92b5-a7c4c6c5a3b8" providerId="ADAL" clId="{AA5DAE6E-58C9-4987-B994-872D7A122814}" dt="2024-02-19T10:24:19.948" v="2506"/>
        <pc:sldMkLst>
          <pc:docMk/>
          <pc:sldMk cId="1882825064" sldId="2147478784"/>
        </pc:sldMkLst>
        <pc:spChg chg="del">
          <ac:chgData name="PHAN, Auriane" userId="9aac93fd-b034-4dfb-92b5-a7c4c6c5a3b8" providerId="ADAL" clId="{AA5DAE6E-58C9-4987-B994-872D7A122814}" dt="2024-02-12T15:03:07.467" v="99" actId="478"/>
          <ac:spMkLst>
            <pc:docMk/>
            <pc:sldMk cId="1882825064" sldId="2147478784"/>
            <ac:spMk id="2" creationId="{D93C0CE4-6BC7-BA2F-6BA7-202862DBE209}"/>
          </ac:spMkLst>
        </pc:spChg>
        <pc:spChg chg="mod">
          <ac:chgData name="PHAN, Auriane" userId="9aac93fd-b034-4dfb-92b5-a7c4c6c5a3b8" providerId="ADAL" clId="{AA5DAE6E-58C9-4987-B994-872D7A122814}" dt="2024-02-13T15:02:10.125" v="785" actId="6549"/>
          <ac:spMkLst>
            <pc:docMk/>
            <pc:sldMk cId="1882825064" sldId="2147478784"/>
            <ac:spMk id="3" creationId="{D8544D7E-9661-2A10-A99F-758D80E6FB84}"/>
          </ac:spMkLst>
        </pc:spChg>
        <pc:spChg chg="add mod">
          <ac:chgData name="PHAN, Auriane" userId="9aac93fd-b034-4dfb-92b5-a7c4c6c5a3b8" providerId="ADAL" clId="{AA5DAE6E-58C9-4987-B994-872D7A122814}" dt="2024-02-13T15:02:46.453" v="802" actId="1076"/>
          <ac:spMkLst>
            <pc:docMk/>
            <pc:sldMk cId="1882825064" sldId="2147478784"/>
            <ac:spMk id="4" creationId="{39543273-B4F0-8028-BFC7-A23FB10C52D1}"/>
          </ac:spMkLst>
        </pc:spChg>
        <pc:spChg chg="add mod">
          <ac:chgData name="PHAN, Auriane" userId="9aac93fd-b034-4dfb-92b5-a7c4c6c5a3b8" providerId="ADAL" clId="{AA5DAE6E-58C9-4987-B994-872D7A122814}" dt="2024-02-14T13:55:43.767" v="1029" actId="404"/>
          <ac:spMkLst>
            <pc:docMk/>
            <pc:sldMk cId="1882825064" sldId="2147478784"/>
            <ac:spMk id="6" creationId="{78A992A6-5B0F-7493-AC15-ECF9F16C3BBB}"/>
          </ac:spMkLst>
        </pc:spChg>
        <pc:spChg chg="add mod">
          <ac:chgData name="PHAN, Auriane" userId="9aac93fd-b034-4dfb-92b5-a7c4c6c5a3b8" providerId="ADAL" clId="{AA5DAE6E-58C9-4987-B994-872D7A122814}" dt="2024-02-14T13:56:43.967" v="1052" actId="20577"/>
          <ac:spMkLst>
            <pc:docMk/>
            <pc:sldMk cId="1882825064" sldId="2147478784"/>
            <ac:spMk id="7" creationId="{F16F39A8-D7D7-452D-0E57-2799CA899C1E}"/>
          </ac:spMkLst>
        </pc:spChg>
        <pc:picChg chg="add mod modCrop">
          <ac:chgData name="PHAN, Auriane" userId="9aac93fd-b034-4dfb-92b5-a7c4c6c5a3b8" providerId="ADAL" clId="{AA5DAE6E-58C9-4987-B994-872D7A122814}" dt="2024-02-14T13:55:17.009" v="1022" actId="1076"/>
          <ac:picMkLst>
            <pc:docMk/>
            <pc:sldMk cId="1882825064" sldId="2147478784"/>
            <ac:picMk id="5" creationId="{2BD0A00A-BFFF-F65B-84CF-39581ECDFF9A}"/>
          </ac:picMkLst>
        </pc:picChg>
      </pc:sldChg>
      <pc:sldChg chg="modCm">
        <pc:chgData name="PHAN, Auriane" userId="9aac93fd-b034-4dfb-92b5-a7c4c6c5a3b8" providerId="ADAL" clId="{AA5DAE6E-58C9-4987-B994-872D7A122814}" dt="2024-02-16T14:17:10.014" v="1752" actId="2056"/>
        <pc:sldMkLst>
          <pc:docMk/>
          <pc:sldMk cId="1362600534" sldId="2147478788"/>
        </pc:sldMkLst>
        <pc:extLst>
          <p:ext xmlns:p="http://schemas.openxmlformats.org/presentationml/2006/main" uri="{D6D511B9-2390-475A-947B-AFAB55BFBCF1}">
            <pc226:cmChg xmlns:pc226="http://schemas.microsoft.com/office/powerpoint/2022/06/main/command" chg="mod">
              <pc226:chgData name="PHAN, Auriane" userId="9aac93fd-b034-4dfb-92b5-a7c4c6c5a3b8" providerId="ADAL" clId="{AA5DAE6E-58C9-4987-B994-872D7A122814}" dt="2024-02-16T14:17:10.014" v="1752" actId="2056"/>
              <pc2:cmMkLst xmlns:pc2="http://schemas.microsoft.com/office/powerpoint/2019/9/main/command">
                <pc:docMk/>
                <pc:sldMk cId="1362600534" sldId="2147478788"/>
                <pc2:cmMk id="{1EF768FB-0449-4DEB-9DC4-EAA88BFA9C1D}"/>
              </pc2:cmMkLst>
            </pc226:cmChg>
          </p:ext>
        </pc:extLst>
      </pc:sldChg>
      <pc:sldChg chg="modSp mod">
        <pc:chgData name="PHAN, Auriane" userId="9aac93fd-b034-4dfb-92b5-a7c4c6c5a3b8" providerId="ADAL" clId="{AA5DAE6E-58C9-4987-B994-872D7A122814}" dt="2024-02-26T09:10:17.670" v="2950" actId="14100"/>
        <pc:sldMkLst>
          <pc:docMk/>
          <pc:sldMk cId="200085282" sldId="2147481385"/>
        </pc:sldMkLst>
        <pc:spChg chg="mod">
          <ac:chgData name="PHAN, Auriane" userId="9aac93fd-b034-4dfb-92b5-a7c4c6c5a3b8" providerId="ADAL" clId="{AA5DAE6E-58C9-4987-B994-872D7A122814}" dt="2024-02-26T09:10:17.670" v="2950" actId="14100"/>
          <ac:spMkLst>
            <pc:docMk/>
            <pc:sldMk cId="200085282" sldId="2147481385"/>
            <ac:spMk id="23" creationId="{829AF7EE-145B-4C4A-8CEB-F55DCBE6686C}"/>
          </ac:spMkLst>
        </pc:spChg>
      </pc:sldChg>
      <pc:sldChg chg="modSp mod">
        <pc:chgData name="PHAN, Auriane" userId="9aac93fd-b034-4dfb-92b5-a7c4c6c5a3b8" providerId="ADAL" clId="{AA5DAE6E-58C9-4987-B994-872D7A122814}" dt="2024-02-26T09:15:17.531" v="2953" actId="14100"/>
        <pc:sldMkLst>
          <pc:docMk/>
          <pc:sldMk cId="3316868242" sldId="2147481394"/>
        </pc:sldMkLst>
        <pc:spChg chg="mod">
          <ac:chgData name="PHAN, Auriane" userId="9aac93fd-b034-4dfb-92b5-a7c4c6c5a3b8" providerId="ADAL" clId="{AA5DAE6E-58C9-4987-B994-872D7A122814}" dt="2024-02-26T09:15:17.531" v="2953" actId="14100"/>
          <ac:spMkLst>
            <pc:docMk/>
            <pc:sldMk cId="3316868242" sldId="2147481394"/>
            <ac:spMk id="23" creationId="{829AF7EE-145B-4C4A-8CEB-F55DCBE6686C}"/>
          </ac:spMkLst>
        </pc:spChg>
      </pc:sldChg>
      <pc:sldChg chg="modSp add mod">
        <pc:chgData name="PHAN, Auriane" userId="9aac93fd-b034-4dfb-92b5-a7c4c6c5a3b8" providerId="ADAL" clId="{AA5DAE6E-58C9-4987-B994-872D7A122814}" dt="2024-02-19T10:26:13.744" v="2531" actId="208"/>
        <pc:sldMkLst>
          <pc:docMk/>
          <pc:sldMk cId="2343162873" sldId="2147481395"/>
        </pc:sldMkLst>
        <pc:spChg chg="mod">
          <ac:chgData name="PHAN, Auriane" userId="9aac93fd-b034-4dfb-92b5-a7c4c6c5a3b8" providerId="ADAL" clId="{AA5DAE6E-58C9-4987-B994-872D7A122814}" dt="2024-02-16T13:42:48.188" v="1733" actId="20577"/>
          <ac:spMkLst>
            <pc:docMk/>
            <pc:sldMk cId="2343162873" sldId="2147481395"/>
            <ac:spMk id="7" creationId="{26EF2914-107A-4255-96D0-EB57A51F375D}"/>
          </ac:spMkLst>
        </pc:spChg>
        <pc:picChg chg="mod">
          <ac:chgData name="PHAN, Auriane" userId="9aac93fd-b034-4dfb-92b5-a7c4c6c5a3b8" providerId="ADAL" clId="{AA5DAE6E-58C9-4987-B994-872D7A122814}" dt="2024-02-19T10:26:13.744" v="2531" actId="208"/>
          <ac:picMkLst>
            <pc:docMk/>
            <pc:sldMk cId="2343162873" sldId="2147481395"/>
            <ac:picMk id="10" creationId="{6A9E0351-3495-4419-8514-E8214C87ECD4}"/>
          </ac:picMkLst>
        </pc:picChg>
      </pc:sldChg>
      <pc:sldChg chg="modSp add mod">
        <pc:chgData name="PHAN, Auriane" userId="9aac93fd-b034-4dfb-92b5-a7c4c6c5a3b8" providerId="ADAL" clId="{AA5DAE6E-58C9-4987-B994-872D7A122814}" dt="2024-02-16T13:45:40.965" v="1750"/>
        <pc:sldMkLst>
          <pc:docMk/>
          <pc:sldMk cId="2921129530" sldId="2147481396"/>
        </pc:sldMkLst>
        <pc:spChg chg="mod">
          <ac:chgData name="PHAN, Auriane" userId="9aac93fd-b034-4dfb-92b5-a7c4c6c5a3b8" providerId="ADAL" clId="{AA5DAE6E-58C9-4987-B994-872D7A122814}" dt="2024-02-16T13:45:40.965" v="1750"/>
          <ac:spMkLst>
            <pc:docMk/>
            <pc:sldMk cId="2921129530" sldId="2147481396"/>
            <ac:spMk id="7" creationId="{26EF2914-107A-4255-96D0-EB57A51F375D}"/>
          </ac:spMkLst>
        </pc:spChg>
      </pc:sldChg>
      <pc:sldChg chg="modSp mod">
        <pc:chgData name="PHAN, Auriane" userId="9aac93fd-b034-4dfb-92b5-a7c4c6c5a3b8" providerId="ADAL" clId="{AA5DAE6E-58C9-4987-B994-872D7A122814}" dt="2024-02-26T09:15:07.938" v="2952" actId="14100"/>
        <pc:sldMkLst>
          <pc:docMk/>
          <pc:sldMk cId="2960014723" sldId="2147481405"/>
        </pc:sldMkLst>
        <pc:spChg chg="mod">
          <ac:chgData name="PHAN, Auriane" userId="9aac93fd-b034-4dfb-92b5-a7c4c6c5a3b8" providerId="ADAL" clId="{AA5DAE6E-58C9-4987-B994-872D7A122814}" dt="2024-02-26T09:15:07.938" v="2952" actId="14100"/>
          <ac:spMkLst>
            <pc:docMk/>
            <pc:sldMk cId="2960014723" sldId="2147481405"/>
            <ac:spMk id="23" creationId="{829AF7EE-145B-4C4A-8CEB-F55DCBE6686C}"/>
          </ac:spMkLst>
        </pc:spChg>
      </pc:sldChg>
      <pc:sldChg chg="modSp mod">
        <pc:chgData name="PHAN, Auriane" userId="9aac93fd-b034-4dfb-92b5-a7c4c6c5a3b8" providerId="ADAL" clId="{AA5DAE6E-58C9-4987-B994-872D7A122814}" dt="2024-02-26T09:15:22.682" v="2955" actId="14100"/>
        <pc:sldMkLst>
          <pc:docMk/>
          <pc:sldMk cId="2026483094" sldId="2147481411"/>
        </pc:sldMkLst>
        <pc:spChg chg="mod">
          <ac:chgData name="PHAN, Auriane" userId="9aac93fd-b034-4dfb-92b5-a7c4c6c5a3b8" providerId="ADAL" clId="{AA5DAE6E-58C9-4987-B994-872D7A122814}" dt="2024-02-26T09:15:22.682" v="2955" actId="14100"/>
          <ac:spMkLst>
            <pc:docMk/>
            <pc:sldMk cId="2026483094" sldId="2147481411"/>
            <ac:spMk id="23" creationId="{829AF7EE-145B-4C4A-8CEB-F55DCBE6686C}"/>
          </ac:spMkLst>
        </pc:spChg>
      </pc:sldChg>
      <pc:sldChg chg="modSp mod">
        <pc:chgData name="PHAN, Auriane" userId="9aac93fd-b034-4dfb-92b5-a7c4c6c5a3b8" providerId="ADAL" clId="{AA5DAE6E-58C9-4987-B994-872D7A122814}" dt="2024-02-26T09:15:03.828" v="2951" actId="14100"/>
        <pc:sldMkLst>
          <pc:docMk/>
          <pc:sldMk cId="327943054" sldId="2147481412"/>
        </pc:sldMkLst>
        <pc:spChg chg="mod">
          <ac:chgData name="PHAN, Auriane" userId="9aac93fd-b034-4dfb-92b5-a7c4c6c5a3b8" providerId="ADAL" clId="{AA5DAE6E-58C9-4987-B994-872D7A122814}" dt="2024-02-26T09:15:03.828" v="2951" actId="14100"/>
          <ac:spMkLst>
            <pc:docMk/>
            <pc:sldMk cId="327943054" sldId="2147481412"/>
            <ac:spMk id="23" creationId="{829AF7EE-145B-4C4A-8CEB-F55DCBE6686C}"/>
          </ac:spMkLst>
        </pc:spChg>
      </pc:sldChg>
      <pc:sldChg chg="add del">
        <pc:chgData name="PHAN, Auriane" userId="9aac93fd-b034-4dfb-92b5-a7c4c6c5a3b8" providerId="ADAL" clId="{AA5DAE6E-58C9-4987-B994-872D7A122814}" dt="2024-02-19T10:25:52.666" v="2527" actId="47"/>
        <pc:sldMkLst>
          <pc:docMk/>
          <pc:sldMk cId="1775938735" sldId="2147481414"/>
        </pc:sldMkLst>
      </pc:sldChg>
      <pc:sldChg chg="modSp new mod">
        <pc:chgData name="PHAN, Auriane" userId="9aac93fd-b034-4dfb-92b5-a7c4c6c5a3b8" providerId="ADAL" clId="{AA5DAE6E-58C9-4987-B994-872D7A122814}" dt="2024-02-26T08:14:41.031" v="2949" actId="20577"/>
        <pc:sldMkLst>
          <pc:docMk/>
          <pc:sldMk cId="990596116" sldId="2147481438"/>
        </pc:sldMkLst>
        <pc:spChg chg="mod">
          <ac:chgData name="PHAN, Auriane" userId="9aac93fd-b034-4dfb-92b5-a7c4c6c5a3b8" providerId="ADAL" clId="{AA5DAE6E-58C9-4987-B994-872D7A122814}" dt="2024-02-26T08:14:41.031" v="2949" actId="20577"/>
          <ac:spMkLst>
            <pc:docMk/>
            <pc:sldMk cId="990596116" sldId="2147481438"/>
            <ac:spMk id="2" creationId="{9F83A11E-B5FC-4830-FFB7-2D8CC90B959C}"/>
          </ac:spMkLst>
        </pc:spChg>
      </pc:sldChg>
      <pc:sldMasterChg chg="delSp modSp mod">
        <pc:chgData name="PHAN, Auriane" userId="9aac93fd-b034-4dfb-92b5-a7c4c6c5a3b8" providerId="ADAL" clId="{AA5DAE6E-58C9-4987-B994-872D7A122814}" dt="2024-02-13T14:47:24.842" v="660" actId="20577"/>
        <pc:sldMasterMkLst>
          <pc:docMk/>
          <pc:sldMasterMk cId="3148905397" sldId="2147483899"/>
        </pc:sldMasterMkLst>
        <pc:spChg chg="del mod">
          <ac:chgData name="PHAN, Auriane" userId="9aac93fd-b034-4dfb-92b5-a7c4c6c5a3b8" providerId="ADAL" clId="{AA5DAE6E-58C9-4987-B994-872D7A122814}" dt="2024-02-13T14:47:21.167" v="658" actId="478"/>
          <ac:spMkLst>
            <pc:docMk/>
            <pc:sldMasterMk cId="3148905397" sldId="2147483899"/>
            <ac:spMk id="65" creationId="{5B538C81-213B-41EC-BB81-FEF313C9D880}"/>
          </ac:spMkLst>
        </pc:spChg>
        <pc:spChg chg="mod">
          <ac:chgData name="PHAN, Auriane" userId="9aac93fd-b034-4dfb-92b5-a7c4c6c5a3b8" providerId="ADAL" clId="{AA5DAE6E-58C9-4987-B994-872D7A122814}" dt="2024-02-13T14:47:24.842" v="660" actId="20577"/>
          <ac:spMkLst>
            <pc:docMk/>
            <pc:sldMasterMk cId="3148905397" sldId="2147483899"/>
            <ac:spMk id="89" creationId="{01D50803-B26A-4936-A06C-6E086A6DD719}"/>
          </ac:spMkLst>
        </pc:spChg>
      </pc:sldMasterChg>
    </pc:docChg>
  </pc:docChgLst>
  <pc:docChgLst>
    <pc:chgData name="BARON FERRAND, Flavien" userId="3e99a595-f191-40e2-8673-de4ecd89d5d3" providerId="ADAL" clId="{1700E563-9365-4D4F-8AF0-04B3D3913C4A}"/>
    <pc:docChg chg="undo custSel addSld delSld modSld sldOrd modSection">
      <pc:chgData name="BARON FERRAND, Flavien" userId="3e99a595-f191-40e2-8673-de4ecd89d5d3" providerId="ADAL" clId="{1700E563-9365-4D4F-8AF0-04B3D3913C4A}" dt="2024-05-27T09:57:34.525" v="3292"/>
      <pc:docMkLst>
        <pc:docMk/>
      </pc:docMkLst>
      <pc:sldChg chg="modSp mod">
        <pc:chgData name="BARON FERRAND, Flavien" userId="3e99a595-f191-40e2-8673-de4ecd89d5d3" providerId="ADAL" clId="{1700E563-9365-4D4F-8AF0-04B3D3913C4A}" dt="2024-05-24T11:57:06.137" v="1360" actId="1076"/>
        <pc:sldMkLst>
          <pc:docMk/>
          <pc:sldMk cId="55413119" sldId="396"/>
        </pc:sldMkLst>
        <pc:spChg chg="mod">
          <ac:chgData name="BARON FERRAND, Flavien" userId="3e99a595-f191-40e2-8673-de4ecd89d5d3" providerId="ADAL" clId="{1700E563-9365-4D4F-8AF0-04B3D3913C4A}" dt="2024-05-24T11:57:06.137" v="1360" actId="1076"/>
          <ac:spMkLst>
            <pc:docMk/>
            <pc:sldMk cId="55413119" sldId="396"/>
            <ac:spMk id="13" creationId="{960343DB-B686-5053-8941-D33ACD634CA4}"/>
          </ac:spMkLst>
        </pc:spChg>
        <pc:graphicFrameChg chg="mod">
          <ac:chgData name="BARON FERRAND, Flavien" userId="3e99a595-f191-40e2-8673-de4ecd89d5d3" providerId="ADAL" clId="{1700E563-9365-4D4F-8AF0-04B3D3913C4A}" dt="2024-04-26T08:49:42.191" v="35" actId="21"/>
          <ac:graphicFrameMkLst>
            <pc:docMk/>
            <pc:sldMk cId="55413119" sldId="396"/>
            <ac:graphicFrameMk id="17" creationId="{1DC7455A-C60B-0464-678B-9FF73A190C19}"/>
          </ac:graphicFrameMkLst>
        </pc:graphicFrameChg>
      </pc:sldChg>
      <pc:sldChg chg="modSp mod ord">
        <pc:chgData name="BARON FERRAND, Flavien" userId="3e99a595-f191-40e2-8673-de4ecd89d5d3" providerId="ADAL" clId="{1700E563-9365-4D4F-8AF0-04B3D3913C4A}" dt="2024-05-24T11:58:42.957" v="1384" actId="207"/>
        <pc:sldMkLst>
          <pc:docMk/>
          <pc:sldMk cId="4270008294" sldId="2076137872"/>
        </pc:sldMkLst>
        <pc:spChg chg="mod">
          <ac:chgData name="BARON FERRAND, Flavien" userId="3e99a595-f191-40e2-8673-de4ecd89d5d3" providerId="ADAL" clId="{1700E563-9365-4D4F-8AF0-04B3D3913C4A}" dt="2024-05-24T11:58:42.957" v="1384" actId="207"/>
          <ac:spMkLst>
            <pc:docMk/>
            <pc:sldMk cId="4270008294" sldId="2076137872"/>
            <ac:spMk id="152" creationId="{19278351-16A5-4D66-B6EE-3227101FF650}"/>
          </ac:spMkLst>
        </pc:spChg>
      </pc:sldChg>
      <pc:sldChg chg="addSp modSp mod">
        <pc:chgData name="BARON FERRAND, Flavien" userId="3e99a595-f191-40e2-8673-de4ecd89d5d3" providerId="ADAL" clId="{1700E563-9365-4D4F-8AF0-04B3D3913C4A}" dt="2024-05-22T13:51:25.732" v="1332" actId="20577"/>
        <pc:sldMkLst>
          <pc:docMk/>
          <pc:sldMk cId="1646583794" sldId="2147473421"/>
        </pc:sldMkLst>
        <pc:spChg chg="add mod">
          <ac:chgData name="BARON FERRAND, Flavien" userId="3e99a595-f191-40e2-8673-de4ecd89d5d3" providerId="ADAL" clId="{1700E563-9365-4D4F-8AF0-04B3D3913C4A}" dt="2024-05-22T13:51:25.732" v="1332" actId="20577"/>
          <ac:spMkLst>
            <pc:docMk/>
            <pc:sldMk cId="1646583794" sldId="2147473421"/>
            <ac:spMk id="2" creationId="{C76A43D2-1818-FDB4-6E68-A5F4E5B1C8E3}"/>
          </ac:spMkLst>
        </pc:spChg>
      </pc:sldChg>
      <pc:sldChg chg="addSp delSp modSp mod">
        <pc:chgData name="BARON FERRAND, Flavien" userId="3e99a595-f191-40e2-8673-de4ecd89d5d3" providerId="ADAL" clId="{1700E563-9365-4D4F-8AF0-04B3D3913C4A}" dt="2024-05-22T13:51:56.525" v="1358" actId="20577"/>
        <pc:sldMkLst>
          <pc:docMk/>
          <pc:sldMk cId="4011928000" sldId="2147473429"/>
        </pc:sldMkLst>
        <pc:spChg chg="add mod">
          <ac:chgData name="BARON FERRAND, Flavien" userId="3e99a595-f191-40e2-8673-de4ecd89d5d3" providerId="ADAL" clId="{1700E563-9365-4D4F-8AF0-04B3D3913C4A}" dt="2024-05-22T13:51:56.525" v="1358" actId="20577"/>
          <ac:spMkLst>
            <pc:docMk/>
            <pc:sldMk cId="4011928000" sldId="2147473429"/>
            <ac:spMk id="2" creationId="{3644B454-109A-1F48-8A3A-99919A30533C}"/>
          </ac:spMkLst>
        </pc:spChg>
        <pc:picChg chg="add del mod">
          <ac:chgData name="BARON FERRAND, Flavien" userId="3e99a595-f191-40e2-8673-de4ecd89d5d3" providerId="ADAL" clId="{1700E563-9365-4D4F-8AF0-04B3D3913C4A}" dt="2024-05-17T09:52:51.288" v="871" actId="21"/>
          <ac:picMkLst>
            <pc:docMk/>
            <pc:sldMk cId="4011928000" sldId="2147473429"/>
            <ac:picMk id="3" creationId="{78E386E2-9CDA-F304-6138-0BF2CF3AC4C0}"/>
          </ac:picMkLst>
        </pc:picChg>
      </pc:sldChg>
      <pc:sldChg chg="modSp mod">
        <pc:chgData name="BARON FERRAND, Flavien" userId="3e99a595-f191-40e2-8673-de4ecd89d5d3" providerId="ADAL" clId="{1700E563-9365-4D4F-8AF0-04B3D3913C4A}" dt="2024-05-24T15:30:40.081" v="3290" actId="113"/>
        <pc:sldMkLst>
          <pc:docMk/>
          <pc:sldMk cId="2455323060" sldId="2147473457"/>
        </pc:sldMkLst>
        <pc:spChg chg="mod">
          <ac:chgData name="BARON FERRAND, Flavien" userId="3e99a595-f191-40e2-8673-de4ecd89d5d3" providerId="ADAL" clId="{1700E563-9365-4D4F-8AF0-04B3D3913C4A}" dt="2024-05-24T15:30:40.081" v="3290" actId="113"/>
          <ac:spMkLst>
            <pc:docMk/>
            <pc:sldMk cId="2455323060" sldId="2147473457"/>
            <ac:spMk id="9" creationId="{A0F9A617-2BBC-4936-7671-F1E6E7526787}"/>
          </ac:spMkLst>
        </pc:spChg>
        <pc:spChg chg="mod">
          <ac:chgData name="BARON FERRAND, Flavien" userId="3e99a595-f191-40e2-8673-de4ecd89d5d3" providerId="ADAL" clId="{1700E563-9365-4D4F-8AF0-04B3D3913C4A}" dt="2024-05-24T15:30:26.285" v="3289" actId="20577"/>
          <ac:spMkLst>
            <pc:docMk/>
            <pc:sldMk cId="2455323060" sldId="2147473457"/>
            <ac:spMk id="12" creationId="{D9E6D9C2-8C16-C3F6-D160-C63440F5033B}"/>
          </ac:spMkLst>
        </pc:spChg>
      </pc:sldChg>
      <pc:sldChg chg="modSp mod">
        <pc:chgData name="BARON FERRAND, Flavien" userId="3e99a595-f191-40e2-8673-de4ecd89d5d3" providerId="ADAL" clId="{1700E563-9365-4D4F-8AF0-04B3D3913C4A}" dt="2024-04-26T08:26:46.002" v="10" actId="20577"/>
        <pc:sldMkLst>
          <pc:docMk/>
          <pc:sldMk cId="1701558007" sldId="2147481420"/>
        </pc:sldMkLst>
        <pc:spChg chg="mod">
          <ac:chgData name="BARON FERRAND, Flavien" userId="3e99a595-f191-40e2-8673-de4ecd89d5d3" providerId="ADAL" clId="{1700E563-9365-4D4F-8AF0-04B3D3913C4A}" dt="2024-04-26T08:26:46.002" v="10" actId="20577"/>
          <ac:spMkLst>
            <pc:docMk/>
            <pc:sldMk cId="1701558007" sldId="2147481420"/>
            <ac:spMk id="11" creationId="{1F6938A4-1724-5516-25C4-63D0F8296721}"/>
          </ac:spMkLst>
        </pc:spChg>
      </pc:sldChg>
      <pc:sldChg chg="addSp delSp modSp mod delCm modCm">
        <pc:chgData name="BARON FERRAND, Flavien" userId="3e99a595-f191-40e2-8673-de4ecd89d5d3" providerId="ADAL" clId="{1700E563-9365-4D4F-8AF0-04B3D3913C4A}" dt="2024-05-24T15:29:35.317" v="3288" actId="20577"/>
        <pc:sldMkLst>
          <pc:docMk/>
          <pc:sldMk cId="1592835836" sldId="2147481427"/>
        </pc:sldMkLst>
        <pc:spChg chg="add mod">
          <ac:chgData name="BARON FERRAND, Flavien" userId="3e99a595-f191-40e2-8673-de4ecd89d5d3" providerId="ADAL" clId="{1700E563-9365-4D4F-8AF0-04B3D3913C4A}" dt="2024-05-22T11:47:21.454" v="1021" actId="1076"/>
          <ac:spMkLst>
            <pc:docMk/>
            <pc:sldMk cId="1592835836" sldId="2147481427"/>
            <ac:spMk id="2" creationId="{11FC7FFE-2168-A66F-2E83-1932CB846740}"/>
          </ac:spMkLst>
        </pc:spChg>
        <pc:spChg chg="mod">
          <ac:chgData name="BARON FERRAND, Flavien" userId="3e99a595-f191-40e2-8673-de4ecd89d5d3" providerId="ADAL" clId="{1700E563-9365-4D4F-8AF0-04B3D3913C4A}" dt="2024-05-22T13:37:56.288" v="1193" actId="554"/>
          <ac:spMkLst>
            <pc:docMk/>
            <pc:sldMk cId="1592835836" sldId="2147481427"/>
            <ac:spMk id="5" creationId="{BD28F52F-29FF-ED93-C9E8-1776150C6014}"/>
          </ac:spMkLst>
        </pc:spChg>
        <pc:spChg chg="del">
          <ac:chgData name="BARON FERRAND, Flavien" userId="3e99a595-f191-40e2-8673-de4ecd89d5d3" providerId="ADAL" clId="{1700E563-9365-4D4F-8AF0-04B3D3913C4A}" dt="2024-05-22T09:46:18.755" v="963" actId="478"/>
          <ac:spMkLst>
            <pc:docMk/>
            <pc:sldMk cId="1592835836" sldId="2147481427"/>
            <ac:spMk id="6" creationId="{0F049D17-D50E-72C2-9F33-8B1801FD3CE3}"/>
          </ac:spMkLst>
        </pc:spChg>
        <pc:spChg chg="mod">
          <ac:chgData name="BARON FERRAND, Flavien" userId="3e99a595-f191-40e2-8673-de4ecd89d5d3" providerId="ADAL" clId="{1700E563-9365-4D4F-8AF0-04B3D3913C4A}" dt="2024-05-22T13:37:56.288" v="1193" actId="554"/>
          <ac:spMkLst>
            <pc:docMk/>
            <pc:sldMk cId="1592835836" sldId="2147481427"/>
            <ac:spMk id="8" creationId="{9CED62D4-9277-2C50-D7D6-2BB88BB05A3D}"/>
          </ac:spMkLst>
        </pc:spChg>
        <pc:spChg chg="mod">
          <ac:chgData name="BARON FERRAND, Flavien" userId="3e99a595-f191-40e2-8673-de4ecd89d5d3" providerId="ADAL" clId="{1700E563-9365-4D4F-8AF0-04B3D3913C4A}" dt="2024-05-22T13:37:56.288" v="1193" actId="554"/>
          <ac:spMkLst>
            <pc:docMk/>
            <pc:sldMk cId="1592835836" sldId="2147481427"/>
            <ac:spMk id="11" creationId="{5BD25EEA-443D-58B9-4FE4-1AA9F3A2813A}"/>
          </ac:spMkLst>
        </pc:spChg>
        <pc:spChg chg="add mod">
          <ac:chgData name="BARON FERRAND, Flavien" userId="3e99a595-f191-40e2-8673-de4ecd89d5d3" providerId="ADAL" clId="{1700E563-9365-4D4F-8AF0-04B3D3913C4A}" dt="2024-05-24T14:39:31.017" v="3198" actId="1076"/>
          <ac:spMkLst>
            <pc:docMk/>
            <pc:sldMk cId="1592835836" sldId="2147481427"/>
            <ac:spMk id="12" creationId="{0D931C2D-D562-18EC-6C64-8B97A6C67329}"/>
          </ac:spMkLst>
        </pc:spChg>
        <pc:spChg chg="add mod">
          <ac:chgData name="BARON FERRAND, Flavien" userId="3e99a595-f191-40e2-8673-de4ecd89d5d3" providerId="ADAL" clId="{1700E563-9365-4D4F-8AF0-04B3D3913C4A}" dt="2024-05-24T14:41:44.873" v="3245" actId="6549"/>
          <ac:spMkLst>
            <pc:docMk/>
            <pc:sldMk cId="1592835836" sldId="2147481427"/>
            <ac:spMk id="13" creationId="{5BC15582-A698-5845-75E9-998B43643D1A}"/>
          </ac:spMkLst>
        </pc:spChg>
        <pc:spChg chg="mod">
          <ac:chgData name="BARON FERRAND, Flavien" userId="3e99a595-f191-40e2-8673-de4ecd89d5d3" providerId="ADAL" clId="{1700E563-9365-4D4F-8AF0-04B3D3913C4A}" dt="2024-05-24T15:29:35.317" v="3288" actId="20577"/>
          <ac:spMkLst>
            <pc:docMk/>
            <pc:sldMk cId="1592835836" sldId="2147481427"/>
            <ac:spMk id="15" creationId="{D4B29489-EFA3-468C-76E6-AFFF7F95B5D5}"/>
          </ac:spMkLst>
        </pc:spChg>
        <pc:spChg chg="add mod">
          <ac:chgData name="BARON FERRAND, Flavien" userId="3e99a595-f191-40e2-8673-de4ecd89d5d3" providerId="ADAL" clId="{1700E563-9365-4D4F-8AF0-04B3D3913C4A}" dt="2024-05-24T14:41:22.410" v="3215" actId="1076"/>
          <ac:spMkLst>
            <pc:docMk/>
            <pc:sldMk cId="1592835836" sldId="2147481427"/>
            <ac:spMk id="17" creationId="{98BEB00B-972B-69F9-A72E-F4623E7E8A29}"/>
          </ac:spMkLst>
        </pc:spChg>
        <pc:spChg chg="add mod">
          <ac:chgData name="BARON FERRAND, Flavien" userId="3e99a595-f191-40e2-8673-de4ecd89d5d3" providerId="ADAL" clId="{1700E563-9365-4D4F-8AF0-04B3D3913C4A}" dt="2024-05-22T13:41:42.427" v="1226" actId="571"/>
          <ac:spMkLst>
            <pc:docMk/>
            <pc:sldMk cId="1592835836" sldId="2147481427"/>
            <ac:spMk id="19" creationId="{C417106E-785C-21B3-85B6-58B0EEF443DA}"/>
          </ac:spMkLst>
        </pc:spChg>
        <pc:spChg chg="add mod">
          <ac:chgData name="BARON FERRAND, Flavien" userId="3e99a595-f191-40e2-8673-de4ecd89d5d3" providerId="ADAL" clId="{1700E563-9365-4D4F-8AF0-04B3D3913C4A}" dt="2024-05-24T14:38:01.296" v="3190" actId="1076"/>
          <ac:spMkLst>
            <pc:docMk/>
            <pc:sldMk cId="1592835836" sldId="2147481427"/>
            <ac:spMk id="20" creationId="{2BD54916-45FE-BEE6-7AA9-135D80AA2B73}"/>
          </ac:spMkLst>
        </pc:spChg>
        <pc:picChg chg="add mod">
          <ac:chgData name="BARON FERRAND, Flavien" userId="3e99a595-f191-40e2-8673-de4ecd89d5d3" providerId="ADAL" clId="{1700E563-9365-4D4F-8AF0-04B3D3913C4A}" dt="2024-05-24T14:39:10.944" v="3196" actId="1076"/>
          <ac:picMkLst>
            <pc:docMk/>
            <pc:sldMk cId="1592835836" sldId="2147481427"/>
            <ac:picMk id="2" creationId="{1AA15059-6900-1515-F042-61AF627E38EE}"/>
          </ac:picMkLst>
        </pc:picChg>
        <pc:picChg chg="mod">
          <ac:chgData name="BARON FERRAND, Flavien" userId="3e99a595-f191-40e2-8673-de4ecd89d5d3" providerId="ADAL" clId="{1700E563-9365-4D4F-8AF0-04B3D3913C4A}" dt="2024-05-22T13:36:33.487" v="1180" actId="1037"/>
          <ac:picMkLst>
            <pc:docMk/>
            <pc:sldMk cId="1592835836" sldId="2147481427"/>
            <ac:picMk id="4" creationId="{895243AE-1E29-A262-C367-0CA611FCEA1C}"/>
          </ac:picMkLst>
        </pc:picChg>
        <pc:picChg chg="add mod">
          <ac:chgData name="BARON FERRAND, Flavien" userId="3e99a595-f191-40e2-8673-de4ecd89d5d3" providerId="ADAL" clId="{1700E563-9365-4D4F-8AF0-04B3D3913C4A}" dt="2024-05-24T14:41:12.783" v="3213" actId="1038"/>
          <ac:picMkLst>
            <pc:docMk/>
            <pc:sldMk cId="1592835836" sldId="2147481427"/>
            <ac:picMk id="6" creationId="{557947D2-7788-C009-A20A-B404CC580775}"/>
          </ac:picMkLst>
        </pc:picChg>
        <pc:picChg chg="mod">
          <ac:chgData name="BARON FERRAND, Flavien" userId="3e99a595-f191-40e2-8673-de4ecd89d5d3" providerId="ADAL" clId="{1700E563-9365-4D4F-8AF0-04B3D3913C4A}" dt="2024-05-22T13:36:58.117" v="1183" actId="408"/>
          <ac:picMkLst>
            <pc:docMk/>
            <pc:sldMk cId="1592835836" sldId="2147481427"/>
            <ac:picMk id="7" creationId="{103CA0EA-6C92-A1B3-930C-3B11A3B54083}"/>
          </ac:picMkLst>
        </pc:picChg>
        <pc:picChg chg="add mod">
          <ac:chgData name="BARON FERRAND, Flavien" userId="3e99a595-f191-40e2-8673-de4ecd89d5d3" providerId="ADAL" clId="{1700E563-9365-4D4F-8AF0-04B3D3913C4A}" dt="2024-05-24T14:39:54.209" v="3203" actId="1076"/>
          <ac:picMkLst>
            <pc:docMk/>
            <pc:sldMk cId="1592835836" sldId="2147481427"/>
            <ac:picMk id="9" creationId="{975EEEB6-61D3-CA7A-FCB2-E8276CB58BB2}"/>
          </ac:picMkLst>
        </pc:picChg>
        <pc:picChg chg="mod">
          <ac:chgData name="BARON FERRAND, Flavien" userId="3e99a595-f191-40e2-8673-de4ecd89d5d3" providerId="ADAL" clId="{1700E563-9365-4D4F-8AF0-04B3D3913C4A}" dt="2024-05-22T13:36:58.117" v="1183" actId="408"/>
          <ac:picMkLst>
            <pc:docMk/>
            <pc:sldMk cId="1592835836" sldId="2147481427"/>
            <ac:picMk id="10" creationId="{C53E58E4-7E9F-265F-DD66-BAB4F0B97513}"/>
          </ac:picMkLst>
        </pc:picChg>
        <pc:picChg chg="mod">
          <ac:chgData name="BARON FERRAND, Flavien" userId="3e99a595-f191-40e2-8673-de4ecd89d5d3" providerId="ADAL" clId="{1700E563-9365-4D4F-8AF0-04B3D3913C4A}" dt="2024-05-24T14:39:36.656" v="3199" actId="1037"/>
          <ac:picMkLst>
            <pc:docMk/>
            <pc:sldMk cId="1592835836" sldId="2147481427"/>
            <ac:picMk id="14" creationId="{18E0062C-385B-02C9-115E-1E3269F4A850}"/>
          </ac:picMkLst>
        </pc:picChg>
        <pc:picChg chg="add del mod modCrop">
          <ac:chgData name="BARON FERRAND, Flavien" userId="3e99a595-f191-40e2-8673-de4ecd89d5d3" providerId="ADAL" clId="{1700E563-9365-4D4F-8AF0-04B3D3913C4A}" dt="2024-05-24T14:38:44.800" v="3191" actId="478"/>
          <ac:picMkLst>
            <pc:docMk/>
            <pc:sldMk cId="1592835836" sldId="2147481427"/>
            <ac:picMk id="16" creationId="{213F9836-27E9-7DE6-A3B0-3950396E745A}"/>
          </ac:picMkLst>
        </pc:picChg>
        <pc:picChg chg="add mod">
          <ac:chgData name="BARON FERRAND, Flavien" userId="3e99a595-f191-40e2-8673-de4ecd89d5d3" providerId="ADAL" clId="{1700E563-9365-4D4F-8AF0-04B3D3913C4A}" dt="2024-05-24T14:37:13.500" v="3183" actId="1076"/>
          <ac:picMkLst>
            <pc:docMk/>
            <pc:sldMk cId="1592835836" sldId="2147481427"/>
            <ac:picMk id="18" creationId="{BEA22429-E879-5676-F89C-FC0D6BD41922}"/>
          </ac:picMkLst>
        </pc:picChg>
        <pc:extLst>
          <p:ext xmlns:p="http://schemas.openxmlformats.org/presentationml/2006/main" uri="{D6D511B9-2390-475A-947B-AFAB55BFBCF1}">
            <pc226:cmChg xmlns:pc226="http://schemas.microsoft.com/office/powerpoint/2022/06/main/command" chg="del mod">
              <pc226:chgData name="BARON FERRAND, Flavien" userId="3e99a595-f191-40e2-8673-de4ecd89d5d3" providerId="ADAL" clId="{1700E563-9365-4D4F-8AF0-04B3D3913C4A}" dt="2024-05-24T12:43:19.466" v="2071"/>
              <pc2:cmMkLst xmlns:pc2="http://schemas.microsoft.com/office/powerpoint/2019/9/main/command">
                <pc:docMk/>
                <pc:sldMk cId="1592835836" sldId="2147481427"/>
                <pc2:cmMk id="{673497B0-859B-4A97-BF5F-5E9E8FD7D68E}"/>
              </pc2:cmMkLst>
            </pc226:cmChg>
          </p:ext>
        </pc:extLst>
      </pc:sldChg>
      <pc:sldChg chg="modSp mod">
        <pc:chgData name="BARON FERRAND, Flavien" userId="3e99a595-f191-40e2-8673-de4ecd89d5d3" providerId="ADAL" clId="{1700E563-9365-4D4F-8AF0-04B3D3913C4A}" dt="2024-04-26T08:25:16.364" v="6" actId="20577"/>
        <pc:sldMkLst>
          <pc:docMk/>
          <pc:sldMk cId="2610313471" sldId="2147481468"/>
        </pc:sldMkLst>
        <pc:graphicFrameChg chg="modGraphic">
          <ac:chgData name="BARON FERRAND, Flavien" userId="3e99a595-f191-40e2-8673-de4ecd89d5d3" providerId="ADAL" clId="{1700E563-9365-4D4F-8AF0-04B3D3913C4A}" dt="2024-04-26T08:25:16.364" v="6" actId="20577"/>
          <ac:graphicFrameMkLst>
            <pc:docMk/>
            <pc:sldMk cId="2610313471" sldId="2147481468"/>
            <ac:graphicFrameMk id="4" creationId="{868DAC96-CB41-D4D4-D037-AA7301259B0A}"/>
          </ac:graphicFrameMkLst>
        </pc:graphicFrameChg>
      </pc:sldChg>
      <pc:sldChg chg="modSp mod">
        <pc:chgData name="BARON FERRAND, Flavien" userId="3e99a595-f191-40e2-8673-de4ecd89d5d3" providerId="ADAL" clId="{1700E563-9365-4D4F-8AF0-04B3D3913C4A}" dt="2024-05-24T14:44:21.886" v="3284" actId="20577"/>
        <pc:sldMkLst>
          <pc:docMk/>
          <pc:sldMk cId="3767276350" sldId="2147481469"/>
        </pc:sldMkLst>
        <pc:graphicFrameChg chg="mod modGraphic">
          <ac:chgData name="BARON FERRAND, Flavien" userId="3e99a595-f191-40e2-8673-de4ecd89d5d3" providerId="ADAL" clId="{1700E563-9365-4D4F-8AF0-04B3D3913C4A}" dt="2024-05-24T14:44:21.886" v="3284" actId="20577"/>
          <ac:graphicFrameMkLst>
            <pc:docMk/>
            <pc:sldMk cId="3767276350" sldId="2147481469"/>
            <ac:graphicFrameMk id="4" creationId="{868DAC96-CB41-D4D4-D037-AA7301259B0A}"/>
          </ac:graphicFrameMkLst>
        </pc:graphicFrameChg>
      </pc:sldChg>
      <pc:sldChg chg="delSp modSp mod">
        <pc:chgData name="BARON FERRAND, Flavien" userId="3e99a595-f191-40e2-8673-de4ecd89d5d3" providerId="ADAL" clId="{1700E563-9365-4D4F-8AF0-04B3D3913C4A}" dt="2024-05-17T07:39:07.306" v="476" actId="14734"/>
        <pc:sldMkLst>
          <pc:docMk/>
          <pc:sldMk cId="2603257548" sldId="2147481471"/>
        </pc:sldMkLst>
        <pc:spChg chg="del">
          <ac:chgData name="BARON FERRAND, Flavien" userId="3e99a595-f191-40e2-8673-de4ecd89d5d3" providerId="ADAL" clId="{1700E563-9365-4D4F-8AF0-04B3D3913C4A}" dt="2024-05-02T14:41:33.404" v="221" actId="478"/>
          <ac:spMkLst>
            <pc:docMk/>
            <pc:sldMk cId="2603257548" sldId="2147481471"/>
            <ac:spMk id="7" creationId="{FA103747-9BCA-38E7-DF88-2892961129CF}"/>
          </ac:spMkLst>
        </pc:spChg>
        <pc:graphicFrameChg chg="mod modGraphic">
          <ac:chgData name="BARON FERRAND, Flavien" userId="3e99a595-f191-40e2-8673-de4ecd89d5d3" providerId="ADAL" clId="{1700E563-9365-4D4F-8AF0-04B3D3913C4A}" dt="2024-05-17T07:39:07.306" v="476" actId="14734"/>
          <ac:graphicFrameMkLst>
            <pc:docMk/>
            <pc:sldMk cId="2603257548" sldId="2147481471"/>
            <ac:graphicFrameMk id="6" creationId="{476532A4-0194-0CA1-321E-752BF08118DB}"/>
          </ac:graphicFrameMkLst>
        </pc:graphicFrameChg>
        <pc:cxnChg chg="del mod">
          <ac:chgData name="BARON FERRAND, Flavien" userId="3e99a595-f191-40e2-8673-de4ecd89d5d3" providerId="ADAL" clId="{1700E563-9365-4D4F-8AF0-04B3D3913C4A}" dt="2024-05-02T14:41:37.150" v="222" actId="478"/>
          <ac:cxnSpMkLst>
            <pc:docMk/>
            <pc:sldMk cId="2603257548" sldId="2147481471"/>
            <ac:cxnSpMk id="9" creationId="{F70D5F91-5A5F-5292-303F-B921258B9F18}"/>
          </ac:cxnSpMkLst>
        </pc:cxnChg>
      </pc:sldChg>
      <pc:sldChg chg="addSp delSp modSp add mod">
        <pc:chgData name="BARON FERRAND, Flavien" userId="3e99a595-f191-40e2-8673-de4ecd89d5d3" providerId="ADAL" clId="{1700E563-9365-4D4F-8AF0-04B3D3913C4A}" dt="2024-05-24T14:43:16.818" v="3247" actId="20577"/>
        <pc:sldMkLst>
          <pc:docMk/>
          <pc:sldMk cId="3648027924" sldId="2147481472"/>
        </pc:sldMkLst>
        <pc:spChg chg="mod">
          <ac:chgData name="BARON FERRAND, Flavien" userId="3e99a595-f191-40e2-8673-de4ecd89d5d3" providerId="ADAL" clId="{1700E563-9365-4D4F-8AF0-04B3D3913C4A}" dt="2024-05-24T14:43:16.818" v="3247" actId="20577"/>
          <ac:spMkLst>
            <pc:docMk/>
            <pc:sldMk cId="3648027924" sldId="2147481472"/>
            <ac:spMk id="5" creationId="{12DE26FF-A054-560A-E220-28B59D593BF5}"/>
          </ac:spMkLst>
        </pc:spChg>
        <pc:spChg chg="mod">
          <ac:chgData name="BARON FERRAND, Flavien" userId="3e99a595-f191-40e2-8673-de4ecd89d5d3" providerId="ADAL" clId="{1700E563-9365-4D4F-8AF0-04B3D3913C4A}" dt="2024-05-22T12:17:28.152" v="1090" actId="6549"/>
          <ac:spMkLst>
            <pc:docMk/>
            <pc:sldMk cId="3648027924" sldId="2147481472"/>
            <ac:spMk id="8" creationId="{DDC20064-D08C-20BF-959E-49B88BAF5877}"/>
          </ac:spMkLst>
        </pc:spChg>
        <pc:spChg chg="mod">
          <ac:chgData name="BARON FERRAND, Flavien" userId="3e99a595-f191-40e2-8673-de4ecd89d5d3" providerId="ADAL" clId="{1700E563-9365-4D4F-8AF0-04B3D3913C4A}" dt="2024-05-22T13:33:33.647" v="1149" actId="2711"/>
          <ac:spMkLst>
            <pc:docMk/>
            <pc:sldMk cId="3648027924" sldId="2147481472"/>
            <ac:spMk id="17" creationId="{A805F1ED-7209-4707-B1F6-9AF87973E6C9}"/>
          </ac:spMkLst>
        </pc:spChg>
        <pc:picChg chg="add mod ord modCrop">
          <ac:chgData name="BARON FERRAND, Flavien" userId="3e99a595-f191-40e2-8673-de4ecd89d5d3" providerId="ADAL" clId="{1700E563-9365-4D4F-8AF0-04B3D3913C4A}" dt="2024-05-02T15:48:04.556" v="474" actId="1036"/>
          <ac:picMkLst>
            <pc:docMk/>
            <pc:sldMk cId="3648027924" sldId="2147481472"/>
            <ac:picMk id="3" creationId="{AFA89B18-1DA2-23C5-30E6-BD3845622DA5}"/>
          </ac:picMkLst>
        </pc:picChg>
        <pc:picChg chg="add del">
          <ac:chgData name="BARON FERRAND, Flavien" userId="3e99a595-f191-40e2-8673-de4ecd89d5d3" providerId="ADAL" clId="{1700E563-9365-4D4F-8AF0-04B3D3913C4A}" dt="2024-05-02T15:46:00.349" v="438" actId="478"/>
          <ac:picMkLst>
            <pc:docMk/>
            <pc:sldMk cId="3648027924" sldId="2147481472"/>
            <ac:picMk id="26" creationId="{3FFA1F71-170C-F71D-2323-7EE6362B05F9}"/>
          </ac:picMkLst>
        </pc:picChg>
      </pc:sldChg>
      <pc:sldChg chg="addSp delSp modSp add mod ord">
        <pc:chgData name="BARON FERRAND, Flavien" userId="3e99a595-f191-40e2-8673-de4ecd89d5d3" providerId="ADAL" clId="{1700E563-9365-4D4F-8AF0-04B3D3913C4A}" dt="2024-05-24T14:43:22.161" v="3249" actId="20577"/>
        <pc:sldMkLst>
          <pc:docMk/>
          <pc:sldMk cId="3019888869" sldId="2147481473"/>
        </pc:sldMkLst>
        <pc:spChg chg="mod">
          <ac:chgData name="BARON FERRAND, Flavien" userId="3e99a595-f191-40e2-8673-de4ecd89d5d3" providerId="ADAL" clId="{1700E563-9365-4D4F-8AF0-04B3D3913C4A}" dt="2024-05-24T14:43:22.161" v="3249" actId="20577"/>
          <ac:spMkLst>
            <pc:docMk/>
            <pc:sldMk cId="3019888869" sldId="2147481473"/>
            <ac:spMk id="5" creationId="{12DE26FF-A054-560A-E220-28B59D593BF5}"/>
          </ac:spMkLst>
        </pc:spChg>
        <pc:spChg chg="mod">
          <ac:chgData name="BARON FERRAND, Flavien" userId="3e99a595-f191-40e2-8673-de4ecd89d5d3" providerId="ADAL" clId="{1700E563-9365-4D4F-8AF0-04B3D3913C4A}" dt="2024-05-22T09:43:57.755" v="959" actId="20577"/>
          <ac:spMkLst>
            <pc:docMk/>
            <pc:sldMk cId="3019888869" sldId="2147481473"/>
            <ac:spMk id="8" creationId="{DDC20064-D08C-20BF-959E-49B88BAF5877}"/>
          </ac:spMkLst>
        </pc:spChg>
        <pc:spChg chg="mod">
          <ac:chgData name="BARON FERRAND, Flavien" userId="3e99a595-f191-40e2-8673-de4ecd89d5d3" providerId="ADAL" clId="{1700E563-9365-4D4F-8AF0-04B3D3913C4A}" dt="2024-05-17T09:01:43.682" v="539" actId="20577"/>
          <ac:spMkLst>
            <pc:docMk/>
            <pc:sldMk cId="3019888869" sldId="2147481473"/>
            <ac:spMk id="9" creationId="{A0F9A617-2BBC-4936-7671-F1E6E7526787}"/>
          </ac:spMkLst>
        </pc:spChg>
        <pc:spChg chg="mod ord">
          <ac:chgData name="BARON FERRAND, Flavien" userId="3e99a595-f191-40e2-8673-de4ecd89d5d3" providerId="ADAL" clId="{1700E563-9365-4D4F-8AF0-04B3D3913C4A}" dt="2024-05-17T09:53:33.399" v="878" actId="166"/>
          <ac:spMkLst>
            <pc:docMk/>
            <pc:sldMk cId="3019888869" sldId="2147481473"/>
            <ac:spMk id="10" creationId="{9B2E61AE-C64D-129D-8132-53A54FB9F54A}"/>
          </ac:spMkLst>
        </pc:spChg>
        <pc:spChg chg="mod ord">
          <ac:chgData name="BARON FERRAND, Flavien" userId="3e99a595-f191-40e2-8673-de4ecd89d5d3" providerId="ADAL" clId="{1700E563-9365-4D4F-8AF0-04B3D3913C4A}" dt="2024-05-24T12:36:25.254" v="2069" actId="20577"/>
          <ac:spMkLst>
            <pc:docMk/>
            <pc:sldMk cId="3019888869" sldId="2147481473"/>
            <ac:spMk id="17" creationId="{A805F1ED-7209-4707-B1F6-9AF87973E6C9}"/>
          </ac:spMkLst>
        </pc:spChg>
        <pc:picChg chg="add mod modCrop">
          <ac:chgData name="BARON FERRAND, Flavien" userId="3e99a595-f191-40e2-8673-de4ecd89d5d3" providerId="ADAL" clId="{1700E563-9365-4D4F-8AF0-04B3D3913C4A}" dt="2024-05-17T09:53:24.260" v="877" actId="1076"/>
          <ac:picMkLst>
            <pc:docMk/>
            <pc:sldMk cId="3019888869" sldId="2147481473"/>
            <ac:picMk id="2" creationId="{0987E0BA-5B0B-C780-FD5D-CD10FB45FEE3}"/>
          </ac:picMkLst>
        </pc:picChg>
        <pc:picChg chg="del">
          <ac:chgData name="BARON FERRAND, Flavien" userId="3e99a595-f191-40e2-8673-de4ecd89d5d3" providerId="ADAL" clId="{1700E563-9365-4D4F-8AF0-04B3D3913C4A}" dt="2024-05-17T09:00:19.711" v="483" actId="478"/>
          <ac:picMkLst>
            <pc:docMk/>
            <pc:sldMk cId="3019888869" sldId="2147481473"/>
            <ac:picMk id="26" creationId="{3FFA1F71-170C-F71D-2323-7EE6362B05F9}"/>
          </ac:picMkLst>
        </pc:picChg>
      </pc:sldChg>
      <pc:sldChg chg="add del">
        <pc:chgData name="BARON FERRAND, Flavien" userId="3e99a595-f191-40e2-8673-de4ecd89d5d3" providerId="ADAL" clId="{1700E563-9365-4D4F-8AF0-04B3D3913C4A}" dt="2024-05-22T13:39:27.091" v="1207"/>
        <pc:sldMkLst>
          <pc:docMk/>
          <pc:sldMk cId="2309822019" sldId="2147481475"/>
        </pc:sldMkLst>
      </pc:sldChg>
      <pc:sldChg chg="modSp mod">
        <pc:chgData name="BARON FERRAND, Flavien" userId="3e99a595-f191-40e2-8673-de4ecd89d5d3" providerId="ADAL" clId="{1700E563-9365-4D4F-8AF0-04B3D3913C4A}" dt="2024-05-24T11:58:47.974" v="1385" actId="20577"/>
        <pc:sldMkLst>
          <pc:docMk/>
          <pc:sldMk cId="3459824402" sldId="2147481479"/>
        </pc:sldMkLst>
        <pc:spChg chg="mod">
          <ac:chgData name="BARON FERRAND, Flavien" userId="3e99a595-f191-40e2-8673-de4ecd89d5d3" providerId="ADAL" clId="{1700E563-9365-4D4F-8AF0-04B3D3913C4A}" dt="2024-05-24T11:58:47.974" v="1385" actId="20577"/>
          <ac:spMkLst>
            <pc:docMk/>
            <pc:sldMk cId="3459824402" sldId="2147481479"/>
            <ac:spMk id="3" creationId="{C5FD339F-F2C3-2C42-B645-7229FDC315DC}"/>
          </ac:spMkLst>
        </pc:spChg>
      </pc:sldChg>
      <pc:sldChg chg="addSp delSp modSp add mod">
        <pc:chgData name="BARON FERRAND, Flavien" userId="3e99a595-f191-40e2-8673-de4ecd89d5d3" providerId="ADAL" clId="{1700E563-9365-4D4F-8AF0-04B3D3913C4A}" dt="2024-05-24T14:43:26.911" v="3251" actId="20577"/>
        <pc:sldMkLst>
          <pc:docMk/>
          <pc:sldMk cId="3876079171" sldId="2147481480"/>
        </pc:sldMkLst>
        <pc:spChg chg="mod">
          <ac:chgData name="BARON FERRAND, Flavien" userId="3e99a595-f191-40e2-8673-de4ecd89d5d3" providerId="ADAL" clId="{1700E563-9365-4D4F-8AF0-04B3D3913C4A}" dt="2024-05-24T14:43:26.911" v="3251" actId="20577"/>
          <ac:spMkLst>
            <pc:docMk/>
            <pc:sldMk cId="3876079171" sldId="2147481480"/>
            <ac:spMk id="5" creationId="{12DE26FF-A054-560A-E220-28B59D593BF5}"/>
          </ac:spMkLst>
        </pc:spChg>
        <pc:spChg chg="mod">
          <ac:chgData name="BARON FERRAND, Flavien" userId="3e99a595-f191-40e2-8673-de4ecd89d5d3" providerId="ADAL" clId="{1700E563-9365-4D4F-8AF0-04B3D3913C4A}" dt="2024-05-24T13:57:35.057" v="2313" actId="6549"/>
          <ac:spMkLst>
            <pc:docMk/>
            <pc:sldMk cId="3876079171" sldId="2147481480"/>
            <ac:spMk id="8" creationId="{DDC20064-D08C-20BF-959E-49B88BAF5877}"/>
          </ac:spMkLst>
        </pc:spChg>
        <pc:spChg chg="mod">
          <ac:chgData name="BARON FERRAND, Flavien" userId="3e99a595-f191-40e2-8673-de4ecd89d5d3" providerId="ADAL" clId="{1700E563-9365-4D4F-8AF0-04B3D3913C4A}" dt="2024-05-24T13:57:19.844" v="2289" actId="20577"/>
          <ac:spMkLst>
            <pc:docMk/>
            <pc:sldMk cId="3876079171" sldId="2147481480"/>
            <ac:spMk id="9" creationId="{A0F9A617-2BBC-4936-7671-F1E6E7526787}"/>
          </ac:spMkLst>
        </pc:spChg>
        <pc:spChg chg="ord">
          <ac:chgData name="BARON FERRAND, Flavien" userId="3e99a595-f191-40e2-8673-de4ecd89d5d3" providerId="ADAL" clId="{1700E563-9365-4D4F-8AF0-04B3D3913C4A}" dt="2024-05-24T13:59:06.678" v="2318" actId="166"/>
          <ac:spMkLst>
            <pc:docMk/>
            <pc:sldMk cId="3876079171" sldId="2147481480"/>
            <ac:spMk id="10" creationId="{9B2E61AE-C64D-129D-8132-53A54FB9F54A}"/>
          </ac:spMkLst>
        </pc:spChg>
        <pc:spChg chg="mod ord">
          <ac:chgData name="BARON FERRAND, Flavien" userId="3e99a595-f191-40e2-8673-de4ecd89d5d3" providerId="ADAL" clId="{1700E563-9365-4D4F-8AF0-04B3D3913C4A}" dt="2024-05-24T14:33:36.378" v="3147" actId="1036"/>
          <ac:spMkLst>
            <pc:docMk/>
            <pc:sldMk cId="3876079171" sldId="2147481480"/>
            <ac:spMk id="17" creationId="{A805F1ED-7209-4707-B1F6-9AF87973E6C9}"/>
          </ac:spMkLst>
        </pc:spChg>
        <pc:picChg chg="del">
          <ac:chgData name="BARON FERRAND, Flavien" userId="3e99a595-f191-40e2-8673-de4ecd89d5d3" providerId="ADAL" clId="{1700E563-9365-4D4F-8AF0-04B3D3913C4A}" dt="2024-05-24T12:52:46.789" v="2238" actId="478"/>
          <ac:picMkLst>
            <pc:docMk/>
            <pc:sldMk cId="3876079171" sldId="2147481480"/>
            <ac:picMk id="2" creationId="{0987E0BA-5B0B-C780-FD5D-CD10FB45FEE3}"/>
          </ac:picMkLst>
        </pc:picChg>
        <pc:picChg chg="add del mod">
          <ac:chgData name="BARON FERRAND, Flavien" userId="3e99a595-f191-40e2-8673-de4ecd89d5d3" providerId="ADAL" clId="{1700E563-9365-4D4F-8AF0-04B3D3913C4A}" dt="2024-05-24T13:56:06.017" v="2240" actId="478"/>
          <ac:picMkLst>
            <pc:docMk/>
            <pc:sldMk cId="3876079171" sldId="2147481480"/>
            <ac:picMk id="4" creationId="{22B15DB6-FDBF-4E27-974E-4E73756178F0}"/>
          </ac:picMkLst>
        </pc:picChg>
        <pc:picChg chg="add mod modCrop">
          <ac:chgData name="BARON FERRAND, Flavien" userId="3e99a595-f191-40e2-8673-de4ecd89d5d3" providerId="ADAL" clId="{1700E563-9365-4D4F-8AF0-04B3D3913C4A}" dt="2024-05-24T13:59:42.701" v="2334" actId="1037"/>
          <ac:picMkLst>
            <pc:docMk/>
            <pc:sldMk cId="3876079171" sldId="2147481480"/>
            <ac:picMk id="12" creationId="{CDDAB462-3FC3-5A39-F48E-46C38C553309}"/>
          </ac:picMkLst>
        </pc:picChg>
      </pc:sldChg>
      <pc:sldChg chg="ord">
        <pc:chgData name="BARON FERRAND, Flavien" userId="3e99a595-f191-40e2-8673-de4ecd89d5d3" providerId="ADAL" clId="{1700E563-9365-4D4F-8AF0-04B3D3913C4A}" dt="2024-05-27T09:57:34.525" v="3292"/>
        <pc:sldMkLst>
          <pc:docMk/>
          <pc:sldMk cId="2845083802" sldId="2147481482"/>
        </pc:sldMkLst>
      </pc:sldChg>
    </pc:docChg>
  </pc:docChgLst>
  <pc:docChgLst>
    <pc:chgData name="BEN SAID, Myriam" userId="4876db50-b782-447a-be7c-ca0a034b182f" providerId="ADAL" clId="{4DB8EFC7-BEEB-4B3F-BC36-B65C649B71F9}"/>
    <pc:docChg chg="undo custSel addSld delSld modSld sldOrd modSection">
      <pc:chgData name="BEN SAID, Myriam" userId="4876db50-b782-447a-be7c-ca0a034b182f" providerId="ADAL" clId="{4DB8EFC7-BEEB-4B3F-BC36-B65C649B71F9}" dt="2024-05-22T12:19:26.928" v="4575" actId="20577"/>
      <pc:docMkLst>
        <pc:docMk/>
      </pc:docMkLst>
      <pc:sldChg chg="addSp delSp modSp">
        <pc:chgData name="BEN SAID, Myriam" userId="4876db50-b782-447a-be7c-ca0a034b182f" providerId="ADAL" clId="{4DB8EFC7-BEEB-4B3F-BC36-B65C649B71F9}" dt="2024-05-22T11:43:53.032" v="2848"/>
        <pc:sldMkLst>
          <pc:docMk/>
          <pc:sldMk cId="2631033068" sldId="2147229068"/>
        </pc:sldMkLst>
        <pc:spChg chg="add mod">
          <ac:chgData name="BEN SAID, Myriam" userId="4876db50-b782-447a-be7c-ca0a034b182f" providerId="ADAL" clId="{4DB8EFC7-BEEB-4B3F-BC36-B65C649B71F9}" dt="2024-05-22T11:43:53.032" v="2848"/>
          <ac:spMkLst>
            <pc:docMk/>
            <pc:sldMk cId="2631033068" sldId="2147229068"/>
            <ac:spMk id="2" creationId="{C30DA81D-4760-C5F4-FDBF-C678061A6649}"/>
          </ac:spMkLst>
        </pc:spChg>
        <pc:spChg chg="add mod">
          <ac:chgData name="BEN SAID, Myriam" userId="4876db50-b782-447a-be7c-ca0a034b182f" providerId="ADAL" clId="{4DB8EFC7-BEEB-4B3F-BC36-B65C649B71F9}" dt="2024-05-22T11:43:53.032" v="2848"/>
          <ac:spMkLst>
            <pc:docMk/>
            <pc:sldMk cId="2631033068" sldId="2147229068"/>
            <ac:spMk id="4" creationId="{7880B2C1-D2CA-EDAA-2C17-6DA5C4EE5113}"/>
          </ac:spMkLst>
        </pc:spChg>
        <pc:spChg chg="del">
          <ac:chgData name="BEN SAID, Myriam" userId="4876db50-b782-447a-be7c-ca0a034b182f" providerId="ADAL" clId="{4DB8EFC7-BEEB-4B3F-BC36-B65C649B71F9}" dt="2024-05-22T11:43:52.210" v="2847" actId="478"/>
          <ac:spMkLst>
            <pc:docMk/>
            <pc:sldMk cId="2631033068" sldId="2147229068"/>
            <ac:spMk id="6" creationId="{B4508118-EF09-4239-AD30-24FDC178CAB0}"/>
          </ac:spMkLst>
        </pc:spChg>
        <pc:spChg chg="add mod">
          <ac:chgData name="BEN SAID, Myriam" userId="4876db50-b782-447a-be7c-ca0a034b182f" providerId="ADAL" clId="{4DB8EFC7-BEEB-4B3F-BC36-B65C649B71F9}" dt="2024-05-22T11:43:53.032" v="2848"/>
          <ac:spMkLst>
            <pc:docMk/>
            <pc:sldMk cId="2631033068" sldId="2147229068"/>
            <ac:spMk id="7" creationId="{AC606CA2-E1BA-FBF1-E163-7FD6CDB52224}"/>
          </ac:spMkLst>
        </pc:spChg>
        <pc:spChg chg="add mod">
          <ac:chgData name="BEN SAID, Myriam" userId="4876db50-b782-447a-be7c-ca0a034b182f" providerId="ADAL" clId="{4DB8EFC7-BEEB-4B3F-BC36-B65C649B71F9}" dt="2024-05-22T11:43:53.032" v="2848"/>
          <ac:spMkLst>
            <pc:docMk/>
            <pc:sldMk cId="2631033068" sldId="2147229068"/>
            <ac:spMk id="9" creationId="{EFDD2F68-8305-CDFA-617C-DBBA6F6F225A}"/>
          </ac:spMkLst>
        </pc:spChg>
        <pc:spChg chg="add mod">
          <ac:chgData name="BEN SAID, Myriam" userId="4876db50-b782-447a-be7c-ca0a034b182f" providerId="ADAL" clId="{4DB8EFC7-BEEB-4B3F-BC36-B65C649B71F9}" dt="2024-05-22T11:43:53.032" v="2848"/>
          <ac:spMkLst>
            <pc:docMk/>
            <pc:sldMk cId="2631033068" sldId="2147229068"/>
            <ac:spMk id="10" creationId="{5EBD2556-FC48-9068-554D-4BE2477342A8}"/>
          </ac:spMkLst>
        </pc:spChg>
        <pc:spChg chg="add mod">
          <ac:chgData name="BEN SAID, Myriam" userId="4876db50-b782-447a-be7c-ca0a034b182f" providerId="ADAL" clId="{4DB8EFC7-BEEB-4B3F-BC36-B65C649B71F9}" dt="2024-05-22T11:43:53.032" v="2848"/>
          <ac:spMkLst>
            <pc:docMk/>
            <pc:sldMk cId="2631033068" sldId="2147229068"/>
            <ac:spMk id="15" creationId="{66D9CDE2-A07B-1616-7D21-7C8179598B4C}"/>
          </ac:spMkLst>
        </pc:spChg>
        <pc:spChg chg="add mod">
          <ac:chgData name="BEN SAID, Myriam" userId="4876db50-b782-447a-be7c-ca0a034b182f" providerId="ADAL" clId="{4DB8EFC7-BEEB-4B3F-BC36-B65C649B71F9}" dt="2024-05-22T11:43:53.032" v="2848"/>
          <ac:spMkLst>
            <pc:docMk/>
            <pc:sldMk cId="2631033068" sldId="2147229068"/>
            <ac:spMk id="16" creationId="{58F94282-BE77-FDD7-1B2B-FC47D9960ED4}"/>
          </ac:spMkLst>
        </pc:spChg>
        <pc:spChg chg="add mod">
          <ac:chgData name="BEN SAID, Myriam" userId="4876db50-b782-447a-be7c-ca0a034b182f" providerId="ADAL" clId="{4DB8EFC7-BEEB-4B3F-BC36-B65C649B71F9}" dt="2024-05-22T11:43:53.032" v="2848"/>
          <ac:spMkLst>
            <pc:docMk/>
            <pc:sldMk cId="2631033068" sldId="2147229068"/>
            <ac:spMk id="17" creationId="{50BF20A0-4539-B430-8C86-1A0CDEAAA338}"/>
          </ac:spMkLst>
        </pc:spChg>
        <pc:spChg chg="del">
          <ac:chgData name="BEN SAID, Myriam" userId="4876db50-b782-447a-be7c-ca0a034b182f" providerId="ADAL" clId="{4DB8EFC7-BEEB-4B3F-BC36-B65C649B71F9}" dt="2024-05-22T11:43:52.210" v="2847" actId="478"/>
          <ac:spMkLst>
            <pc:docMk/>
            <pc:sldMk cId="2631033068" sldId="2147229068"/>
            <ac:spMk id="18" creationId="{74989A3D-795B-4B73-8CAF-FC5B261C7543}"/>
          </ac:spMkLst>
        </pc:spChg>
        <pc:spChg chg="del">
          <ac:chgData name="BEN SAID, Myriam" userId="4876db50-b782-447a-be7c-ca0a034b182f" providerId="ADAL" clId="{4DB8EFC7-BEEB-4B3F-BC36-B65C649B71F9}" dt="2024-05-22T11:43:52.210" v="2847" actId="478"/>
          <ac:spMkLst>
            <pc:docMk/>
            <pc:sldMk cId="2631033068" sldId="2147229068"/>
            <ac:spMk id="19" creationId="{C9E0D33E-62FE-4CDB-B752-02DFE18B0FC5}"/>
          </ac:spMkLst>
        </pc:spChg>
        <pc:spChg chg="del">
          <ac:chgData name="BEN SAID, Myriam" userId="4876db50-b782-447a-be7c-ca0a034b182f" providerId="ADAL" clId="{4DB8EFC7-BEEB-4B3F-BC36-B65C649B71F9}" dt="2024-05-22T11:43:52.210" v="2847" actId="478"/>
          <ac:spMkLst>
            <pc:docMk/>
            <pc:sldMk cId="2631033068" sldId="2147229068"/>
            <ac:spMk id="20" creationId="{4E71760B-CE53-480D-B911-ECC706836BB8}"/>
          </ac:spMkLst>
        </pc:spChg>
        <pc:spChg chg="add mod">
          <ac:chgData name="BEN SAID, Myriam" userId="4876db50-b782-447a-be7c-ca0a034b182f" providerId="ADAL" clId="{4DB8EFC7-BEEB-4B3F-BC36-B65C649B71F9}" dt="2024-05-22T11:43:53.032" v="2848"/>
          <ac:spMkLst>
            <pc:docMk/>
            <pc:sldMk cId="2631033068" sldId="2147229068"/>
            <ac:spMk id="21" creationId="{7D61188C-04F8-B904-3925-647EF5481C43}"/>
          </ac:spMkLst>
        </pc:spChg>
        <pc:spChg chg="add mod">
          <ac:chgData name="BEN SAID, Myriam" userId="4876db50-b782-447a-be7c-ca0a034b182f" providerId="ADAL" clId="{4DB8EFC7-BEEB-4B3F-BC36-B65C649B71F9}" dt="2024-05-22T11:43:53.032" v="2848"/>
          <ac:spMkLst>
            <pc:docMk/>
            <pc:sldMk cId="2631033068" sldId="2147229068"/>
            <ac:spMk id="22" creationId="{98F69388-EC7A-D89F-8DB0-A722867019F2}"/>
          </ac:spMkLst>
        </pc:spChg>
        <pc:spChg chg="add mod">
          <ac:chgData name="BEN SAID, Myriam" userId="4876db50-b782-447a-be7c-ca0a034b182f" providerId="ADAL" clId="{4DB8EFC7-BEEB-4B3F-BC36-B65C649B71F9}" dt="2024-05-22T11:43:53.032" v="2848"/>
          <ac:spMkLst>
            <pc:docMk/>
            <pc:sldMk cId="2631033068" sldId="2147229068"/>
            <ac:spMk id="23" creationId="{905EC38A-F32B-5675-05DC-3881B83BCAE6}"/>
          </ac:spMkLst>
        </pc:spChg>
        <pc:spChg chg="add mod">
          <ac:chgData name="BEN SAID, Myriam" userId="4876db50-b782-447a-be7c-ca0a034b182f" providerId="ADAL" clId="{4DB8EFC7-BEEB-4B3F-BC36-B65C649B71F9}" dt="2024-05-22T11:43:53.032" v="2848"/>
          <ac:spMkLst>
            <pc:docMk/>
            <pc:sldMk cId="2631033068" sldId="2147229068"/>
            <ac:spMk id="24" creationId="{32EFE5EB-084F-2B54-EE27-F4B42C8B0A94}"/>
          </ac:spMkLst>
        </pc:spChg>
        <pc:spChg chg="add mod">
          <ac:chgData name="BEN SAID, Myriam" userId="4876db50-b782-447a-be7c-ca0a034b182f" providerId="ADAL" clId="{4DB8EFC7-BEEB-4B3F-BC36-B65C649B71F9}" dt="2024-05-22T11:43:53.032" v="2848"/>
          <ac:spMkLst>
            <pc:docMk/>
            <pc:sldMk cId="2631033068" sldId="2147229068"/>
            <ac:spMk id="25" creationId="{18930B49-9A8A-449B-6FBD-0637EA910C6A}"/>
          </ac:spMkLst>
        </pc:spChg>
        <pc:spChg chg="add mod">
          <ac:chgData name="BEN SAID, Myriam" userId="4876db50-b782-447a-be7c-ca0a034b182f" providerId="ADAL" clId="{4DB8EFC7-BEEB-4B3F-BC36-B65C649B71F9}" dt="2024-05-22T11:43:53.032" v="2848"/>
          <ac:spMkLst>
            <pc:docMk/>
            <pc:sldMk cId="2631033068" sldId="2147229068"/>
            <ac:spMk id="26" creationId="{90204A27-B504-8AB2-D802-24E36C101BAE}"/>
          </ac:spMkLst>
        </pc:spChg>
        <pc:spChg chg="add mod">
          <ac:chgData name="BEN SAID, Myriam" userId="4876db50-b782-447a-be7c-ca0a034b182f" providerId="ADAL" clId="{4DB8EFC7-BEEB-4B3F-BC36-B65C649B71F9}" dt="2024-05-22T11:43:53.032" v="2848"/>
          <ac:spMkLst>
            <pc:docMk/>
            <pc:sldMk cId="2631033068" sldId="2147229068"/>
            <ac:spMk id="27" creationId="{3F41B3A5-0E68-107F-26B6-A30FE356AE67}"/>
          </ac:spMkLst>
        </pc:spChg>
        <pc:spChg chg="add mod">
          <ac:chgData name="BEN SAID, Myriam" userId="4876db50-b782-447a-be7c-ca0a034b182f" providerId="ADAL" clId="{4DB8EFC7-BEEB-4B3F-BC36-B65C649B71F9}" dt="2024-05-22T11:43:53.032" v="2848"/>
          <ac:spMkLst>
            <pc:docMk/>
            <pc:sldMk cId="2631033068" sldId="2147229068"/>
            <ac:spMk id="28" creationId="{BE19E784-2649-D972-3AFA-802DF4643B4C}"/>
          </ac:spMkLst>
        </pc:spChg>
        <pc:spChg chg="add mod">
          <ac:chgData name="BEN SAID, Myriam" userId="4876db50-b782-447a-be7c-ca0a034b182f" providerId="ADAL" clId="{4DB8EFC7-BEEB-4B3F-BC36-B65C649B71F9}" dt="2024-05-22T11:43:53.032" v="2848"/>
          <ac:spMkLst>
            <pc:docMk/>
            <pc:sldMk cId="2631033068" sldId="2147229068"/>
            <ac:spMk id="29" creationId="{58EB9F0E-0CC6-3FDC-A990-3C6C5816950F}"/>
          </ac:spMkLst>
        </pc:spChg>
        <pc:spChg chg="del">
          <ac:chgData name="BEN SAID, Myriam" userId="4876db50-b782-447a-be7c-ca0a034b182f" providerId="ADAL" clId="{4DB8EFC7-BEEB-4B3F-BC36-B65C649B71F9}" dt="2024-05-22T11:43:52.210" v="2847" actId="478"/>
          <ac:spMkLst>
            <pc:docMk/>
            <pc:sldMk cId="2631033068" sldId="2147229068"/>
            <ac:spMk id="55" creationId="{11204DB6-0F33-4DFC-924E-744533C172AB}"/>
          </ac:spMkLst>
        </pc:spChg>
        <pc:grpChg chg="del">
          <ac:chgData name="BEN SAID, Myriam" userId="4876db50-b782-447a-be7c-ca0a034b182f" providerId="ADAL" clId="{4DB8EFC7-BEEB-4B3F-BC36-B65C649B71F9}" dt="2024-05-22T11:43:52.210" v="2847" actId="478"/>
          <ac:grpSpMkLst>
            <pc:docMk/>
            <pc:sldMk cId="2631033068" sldId="2147229068"/>
            <ac:grpSpMk id="3" creationId="{56F81753-8858-4E3D-9A94-96138CC10224}"/>
          </ac:grpSpMkLst>
        </pc:grpChg>
        <pc:grpChg chg="del">
          <ac:chgData name="BEN SAID, Myriam" userId="4876db50-b782-447a-be7c-ca0a034b182f" providerId="ADAL" clId="{4DB8EFC7-BEEB-4B3F-BC36-B65C649B71F9}" dt="2024-05-22T11:43:52.210" v="2847" actId="478"/>
          <ac:grpSpMkLst>
            <pc:docMk/>
            <pc:sldMk cId="2631033068" sldId="2147229068"/>
            <ac:grpSpMk id="13" creationId="{79DF0CEC-9A3D-4DBF-B3D9-526524F38967}"/>
          </ac:grpSpMkLst>
        </pc:grpChg>
        <pc:grpChg chg="del">
          <ac:chgData name="BEN SAID, Myriam" userId="4876db50-b782-447a-be7c-ca0a034b182f" providerId="ADAL" clId="{4DB8EFC7-BEEB-4B3F-BC36-B65C649B71F9}" dt="2024-05-22T11:43:52.210" v="2847" actId="478"/>
          <ac:grpSpMkLst>
            <pc:docMk/>
            <pc:sldMk cId="2631033068" sldId="2147229068"/>
            <ac:grpSpMk id="14" creationId="{21672AB6-6434-4AA0-92AB-75EA8D50B6A4}"/>
          </ac:grpSpMkLst>
        </pc:grpChg>
      </pc:sldChg>
      <pc:sldChg chg="addSp delSp modSp new mod">
        <pc:chgData name="BEN SAID, Myriam" userId="4876db50-b782-447a-be7c-ca0a034b182f" providerId="ADAL" clId="{4DB8EFC7-BEEB-4B3F-BC36-B65C649B71F9}" dt="2024-02-26T17:43:12.166" v="2846" actId="20577"/>
        <pc:sldMkLst>
          <pc:docMk/>
          <pc:sldMk cId="2551971173" sldId="2147481439"/>
        </pc:sldMkLst>
        <pc:spChg chg="del">
          <ac:chgData name="BEN SAID, Myriam" userId="4876db50-b782-447a-be7c-ca0a034b182f" providerId="ADAL" clId="{4DB8EFC7-BEEB-4B3F-BC36-B65C649B71F9}" dt="2024-02-26T16:56:26.669" v="79" actId="478"/>
          <ac:spMkLst>
            <pc:docMk/>
            <pc:sldMk cId="2551971173" sldId="2147481439"/>
            <ac:spMk id="2" creationId="{FD22E980-0C17-D0C0-3643-DEA1F8332ABA}"/>
          </ac:spMkLst>
        </pc:spChg>
        <pc:spChg chg="mod">
          <ac:chgData name="BEN SAID, Myriam" userId="4876db50-b782-447a-be7c-ca0a034b182f" providerId="ADAL" clId="{4DB8EFC7-BEEB-4B3F-BC36-B65C649B71F9}" dt="2024-02-26T17:11:42.652" v="739" actId="20577"/>
          <ac:spMkLst>
            <pc:docMk/>
            <pc:sldMk cId="2551971173" sldId="2147481439"/>
            <ac:spMk id="3" creationId="{D0A308CC-F971-C497-E876-49A46780B0F7}"/>
          </ac:spMkLst>
        </pc:spChg>
        <pc:spChg chg="add mod">
          <ac:chgData name="BEN SAID, Myriam" userId="4876db50-b782-447a-be7c-ca0a034b182f" providerId="ADAL" clId="{4DB8EFC7-BEEB-4B3F-BC36-B65C649B71F9}" dt="2024-02-26T17:36:15.205" v="2617" actId="1036"/>
          <ac:spMkLst>
            <pc:docMk/>
            <pc:sldMk cId="2551971173" sldId="2147481439"/>
            <ac:spMk id="5" creationId="{531ED2F5-BE51-56BC-CFD6-031CAFAB9901}"/>
          </ac:spMkLst>
        </pc:spChg>
        <pc:spChg chg="add del mod">
          <ac:chgData name="BEN SAID, Myriam" userId="4876db50-b782-447a-be7c-ca0a034b182f" providerId="ADAL" clId="{4DB8EFC7-BEEB-4B3F-BC36-B65C649B71F9}" dt="2024-02-26T16:59:08.603" v="104" actId="478"/>
          <ac:spMkLst>
            <pc:docMk/>
            <pc:sldMk cId="2551971173" sldId="2147481439"/>
            <ac:spMk id="6" creationId="{39BCBCD9-2E9A-1BA5-9DF6-DA9432F64A70}"/>
          </ac:spMkLst>
        </pc:spChg>
        <pc:spChg chg="add del mod">
          <ac:chgData name="BEN SAID, Myriam" userId="4876db50-b782-447a-be7c-ca0a034b182f" providerId="ADAL" clId="{4DB8EFC7-BEEB-4B3F-BC36-B65C649B71F9}" dt="2024-02-26T16:59:12.107" v="105" actId="478"/>
          <ac:spMkLst>
            <pc:docMk/>
            <pc:sldMk cId="2551971173" sldId="2147481439"/>
            <ac:spMk id="7" creationId="{1DCF8168-33CA-7F03-BBA5-D6D8E1FFFCC8}"/>
          </ac:spMkLst>
        </pc:spChg>
        <pc:spChg chg="add del mod">
          <ac:chgData name="BEN SAID, Myriam" userId="4876db50-b782-447a-be7c-ca0a034b182f" providerId="ADAL" clId="{4DB8EFC7-BEEB-4B3F-BC36-B65C649B71F9}" dt="2024-02-26T16:59:12.107" v="105" actId="478"/>
          <ac:spMkLst>
            <pc:docMk/>
            <pc:sldMk cId="2551971173" sldId="2147481439"/>
            <ac:spMk id="8" creationId="{2E58A281-59C5-F958-EFEC-1FE87FE9AF45}"/>
          </ac:spMkLst>
        </pc:spChg>
        <pc:spChg chg="add del mod">
          <ac:chgData name="BEN SAID, Myriam" userId="4876db50-b782-447a-be7c-ca0a034b182f" providerId="ADAL" clId="{4DB8EFC7-BEEB-4B3F-BC36-B65C649B71F9}" dt="2024-02-26T16:59:12.107" v="105" actId="478"/>
          <ac:spMkLst>
            <pc:docMk/>
            <pc:sldMk cId="2551971173" sldId="2147481439"/>
            <ac:spMk id="9" creationId="{9AA0443F-607C-E29A-85F2-4EB039F6D97F}"/>
          </ac:spMkLst>
        </pc:spChg>
        <pc:spChg chg="add del mod">
          <ac:chgData name="BEN SAID, Myriam" userId="4876db50-b782-447a-be7c-ca0a034b182f" providerId="ADAL" clId="{4DB8EFC7-BEEB-4B3F-BC36-B65C649B71F9}" dt="2024-02-26T16:59:12.107" v="105" actId="478"/>
          <ac:spMkLst>
            <pc:docMk/>
            <pc:sldMk cId="2551971173" sldId="2147481439"/>
            <ac:spMk id="10" creationId="{BB0DB99B-6A45-F4BD-A3F7-F313CD930EBE}"/>
          </ac:spMkLst>
        </pc:spChg>
        <pc:spChg chg="add del mod">
          <ac:chgData name="BEN SAID, Myriam" userId="4876db50-b782-447a-be7c-ca0a034b182f" providerId="ADAL" clId="{4DB8EFC7-BEEB-4B3F-BC36-B65C649B71F9}" dt="2024-02-26T16:59:12.107" v="105" actId="478"/>
          <ac:spMkLst>
            <pc:docMk/>
            <pc:sldMk cId="2551971173" sldId="2147481439"/>
            <ac:spMk id="11" creationId="{F6C3E8BA-60ED-7A55-365A-5D9FC7C49C23}"/>
          </ac:spMkLst>
        </pc:spChg>
        <pc:spChg chg="add mod">
          <ac:chgData name="BEN SAID, Myriam" userId="4876db50-b782-447a-be7c-ca0a034b182f" providerId="ADAL" clId="{4DB8EFC7-BEEB-4B3F-BC36-B65C649B71F9}" dt="2024-02-26T17:36:15.205" v="2617" actId="1036"/>
          <ac:spMkLst>
            <pc:docMk/>
            <pc:sldMk cId="2551971173" sldId="2147481439"/>
            <ac:spMk id="12" creationId="{3F4D933C-3E29-0D9D-A81C-50347DD80CF7}"/>
          </ac:spMkLst>
        </pc:spChg>
        <pc:spChg chg="add mod">
          <ac:chgData name="BEN SAID, Myriam" userId="4876db50-b782-447a-be7c-ca0a034b182f" providerId="ADAL" clId="{4DB8EFC7-BEEB-4B3F-BC36-B65C649B71F9}" dt="2024-02-26T17:36:15.205" v="2617" actId="1036"/>
          <ac:spMkLst>
            <pc:docMk/>
            <pc:sldMk cId="2551971173" sldId="2147481439"/>
            <ac:spMk id="13" creationId="{C7757319-8D96-BFFE-0DA1-B0EB82FE91D5}"/>
          </ac:spMkLst>
        </pc:spChg>
        <pc:spChg chg="add del mod">
          <ac:chgData name="BEN SAID, Myriam" userId="4876db50-b782-447a-be7c-ca0a034b182f" providerId="ADAL" clId="{4DB8EFC7-BEEB-4B3F-BC36-B65C649B71F9}" dt="2024-02-26T17:15:14.367" v="1120" actId="478"/>
          <ac:spMkLst>
            <pc:docMk/>
            <pc:sldMk cId="2551971173" sldId="2147481439"/>
            <ac:spMk id="14" creationId="{07AE1EE8-F013-2C47-7447-D579AE2DC5BF}"/>
          </ac:spMkLst>
        </pc:spChg>
        <pc:spChg chg="add mod">
          <ac:chgData name="BEN SAID, Myriam" userId="4876db50-b782-447a-be7c-ca0a034b182f" providerId="ADAL" clId="{4DB8EFC7-BEEB-4B3F-BC36-B65C649B71F9}" dt="2024-02-26T17:36:15.205" v="2617" actId="1036"/>
          <ac:spMkLst>
            <pc:docMk/>
            <pc:sldMk cId="2551971173" sldId="2147481439"/>
            <ac:spMk id="15" creationId="{984771A3-634D-53D6-1853-E3E3B6E1B0DC}"/>
          </ac:spMkLst>
        </pc:spChg>
        <pc:spChg chg="add mod">
          <ac:chgData name="BEN SAID, Myriam" userId="4876db50-b782-447a-be7c-ca0a034b182f" providerId="ADAL" clId="{4DB8EFC7-BEEB-4B3F-BC36-B65C649B71F9}" dt="2024-02-26T17:36:15.205" v="2617" actId="1036"/>
          <ac:spMkLst>
            <pc:docMk/>
            <pc:sldMk cId="2551971173" sldId="2147481439"/>
            <ac:spMk id="16" creationId="{B33974E0-FE30-3E82-1FD6-7B4FE823BB1B}"/>
          </ac:spMkLst>
        </pc:spChg>
        <pc:spChg chg="add mod">
          <ac:chgData name="BEN SAID, Myriam" userId="4876db50-b782-447a-be7c-ca0a034b182f" providerId="ADAL" clId="{4DB8EFC7-BEEB-4B3F-BC36-B65C649B71F9}" dt="2024-02-26T17:36:15.205" v="2617" actId="1036"/>
          <ac:spMkLst>
            <pc:docMk/>
            <pc:sldMk cId="2551971173" sldId="2147481439"/>
            <ac:spMk id="17" creationId="{05053E61-2DCF-3986-5F93-D4B368FA5B72}"/>
          </ac:spMkLst>
        </pc:spChg>
        <pc:spChg chg="add mod">
          <ac:chgData name="BEN SAID, Myriam" userId="4876db50-b782-447a-be7c-ca0a034b182f" providerId="ADAL" clId="{4DB8EFC7-BEEB-4B3F-BC36-B65C649B71F9}" dt="2024-02-26T17:36:15.205" v="2617" actId="1036"/>
          <ac:spMkLst>
            <pc:docMk/>
            <pc:sldMk cId="2551971173" sldId="2147481439"/>
            <ac:spMk id="18" creationId="{3ED14151-0B6C-7567-FCC9-1D57CB5E79D0}"/>
          </ac:spMkLst>
        </pc:spChg>
        <pc:graphicFrameChg chg="add mod modGraphic">
          <ac:chgData name="BEN SAID, Myriam" userId="4876db50-b782-447a-be7c-ca0a034b182f" providerId="ADAL" clId="{4DB8EFC7-BEEB-4B3F-BC36-B65C649B71F9}" dt="2024-02-26T17:43:12.166" v="2846" actId="20577"/>
          <ac:graphicFrameMkLst>
            <pc:docMk/>
            <pc:sldMk cId="2551971173" sldId="2147481439"/>
            <ac:graphicFrameMk id="4" creationId="{CBD0B78F-EF26-C9FE-DC03-C45A4C1AF798}"/>
          </ac:graphicFrameMkLst>
        </pc:graphicFrameChg>
      </pc:sldChg>
      <pc:sldChg chg="addSp delSp modSp new mod">
        <pc:chgData name="BEN SAID, Myriam" userId="4876db50-b782-447a-be7c-ca0a034b182f" providerId="ADAL" clId="{4DB8EFC7-BEEB-4B3F-BC36-B65C649B71F9}" dt="2024-02-26T17:38:40.120" v="2749" actId="1076"/>
        <pc:sldMkLst>
          <pc:docMk/>
          <pc:sldMk cId="1721550936" sldId="2147481441"/>
        </pc:sldMkLst>
        <pc:spChg chg="del">
          <ac:chgData name="BEN SAID, Myriam" userId="4876db50-b782-447a-be7c-ca0a034b182f" providerId="ADAL" clId="{4DB8EFC7-BEEB-4B3F-BC36-B65C649B71F9}" dt="2024-02-26T17:25:12.223" v="2186" actId="478"/>
          <ac:spMkLst>
            <pc:docMk/>
            <pc:sldMk cId="1721550936" sldId="2147481441"/>
            <ac:spMk id="2" creationId="{D6EF1466-7309-8ECF-BAA8-FC8C95B2D506}"/>
          </ac:spMkLst>
        </pc:spChg>
        <pc:spChg chg="mod">
          <ac:chgData name="BEN SAID, Myriam" userId="4876db50-b782-447a-be7c-ca0a034b182f" providerId="ADAL" clId="{4DB8EFC7-BEEB-4B3F-BC36-B65C649B71F9}" dt="2024-02-26T17:25:19.475" v="2201" actId="20577"/>
          <ac:spMkLst>
            <pc:docMk/>
            <pc:sldMk cId="1721550936" sldId="2147481441"/>
            <ac:spMk id="3" creationId="{4ED473AB-5DFE-3C33-C220-F580282EA155}"/>
          </ac:spMkLst>
        </pc:spChg>
        <pc:spChg chg="add mod">
          <ac:chgData name="BEN SAID, Myriam" userId="4876db50-b782-447a-be7c-ca0a034b182f" providerId="ADAL" clId="{4DB8EFC7-BEEB-4B3F-BC36-B65C649B71F9}" dt="2024-02-26T17:36:40.351" v="2634" actId="20577"/>
          <ac:spMkLst>
            <pc:docMk/>
            <pc:sldMk cId="1721550936" sldId="2147481441"/>
            <ac:spMk id="6" creationId="{A8450B35-AE3A-3B1D-A08A-4E17354E3684}"/>
          </ac:spMkLst>
        </pc:spChg>
        <pc:grpChg chg="add mod">
          <ac:chgData name="BEN SAID, Myriam" userId="4876db50-b782-447a-be7c-ca0a034b182f" providerId="ADAL" clId="{4DB8EFC7-BEEB-4B3F-BC36-B65C649B71F9}" dt="2024-02-26T17:38:40.120" v="2749" actId="1076"/>
          <ac:grpSpMkLst>
            <pc:docMk/>
            <pc:sldMk cId="1721550936" sldId="2147481441"/>
            <ac:grpSpMk id="11" creationId="{9595D2AE-8703-09A5-ABFF-2D8DE0925147}"/>
          </ac:grpSpMkLst>
        </pc:grpChg>
        <pc:picChg chg="add mod">
          <ac:chgData name="BEN SAID, Myriam" userId="4876db50-b782-447a-be7c-ca0a034b182f" providerId="ADAL" clId="{4DB8EFC7-BEEB-4B3F-BC36-B65C649B71F9}" dt="2024-02-26T17:38:32.500" v="2746" actId="164"/>
          <ac:picMkLst>
            <pc:docMk/>
            <pc:sldMk cId="1721550936" sldId="2147481441"/>
            <ac:picMk id="5" creationId="{593E8980-9551-FC61-EF3B-A30C4EA5BDDC}"/>
          </ac:picMkLst>
        </pc:picChg>
        <pc:picChg chg="add mod">
          <ac:chgData name="BEN SAID, Myriam" userId="4876db50-b782-447a-be7c-ca0a034b182f" providerId="ADAL" clId="{4DB8EFC7-BEEB-4B3F-BC36-B65C649B71F9}" dt="2024-02-26T17:38:32.500" v="2746" actId="164"/>
          <ac:picMkLst>
            <pc:docMk/>
            <pc:sldMk cId="1721550936" sldId="2147481441"/>
            <ac:picMk id="8" creationId="{1D6DF3E8-660C-46CD-E716-D31176D5CFF5}"/>
          </ac:picMkLst>
        </pc:picChg>
        <pc:picChg chg="add mod">
          <ac:chgData name="BEN SAID, Myriam" userId="4876db50-b782-447a-be7c-ca0a034b182f" providerId="ADAL" clId="{4DB8EFC7-BEEB-4B3F-BC36-B65C649B71F9}" dt="2024-02-26T17:38:32.500" v="2746" actId="164"/>
          <ac:picMkLst>
            <pc:docMk/>
            <pc:sldMk cId="1721550936" sldId="2147481441"/>
            <ac:picMk id="10" creationId="{CE4EF803-E917-3FD4-6FA1-838F6A8A17AF}"/>
          </ac:picMkLst>
        </pc:picChg>
      </pc:sldChg>
      <pc:sldChg chg="addSp delSp modSp new mod ord">
        <pc:chgData name="BEN SAID, Myriam" userId="4876db50-b782-447a-be7c-ca0a034b182f" providerId="ADAL" clId="{4DB8EFC7-BEEB-4B3F-BC36-B65C649B71F9}" dt="2024-02-26T17:36:19.038" v="2619"/>
        <pc:sldMkLst>
          <pc:docMk/>
          <pc:sldMk cId="3920772411" sldId="2147481442"/>
        </pc:sldMkLst>
        <pc:spChg chg="del">
          <ac:chgData name="BEN SAID, Myriam" userId="4876db50-b782-447a-be7c-ca0a034b182f" providerId="ADAL" clId="{4DB8EFC7-BEEB-4B3F-BC36-B65C649B71F9}" dt="2024-02-26T17:26:58.852" v="2219" actId="478"/>
          <ac:spMkLst>
            <pc:docMk/>
            <pc:sldMk cId="3920772411" sldId="2147481442"/>
            <ac:spMk id="2" creationId="{43886B90-0BC4-60CD-AB7F-7F1A3EA673C8}"/>
          </ac:spMkLst>
        </pc:spChg>
        <pc:spChg chg="mod">
          <ac:chgData name="BEN SAID, Myriam" userId="4876db50-b782-447a-be7c-ca0a034b182f" providerId="ADAL" clId="{4DB8EFC7-BEEB-4B3F-BC36-B65C649B71F9}" dt="2024-02-26T17:29:06.857" v="2339" actId="20577"/>
          <ac:spMkLst>
            <pc:docMk/>
            <pc:sldMk cId="3920772411" sldId="2147481442"/>
            <ac:spMk id="3" creationId="{3BF3DC90-4BE8-02C9-3061-611B2DE23BEB}"/>
          </ac:spMkLst>
        </pc:spChg>
        <pc:spChg chg="add del">
          <ac:chgData name="BEN SAID, Myriam" userId="4876db50-b782-447a-be7c-ca0a034b182f" providerId="ADAL" clId="{4DB8EFC7-BEEB-4B3F-BC36-B65C649B71F9}" dt="2024-02-26T17:27:03.293" v="2221" actId="478"/>
          <ac:spMkLst>
            <pc:docMk/>
            <pc:sldMk cId="3920772411" sldId="2147481442"/>
            <ac:spMk id="5" creationId="{68344571-D4EA-37EB-4265-92F464C61FF4}"/>
          </ac:spMkLst>
        </pc:spChg>
        <pc:spChg chg="add del mod">
          <ac:chgData name="BEN SAID, Myriam" userId="4876db50-b782-447a-be7c-ca0a034b182f" providerId="ADAL" clId="{4DB8EFC7-BEEB-4B3F-BC36-B65C649B71F9}" dt="2024-02-26T17:28:39.807" v="2294" actId="478"/>
          <ac:spMkLst>
            <pc:docMk/>
            <pc:sldMk cId="3920772411" sldId="2147481442"/>
            <ac:spMk id="6" creationId="{5571C346-CF3E-8946-F5FE-DC539762D9D7}"/>
          </ac:spMkLst>
        </pc:spChg>
        <pc:picChg chg="add mod">
          <ac:chgData name="BEN SAID, Myriam" userId="4876db50-b782-447a-be7c-ca0a034b182f" providerId="ADAL" clId="{4DB8EFC7-BEEB-4B3F-BC36-B65C649B71F9}" dt="2024-02-26T17:29:26.552" v="2340"/>
          <ac:picMkLst>
            <pc:docMk/>
            <pc:sldMk cId="3920772411" sldId="2147481442"/>
            <ac:picMk id="8" creationId="{CB8035D7-A165-1529-61A8-D5C9BF0A357D}"/>
          </ac:picMkLst>
        </pc:picChg>
      </pc:sldChg>
      <pc:sldChg chg="add">
        <pc:chgData name="BEN SAID, Myriam" userId="4876db50-b782-447a-be7c-ca0a034b182f" providerId="ADAL" clId="{4DB8EFC7-BEEB-4B3F-BC36-B65C649B71F9}" dt="2024-02-26T17:30:43.627" v="2341"/>
        <pc:sldMkLst>
          <pc:docMk/>
          <pc:sldMk cId="4248029342" sldId="2147481444"/>
        </pc:sldMkLst>
      </pc:sldChg>
      <pc:sldChg chg="addSp delSp modSp new mod">
        <pc:chgData name="BEN SAID, Myriam" userId="4876db50-b782-447a-be7c-ca0a034b182f" providerId="ADAL" clId="{4DB8EFC7-BEEB-4B3F-BC36-B65C649B71F9}" dt="2024-02-26T17:41:22.629" v="2832" actId="20577"/>
        <pc:sldMkLst>
          <pc:docMk/>
          <pc:sldMk cId="3849969636" sldId="2147481446"/>
        </pc:sldMkLst>
        <pc:spChg chg="del">
          <ac:chgData name="BEN SAID, Myriam" userId="4876db50-b782-447a-be7c-ca0a034b182f" providerId="ADAL" clId="{4DB8EFC7-BEEB-4B3F-BC36-B65C649B71F9}" dt="2024-02-26T17:39:46.753" v="2786" actId="478"/>
          <ac:spMkLst>
            <pc:docMk/>
            <pc:sldMk cId="3849969636" sldId="2147481446"/>
            <ac:spMk id="2" creationId="{3AFAB284-AA2B-8416-70DA-3FAEFF57745A}"/>
          </ac:spMkLst>
        </pc:spChg>
        <pc:spChg chg="mod">
          <ac:chgData name="BEN SAID, Myriam" userId="4876db50-b782-447a-be7c-ca0a034b182f" providerId="ADAL" clId="{4DB8EFC7-BEEB-4B3F-BC36-B65C649B71F9}" dt="2024-02-26T17:41:22.629" v="2832" actId="20577"/>
          <ac:spMkLst>
            <pc:docMk/>
            <pc:sldMk cId="3849969636" sldId="2147481446"/>
            <ac:spMk id="3" creationId="{B6344BCA-A455-8243-457D-8ACEC8F4F3C2}"/>
          </ac:spMkLst>
        </pc:spChg>
        <pc:picChg chg="add mod">
          <ac:chgData name="BEN SAID, Myriam" userId="4876db50-b782-447a-be7c-ca0a034b182f" providerId="ADAL" clId="{4DB8EFC7-BEEB-4B3F-BC36-B65C649B71F9}" dt="2024-02-26T17:39:52.487" v="2788" actId="1076"/>
          <ac:picMkLst>
            <pc:docMk/>
            <pc:sldMk cId="3849969636" sldId="2147481446"/>
            <ac:picMk id="5" creationId="{B6316388-9CDF-7A39-F2A5-C3E288B4B079}"/>
          </ac:picMkLst>
        </pc:picChg>
      </pc:sldChg>
      <pc:sldChg chg="del">
        <pc:chgData name="BEN SAID, Myriam" userId="4876db50-b782-447a-be7c-ca0a034b182f" providerId="ADAL" clId="{4DB8EFC7-BEEB-4B3F-BC36-B65C649B71F9}" dt="2024-02-26T17:35:48.411" v="2597" actId="47"/>
        <pc:sldMkLst>
          <pc:docMk/>
          <pc:sldMk cId="4248029342" sldId="2147481446"/>
        </pc:sldMkLst>
      </pc:sldChg>
      <pc:sldChg chg="modSp new mod">
        <pc:chgData name="BEN SAID, Myriam" userId="4876db50-b782-447a-be7c-ca0a034b182f" providerId="ADAL" clId="{4DB8EFC7-BEEB-4B3F-BC36-B65C649B71F9}" dt="2024-02-26T17:41:29.301" v="2838" actId="20577"/>
        <pc:sldMkLst>
          <pc:docMk/>
          <pc:sldMk cId="1957683411" sldId="2147481447"/>
        </pc:sldMkLst>
        <pc:spChg chg="mod">
          <ac:chgData name="BEN SAID, Myriam" userId="4876db50-b782-447a-be7c-ca0a034b182f" providerId="ADAL" clId="{4DB8EFC7-BEEB-4B3F-BC36-B65C649B71F9}" dt="2024-02-26T17:41:12.606" v="2826" actId="27636"/>
          <ac:spMkLst>
            <pc:docMk/>
            <pc:sldMk cId="1957683411" sldId="2147481447"/>
            <ac:spMk id="2" creationId="{1E12C121-0E01-030F-CAA6-55D09A4DE554}"/>
          </ac:spMkLst>
        </pc:spChg>
        <pc:spChg chg="mod">
          <ac:chgData name="BEN SAID, Myriam" userId="4876db50-b782-447a-be7c-ca0a034b182f" providerId="ADAL" clId="{4DB8EFC7-BEEB-4B3F-BC36-B65C649B71F9}" dt="2024-02-26T17:41:29.301" v="2838" actId="20577"/>
          <ac:spMkLst>
            <pc:docMk/>
            <pc:sldMk cId="1957683411" sldId="2147481447"/>
            <ac:spMk id="3" creationId="{F5DB25AB-3DD8-B07B-19BD-3AAA89D0471F}"/>
          </ac:spMkLst>
        </pc:spChg>
      </pc:sldChg>
      <pc:sldChg chg="modSp mod">
        <pc:chgData name="BEN SAID, Myriam" userId="4876db50-b782-447a-be7c-ca0a034b182f" providerId="ADAL" clId="{4DB8EFC7-BEEB-4B3F-BC36-B65C649B71F9}" dt="2024-05-22T12:19:26.928" v="4575" actId="20577"/>
        <pc:sldMkLst>
          <pc:docMk/>
          <pc:sldMk cId="3733874089" sldId="2147481470"/>
        </pc:sldMkLst>
        <pc:graphicFrameChg chg="mod modGraphic">
          <ac:chgData name="BEN SAID, Myriam" userId="4876db50-b782-447a-be7c-ca0a034b182f" providerId="ADAL" clId="{4DB8EFC7-BEEB-4B3F-BC36-B65C649B71F9}" dt="2024-05-22T12:19:26.928" v="4575" actId="20577"/>
          <ac:graphicFrameMkLst>
            <pc:docMk/>
            <pc:sldMk cId="3733874089" sldId="2147481470"/>
            <ac:graphicFrameMk id="4" creationId="{868DAC96-CB41-D4D4-D037-AA7301259B0A}"/>
          </ac:graphicFrameMkLst>
        </pc:graphicFrameChg>
      </pc:sldChg>
      <pc:sldChg chg="del">
        <pc:chgData name="BEN SAID, Myriam" userId="4876db50-b782-447a-be7c-ca0a034b182f" providerId="ADAL" clId="{4DB8EFC7-BEEB-4B3F-BC36-B65C649B71F9}" dt="2024-05-22T12:14:45.488" v="4162" actId="47"/>
        <pc:sldMkLst>
          <pc:docMk/>
          <pc:sldMk cId="1532269852" sldId="2147481475"/>
        </pc:sldMkLst>
      </pc:sldChg>
    </pc:docChg>
  </pc:docChgLst>
  <pc:docChgLst>
    <pc:chgData name="RUFFET, Malcolm" userId="ef33cb5d-7c5f-44ea-8bd1-71f6d9da9dec" providerId="ADAL" clId="{42A6F1C5-53D2-4848-9E6F-5902AFD5EAD4}"/>
    <pc:docChg chg="undo custSel addSld delSld modSld sldOrd delMainMaster addSection delSection modSection">
      <pc:chgData name="RUFFET, Malcolm" userId="ef33cb5d-7c5f-44ea-8bd1-71f6d9da9dec" providerId="ADAL" clId="{42A6F1C5-53D2-4848-9E6F-5902AFD5EAD4}" dt="2024-03-14T15:15:28.382" v="16004" actId="207"/>
      <pc:docMkLst>
        <pc:docMk/>
      </pc:docMkLst>
      <pc:sldChg chg="add del">
        <pc:chgData name="RUFFET, Malcolm" userId="ef33cb5d-7c5f-44ea-8bd1-71f6d9da9dec" providerId="ADAL" clId="{42A6F1C5-53D2-4848-9E6F-5902AFD5EAD4}" dt="2024-02-19T08:56:36.977" v="9111" actId="47"/>
        <pc:sldMkLst>
          <pc:docMk/>
          <pc:sldMk cId="1302181633" sldId="353"/>
        </pc:sldMkLst>
      </pc:sldChg>
      <pc:sldChg chg="del">
        <pc:chgData name="RUFFET, Malcolm" userId="ef33cb5d-7c5f-44ea-8bd1-71f6d9da9dec" providerId="ADAL" clId="{42A6F1C5-53D2-4848-9E6F-5902AFD5EAD4}" dt="2024-02-01T16:05:05.872" v="44" actId="18676"/>
        <pc:sldMkLst>
          <pc:docMk/>
          <pc:sldMk cId="141659568" sldId="1041"/>
        </pc:sldMkLst>
      </pc:sldChg>
      <pc:sldChg chg="del">
        <pc:chgData name="RUFFET, Malcolm" userId="ef33cb5d-7c5f-44ea-8bd1-71f6d9da9dec" providerId="ADAL" clId="{42A6F1C5-53D2-4848-9E6F-5902AFD5EAD4}" dt="2024-02-01T16:04:53.520" v="35" actId="47"/>
        <pc:sldMkLst>
          <pc:docMk/>
          <pc:sldMk cId="3735983056" sldId="1050"/>
        </pc:sldMkLst>
      </pc:sldChg>
      <pc:sldChg chg="modSp mod">
        <pc:chgData name="RUFFET, Malcolm" userId="ef33cb5d-7c5f-44ea-8bd1-71f6d9da9dec" providerId="ADAL" clId="{42A6F1C5-53D2-4848-9E6F-5902AFD5EAD4}" dt="2024-02-01T16:07:25.562" v="269" actId="20577"/>
        <pc:sldMkLst>
          <pc:docMk/>
          <pc:sldMk cId="1054645184" sldId="1051"/>
        </pc:sldMkLst>
        <pc:spChg chg="mod">
          <ac:chgData name="RUFFET, Malcolm" userId="ef33cb5d-7c5f-44ea-8bd1-71f6d9da9dec" providerId="ADAL" clId="{42A6F1C5-53D2-4848-9E6F-5902AFD5EAD4}" dt="2024-02-01T16:07:25.562" v="269" actId="20577"/>
          <ac:spMkLst>
            <pc:docMk/>
            <pc:sldMk cId="1054645184" sldId="1051"/>
            <ac:spMk id="12" creationId="{A00DB984-C4C9-4289-8951-D58BE233784C}"/>
          </ac:spMkLst>
        </pc:spChg>
      </pc:sldChg>
      <pc:sldChg chg="del">
        <pc:chgData name="RUFFET, Malcolm" userId="ef33cb5d-7c5f-44ea-8bd1-71f6d9da9dec" providerId="ADAL" clId="{42A6F1C5-53D2-4848-9E6F-5902AFD5EAD4}" dt="2024-02-01T16:04:49.652" v="28" actId="47"/>
        <pc:sldMkLst>
          <pc:docMk/>
          <pc:sldMk cId="667846461" sldId="1052"/>
        </pc:sldMkLst>
      </pc:sldChg>
      <pc:sldChg chg="del">
        <pc:chgData name="RUFFET, Malcolm" userId="ef33cb5d-7c5f-44ea-8bd1-71f6d9da9dec" providerId="ADAL" clId="{42A6F1C5-53D2-4848-9E6F-5902AFD5EAD4}" dt="2024-02-01T16:05:08.711" v="45" actId="18676"/>
        <pc:sldMkLst>
          <pc:docMk/>
          <pc:sldMk cId="578327433" sldId="1062"/>
        </pc:sldMkLst>
      </pc:sldChg>
      <pc:sldChg chg="del">
        <pc:chgData name="RUFFET, Malcolm" userId="ef33cb5d-7c5f-44ea-8bd1-71f6d9da9dec" providerId="ADAL" clId="{42A6F1C5-53D2-4848-9E6F-5902AFD5EAD4}" dt="2024-02-01T16:05:01.539" v="43" actId="18676"/>
        <pc:sldMkLst>
          <pc:docMk/>
          <pc:sldMk cId="0" sldId="2064"/>
        </pc:sldMkLst>
      </pc:sldChg>
      <pc:sldChg chg="del">
        <pc:chgData name="RUFFET, Malcolm" userId="ef33cb5d-7c5f-44ea-8bd1-71f6d9da9dec" providerId="ADAL" clId="{42A6F1C5-53D2-4848-9E6F-5902AFD5EAD4}" dt="2024-02-01T16:04:52.737" v="33" actId="47"/>
        <pc:sldMkLst>
          <pc:docMk/>
          <pc:sldMk cId="779577635" sldId="2642"/>
        </pc:sldMkLst>
      </pc:sldChg>
      <pc:sldChg chg="ord">
        <pc:chgData name="RUFFET, Malcolm" userId="ef33cb5d-7c5f-44ea-8bd1-71f6d9da9dec" providerId="ADAL" clId="{42A6F1C5-53D2-4848-9E6F-5902AFD5EAD4}" dt="2024-02-21T10:02:19.577" v="11719"/>
        <pc:sldMkLst>
          <pc:docMk/>
          <pc:sldMk cId="959937450" sldId="2793"/>
        </pc:sldMkLst>
      </pc:sldChg>
      <pc:sldChg chg="ord">
        <pc:chgData name="RUFFET, Malcolm" userId="ef33cb5d-7c5f-44ea-8bd1-71f6d9da9dec" providerId="ADAL" clId="{42A6F1C5-53D2-4848-9E6F-5902AFD5EAD4}" dt="2024-02-21T10:02:19.577" v="11719"/>
        <pc:sldMkLst>
          <pc:docMk/>
          <pc:sldMk cId="3197640049" sldId="2844"/>
        </pc:sldMkLst>
      </pc:sldChg>
      <pc:sldChg chg="del">
        <pc:chgData name="RUFFET, Malcolm" userId="ef33cb5d-7c5f-44ea-8bd1-71f6d9da9dec" providerId="ADAL" clId="{42A6F1C5-53D2-4848-9E6F-5902AFD5EAD4}" dt="2024-02-01T16:04:54.164" v="41" actId="47"/>
        <pc:sldMkLst>
          <pc:docMk/>
          <pc:sldMk cId="1415020611" sldId="3016"/>
        </pc:sldMkLst>
      </pc:sldChg>
      <pc:sldChg chg="del">
        <pc:chgData name="RUFFET, Malcolm" userId="ef33cb5d-7c5f-44ea-8bd1-71f6d9da9dec" providerId="ADAL" clId="{42A6F1C5-53D2-4848-9E6F-5902AFD5EAD4}" dt="2024-02-01T16:05:01.539" v="43" actId="18676"/>
        <pc:sldMkLst>
          <pc:docMk/>
          <pc:sldMk cId="4205190001" sldId="5386"/>
        </pc:sldMkLst>
      </pc:sldChg>
      <pc:sldChg chg="del">
        <pc:chgData name="RUFFET, Malcolm" userId="ef33cb5d-7c5f-44ea-8bd1-71f6d9da9dec" providerId="ADAL" clId="{42A6F1C5-53D2-4848-9E6F-5902AFD5EAD4}" dt="2024-02-01T16:05:01.539" v="43" actId="18676"/>
        <pc:sldMkLst>
          <pc:docMk/>
          <pc:sldMk cId="119490977" sldId="5389"/>
        </pc:sldMkLst>
      </pc:sldChg>
      <pc:sldChg chg="del">
        <pc:chgData name="RUFFET, Malcolm" userId="ef33cb5d-7c5f-44ea-8bd1-71f6d9da9dec" providerId="ADAL" clId="{42A6F1C5-53D2-4848-9E6F-5902AFD5EAD4}" dt="2024-02-01T16:05:01.539" v="43" actId="18676"/>
        <pc:sldMkLst>
          <pc:docMk/>
          <pc:sldMk cId="1857478710" sldId="10255"/>
        </pc:sldMkLst>
      </pc:sldChg>
      <pc:sldChg chg="del">
        <pc:chgData name="RUFFET, Malcolm" userId="ef33cb5d-7c5f-44ea-8bd1-71f6d9da9dec" providerId="ADAL" clId="{42A6F1C5-53D2-4848-9E6F-5902AFD5EAD4}" dt="2024-02-14T15:16:43.461" v="7070" actId="47"/>
        <pc:sldMkLst>
          <pc:docMk/>
          <pc:sldMk cId="366838615" sldId="10691"/>
        </pc:sldMkLst>
      </pc:sldChg>
      <pc:sldChg chg="del">
        <pc:chgData name="RUFFET, Malcolm" userId="ef33cb5d-7c5f-44ea-8bd1-71f6d9da9dec" providerId="ADAL" clId="{42A6F1C5-53D2-4848-9E6F-5902AFD5EAD4}" dt="2024-02-01T16:05:05.872" v="44" actId="18676"/>
        <pc:sldMkLst>
          <pc:docMk/>
          <pc:sldMk cId="4227222418" sldId="2076136142"/>
        </pc:sldMkLst>
      </pc:sldChg>
      <pc:sldChg chg="del">
        <pc:chgData name="RUFFET, Malcolm" userId="ef33cb5d-7c5f-44ea-8bd1-71f6d9da9dec" providerId="ADAL" clId="{42A6F1C5-53D2-4848-9E6F-5902AFD5EAD4}" dt="2024-02-01T16:05:05.872" v="44" actId="18676"/>
        <pc:sldMkLst>
          <pc:docMk/>
          <pc:sldMk cId="1622501770" sldId="2076136143"/>
        </pc:sldMkLst>
      </pc:sldChg>
      <pc:sldChg chg="del">
        <pc:chgData name="RUFFET, Malcolm" userId="ef33cb5d-7c5f-44ea-8bd1-71f6d9da9dec" providerId="ADAL" clId="{42A6F1C5-53D2-4848-9E6F-5902AFD5EAD4}" dt="2024-02-01T16:05:05.872" v="44" actId="18676"/>
        <pc:sldMkLst>
          <pc:docMk/>
          <pc:sldMk cId="2727115621" sldId="2076136149"/>
        </pc:sldMkLst>
      </pc:sldChg>
      <pc:sldChg chg="del">
        <pc:chgData name="RUFFET, Malcolm" userId="ef33cb5d-7c5f-44ea-8bd1-71f6d9da9dec" providerId="ADAL" clId="{42A6F1C5-53D2-4848-9E6F-5902AFD5EAD4}" dt="2024-02-01T16:05:05.872" v="44" actId="18676"/>
        <pc:sldMkLst>
          <pc:docMk/>
          <pc:sldMk cId="869156505" sldId="2076136150"/>
        </pc:sldMkLst>
      </pc:sldChg>
      <pc:sldChg chg="del">
        <pc:chgData name="RUFFET, Malcolm" userId="ef33cb5d-7c5f-44ea-8bd1-71f6d9da9dec" providerId="ADAL" clId="{42A6F1C5-53D2-4848-9E6F-5902AFD5EAD4}" dt="2024-02-01T16:05:05.872" v="44" actId="18676"/>
        <pc:sldMkLst>
          <pc:docMk/>
          <pc:sldMk cId="2874989664" sldId="2076136151"/>
        </pc:sldMkLst>
      </pc:sldChg>
      <pc:sldChg chg="del">
        <pc:chgData name="RUFFET, Malcolm" userId="ef33cb5d-7c5f-44ea-8bd1-71f6d9da9dec" providerId="ADAL" clId="{42A6F1C5-53D2-4848-9E6F-5902AFD5EAD4}" dt="2024-02-01T16:05:05.872" v="44" actId="18676"/>
        <pc:sldMkLst>
          <pc:docMk/>
          <pc:sldMk cId="1158518944" sldId="2076136152"/>
        </pc:sldMkLst>
      </pc:sldChg>
      <pc:sldChg chg="del">
        <pc:chgData name="RUFFET, Malcolm" userId="ef33cb5d-7c5f-44ea-8bd1-71f6d9da9dec" providerId="ADAL" clId="{42A6F1C5-53D2-4848-9E6F-5902AFD5EAD4}" dt="2024-02-01T16:05:05.872" v="44" actId="18676"/>
        <pc:sldMkLst>
          <pc:docMk/>
          <pc:sldMk cId="264857563" sldId="2076136153"/>
        </pc:sldMkLst>
      </pc:sldChg>
      <pc:sldChg chg="del">
        <pc:chgData name="RUFFET, Malcolm" userId="ef33cb5d-7c5f-44ea-8bd1-71f6d9da9dec" providerId="ADAL" clId="{42A6F1C5-53D2-4848-9E6F-5902AFD5EAD4}" dt="2024-02-01T16:05:05.872" v="44" actId="18676"/>
        <pc:sldMkLst>
          <pc:docMk/>
          <pc:sldMk cId="1797557372" sldId="2076136154"/>
        </pc:sldMkLst>
      </pc:sldChg>
      <pc:sldChg chg="del">
        <pc:chgData name="RUFFET, Malcolm" userId="ef33cb5d-7c5f-44ea-8bd1-71f6d9da9dec" providerId="ADAL" clId="{42A6F1C5-53D2-4848-9E6F-5902AFD5EAD4}" dt="2024-02-01T16:05:05.872" v="44" actId="18676"/>
        <pc:sldMkLst>
          <pc:docMk/>
          <pc:sldMk cId="387057019" sldId="2076136155"/>
        </pc:sldMkLst>
      </pc:sldChg>
      <pc:sldChg chg="del">
        <pc:chgData name="RUFFET, Malcolm" userId="ef33cb5d-7c5f-44ea-8bd1-71f6d9da9dec" providerId="ADAL" clId="{42A6F1C5-53D2-4848-9E6F-5902AFD5EAD4}" dt="2024-02-01T16:05:05.872" v="44" actId="18676"/>
        <pc:sldMkLst>
          <pc:docMk/>
          <pc:sldMk cId="18836748" sldId="2076136156"/>
        </pc:sldMkLst>
      </pc:sldChg>
      <pc:sldChg chg="del">
        <pc:chgData name="RUFFET, Malcolm" userId="ef33cb5d-7c5f-44ea-8bd1-71f6d9da9dec" providerId="ADAL" clId="{42A6F1C5-53D2-4848-9E6F-5902AFD5EAD4}" dt="2024-02-01T16:05:05.872" v="44" actId="18676"/>
        <pc:sldMkLst>
          <pc:docMk/>
          <pc:sldMk cId="2294345585" sldId="2076136157"/>
        </pc:sldMkLst>
      </pc:sldChg>
      <pc:sldChg chg="del">
        <pc:chgData name="RUFFET, Malcolm" userId="ef33cb5d-7c5f-44ea-8bd1-71f6d9da9dec" providerId="ADAL" clId="{42A6F1C5-53D2-4848-9E6F-5902AFD5EAD4}" dt="2024-02-01T16:05:05.872" v="44" actId="18676"/>
        <pc:sldMkLst>
          <pc:docMk/>
          <pc:sldMk cId="32752968" sldId="2076136160"/>
        </pc:sldMkLst>
      </pc:sldChg>
      <pc:sldChg chg="del">
        <pc:chgData name="RUFFET, Malcolm" userId="ef33cb5d-7c5f-44ea-8bd1-71f6d9da9dec" providerId="ADAL" clId="{42A6F1C5-53D2-4848-9E6F-5902AFD5EAD4}" dt="2024-02-01T16:05:05.872" v="44" actId="18676"/>
        <pc:sldMkLst>
          <pc:docMk/>
          <pc:sldMk cId="1859841769" sldId="2076136161"/>
        </pc:sldMkLst>
      </pc:sldChg>
      <pc:sldChg chg="del">
        <pc:chgData name="RUFFET, Malcolm" userId="ef33cb5d-7c5f-44ea-8bd1-71f6d9da9dec" providerId="ADAL" clId="{42A6F1C5-53D2-4848-9E6F-5902AFD5EAD4}" dt="2024-02-01T16:05:05.872" v="44" actId="18676"/>
        <pc:sldMkLst>
          <pc:docMk/>
          <pc:sldMk cId="3290392582" sldId="2076136162"/>
        </pc:sldMkLst>
      </pc:sldChg>
      <pc:sldChg chg="del">
        <pc:chgData name="RUFFET, Malcolm" userId="ef33cb5d-7c5f-44ea-8bd1-71f6d9da9dec" providerId="ADAL" clId="{42A6F1C5-53D2-4848-9E6F-5902AFD5EAD4}" dt="2024-02-01T16:05:05.872" v="44" actId="18676"/>
        <pc:sldMkLst>
          <pc:docMk/>
          <pc:sldMk cId="1535064292" sldId="2076136163"/>
        </pc:sldMkLst>
      </pc:sldChg>
      <pc:sldChg chg="del">
        <pc:chgData name="RUFFET, Malcolm" userId="ef33cb5d-7c5f-44ea-8bd1-71f6d9da9dec" providerId="ADAL" clId="{42A6F1C5-53D2-4848-9E6F-5902AFD5EAD4}" dt="2024-02-01T16:05:05.872" v="44" actId="18676"/>
        <pc:sldMkLst>
          <pc:docMk/>
          <pc:sldMk cId="3349504007" sldId="2076136164"/>
        </pc:sldMkLst>
      </pc:sldChg>
      <pc:sldChg chg="del">
        <pc:chgData name="RUFFET, Malcolm" userId="ef33cb5d-7c5f-44ea-8bd1-71f6d9da9dec" providerId="ADAL" clId="{42A6F1C5-53D2-4848-9E6F-5902AFD5EAD4}" dt="2024-02-01T16:05:05.872" v="44" actId="18676"/>
        <pc:sldMkLst>
          <pc:docMk/>
          <pc:sldMk cId="3010933964" sldId="2076136165"/>
        </pc:sldMkLst>
      </pc:sldChg>
      <pc:sldChg chg="del">
        <pc:chgData name="RUFFET, Malcolm" userId="ef33cb5d-7c5f-44ea-8bd1-71f6d9da9dec" providerId="ADAL" clId="{42A6F1C5-53D2-4848-9E6F-5902AFD5EAD4}" dt="2024-02-01T16:05:05.872" v="44" actId="18676"/>
        <pc:sldMkLst>
          <pc:docMk/>
          <pc:sldMk cId="1758067371" sldId="2076136166"/>
        </pc:sldMkLst>
      </pc:sldChg>
      <pc:sldChg chg="del">
        <pc:chgData name="RUFFET, Malcolm" userId="ef33cb5d-7c5f-44ea-8bd1-71f6d9da9dec" providerId="ADAL" clId="{42A6F1C5-53D2-4848-9E6F-5902AFD5EAD4}" dt="2024-02-01T16:05:05.872" v="44" actId="18676"/>
        <pc:sldMkLst>
          <pc:docMk/>
          <pc:sldMk cId="3915582799" sldId="2076136167"/>
        </pc:sldMkLst>
      </pc:sldChg>
      <pc:sldChg chg="del">
        <pc:chgData name="RUFFET, Malcolm" userId="ef33cb5d-7c5f-44ea-8bd1-71f6d9da9dec" providerId="ADAL" clId="{42A6F1C5-53D2-4848-9E6F-5902AFD5EAD4}" dt="2024-02-01T16:05:05.872" v="44" actId="18676"/>
        <pc:sldMkLst>
          <pc:docMk/>
          <pc:sldMk cId="1870827301" sldId="2076136169"/>
        </pc:sldMkLst>
      </pc:sldChg>
      <pc:sldChg chg="del">
        <pc:chgData name="RUFFET, Malcolm" userId="ef33cb5d-7c5f-44ea-8bd1-71f6d9da9dec" providerId="ADAL" clId="{42A6F1C5-53D2-4848-9E6F-5902AFD5EAD4}" dt="2024-02-01T16:05:05.872" v="44" actId="18676"/>
        <pc:sldMkLst>
          <pc:docMk/>
          <pc:sldMk cId="2768462135" sldId="2076136172"/>
        </pc:sldMkLst>
      </pc:sldChg>
      <pc:sldChg chg="del">
        <pc:chgData name="RUFFET, Malcolm" userId="ef33cb5d-7c5f-44ea-8bd1-71f6d9da9dec" providerId="ADAL" clId="{42A6F1C5-53D2-4848-9E6F-5902AFD5EAD4}" dt="2024-02-01T16:05:05.872" v="44" actId="18676"/>
        <pc:sldMkLst>
          <pc:docMk/>
          <pc:sldMk cId="3770877338" sldId="2076136173"/>
        </pc:sldMkLst>
      </pc:sldChg>
      <pc:sldChg chg="del">
        <pc:chgData name="RUFFET, Malcolm" userId="ef33cb5d-7c5f-44ea-8bd1-71f6d9da9dec" providerId="ADAL" clId="{42A6F1C5-53D2-4848-9E6F-5902AFD5EAD4}" dt="2024-02-01T16:05:05.872" v="44" actId="18676"/>
        <pc:sldMkLst>
          <pc:docMk/>
          <pc:sldMk cId="2374782267" sldId="2076136174"/>
        </pc:sldMkLst>
      </pc:sldChg>
      <pc:sldChg chg="del">
        <pc:chgData name="RUFFET, Malcolm" userId="ef33cb5d-7c5f-44ea-8bd1-71f6d9da9dec" providerId="ADAL" clId="{42A6F1C5-53D2-4848-9E6F-5902AFD5EAD4}" dt="2024-02-01T16:05:01.539" v="43" actId="18676"/>
        <pc:sldMkLst>
          <pc:docMk/>
          <pc:sldMk cId="3849902103" sldId="2134804742"/>
        </pc:sldMkLst>
      </pc:sldChg>
      <pc:sldChg chg="del">
        <pc:chgData name="RUFFET, Malcolm" userId="ef33cb5d-7c5f-44ea-8bd1-71f6d9da9dec" providerId="ADAL" clId="{42A6F1C5-53D2-4848-9E6F-5902AFD5EAD4}" dt="2024-02-01T16:04:52.905" v="34" actId="47"/>
        <pc:sldMkLst>
          <pc:docMk/>
          <pc:sldMk cId="957130110" sldId="2134805764"/>
        </pc:sldMkLst>
      </pc:sldChg>
      <pc:sldChg chg="del">
        <pc:chgData name="RUFFET, Malcolm" userId="ef33cb5d-7c5f-44ea-8bd1-71f6d9da9dec" providerId="ADAL" clId="{42A6F1C5-53D2-4848-9E6F-5902AFD5EAD4}" dt="2024-02-01T16:07:46.347" v="271" actId="47"/>
        <pc:sldMkLst>
          <pc:docMk/>
          <pc:sldMk cId="2734379863" sldId="2134806142"/>
        </pc:sldMkLst>
      </pc:sldChg>
      <pc:sldChg chg="addSp delSp modSp add del">
        <pc:chgData name="RUFFET, Malcolm" userId="ef33cb5d-7c5f-44ea-8bd1-71f6d9da9dec" providerId="ADAL" clId="{42A6F1C5-53D2-4848-9E6F-5902AFD5EAD4}" dt="2024-02-14T15:17:11.284" v="7079"/>
        <pc:sldMkLst>
          <pc:docMk/>
          <pc:sldMk cId="3522524083" sldId="2134806144"/>
        </pc:sldMkLst>
        <pc:spChg chg="add del mod">
          <ac:chgData name="RUFFET, Malcolm" userId="ef33cb5d-7c5f-44ea-8bd1-71f6d9da9dec" providerId="ADAL" clId="{42A6F1C5-53D2-4848-9E6F-5902AFD5EAD4}" dt="2024-02-14T15:17:11.284" v="7079"/>
          <ac:spMkLst>
            <pc:docMk/>
            <pc:sldMk cId="3522524083" sldId="2134806144"/>
            <ac:spMk id="3" creationId="{BF044BF8-C72A-95B6-45E1-A41944AECFD9}"/>
          </ac:spMkLst>
        </pc:spChg>
        <pc:spChg chg="add del mod">
          <ac:chgData name="RUFFET, Malcolm" userId="ef33cb5d-7c5f-44ea-8bd1-71f6d9da9dec" providerId="ADAL" clId="{42A6F1C5-53D2-4848-9E6F-5902AFD5EAD4}" dt="2024-02-14T15:17:11.284" v="7079"/>
          <ac:spMkLst>
            <pc:docMk/>
            <pc:sldMk cId="3522524083" sldId="2134806144"/>
            <ac:spMk id="4" creationId="{AEDE09EC-D398-4FE7-224D-8B60B0EB3FCA}"/>
          </ac:spMkLst>
        </pc:spChg>
        <pc:spChg chg="add del mod">
          <ac:chgData name="RUFFET, Malcolm" userId="ef33cb5d-7c5f-44ea-8bd1-71f6d9da9dec" providerId="ADAL" clId="{42A6F1C5-53D2-4848-9E6F-5902AFD5EAD4}" dt="2024-02-14T15:17:11.284" v="7079"/>
          <ac:spMkLst>
            <pc:docMk/>
            <pc:sldMk cId="3522524083" sldId="2134806144"/>
            <ac:spMk id="5" creationId="{35411BB2-3DE9-8D45-3005-F4DA9BD69E57}"/>
          </ac:spMkLst>
        </pc:spChg>
        <pc:spChg chg="add del mod">
          <ac:chgData name="RUFFET, Malcolm" userId="ef33cb5d-7c5f-44ea-8bd1-71f6d9da9dec" providerId="ADAL" clId="{42A6F1C5-53D2-4848-9E6F-5902AFD5EAD4}" dt="2024-02-14T15:17:11.284" v="7079"/>
          <ac:spMkLst>
            <pc:docMk/>
            <pc:sldMk cId="3522524083" sldId="2134806144"/>
            <ac:spMk id="6" creationId="{DF97BC6A-2CB2-2CF4-37F3-A78D26D3113D}"/>
          </ac:spMkLst>
        </pc:spChg>
        <pc:spChg chg="add del mod">
          <ac:chgData name="RUFFET, Malcolm" userId="ef33cb5d-7c5f-44ea-8bd1-71f6d9da9dec" providerId="ADAL" clId="{42A6F1C5-53D2-4848-9E6F-5902AFD5EAD4}" dt="2024-02-14T15:17:11.284" v="7079"/>
          <ac:spMkLst>
            <pc:docMk/>
            <pc:sldMk cId="3522524083" sldId="2134806144"/>
            <ac:spMk id="7" creationId="{C77C66B3-7634-0C7C-0136-F47E898F89B5}"/>
          </ac:spMkLst>
        </pc:spChg>
        <pc:spChg chg="add del mod">
          <ac:chgData name="RUFFET, Malcolm" userId="ef33cb5d-7c5f-44ea-8bd1-71f6d9da9dec" providerId="ADAL" clId="{42A6F1C5-53D2-4848-9E6F-5902AFD5EAD4}" dt="2024-02-14T15:17:11.284" v="7079"/>
          <ac:spMkLst>
            <pc:docMk/>
            <pc:sldMk cId="3522524083" sldId="2134806144"/>
            <ac:spMk id="8" creationId="{7E38EAB4-561E-2B88-6350-023EC18FB4D8}"/>
          </ac:spMkLst>
        </pc:spChg>
        <pc:graphicFrameChg chg="add del mod">
          <ac:chgData name="RUFFET, Malcolm" userId="ef33cb5d-7c5f-44ea-8bd1-71f6d9da9dec" providerId="ADAL" clId="{42A6F1C5-53D2-4848-9E6F-5902AFD5EAD4}" dt="2024-02-14T15:17:11.284" v="7079"/>
          <ac:graphicFrameMkLst>
            <pc:docMk/>
            <pc:sldMk cId="3522524083" sldId="2134806144"/>
            <ac:graphicFrameMk id="2" creationId="{0E03F7BF-D606-9FC5-D57A-D475FEAA01DD}"/>
          </ac:graphicFrameMkLst>
        </pc:graphicFrameChg>
      </pc:sldChg>
      <pc:sldChg chg="del">
        <pc:chgData name="RUFFET, Malcolm" userId="ef33cb5d-7c5f-44ea-8bd1-71f6d9da9dec" providerId="ADAL" clId="{42A6F1C5-53D2-4848-9E6F-5902AFD5EAD4}" dt="2024-02-01T16:05:08.711" v="45" actId="18676"/>
        <pc:sldMkLst>
          <pc:docMk/>
          <pc:sldMk cId="2596786546" sldId="2134806147"/>
        </pc:sldMkLst>
      </pc:sldChg>
      <pc:sldChg chg="del">
        <pc:chgData name="RUFFET, Malcolm" userId="ef33cb5d-7c5f-44ea-8bd1-71f6d9da9dec" providerId="ADAL" clId="{42A6F1C5-53D2-4848-9E6F-5902AFD5EAD4}" dt="2024-02-01T16:04:20.857" v="21" actId="47"/>
        <pc:sldMkLst>
          <pc:docMk/>
          <pc:sldMk cId="65269885" sldId="2134806148"/>
        </pc:sldMkLst>
      </pc:sldChg>
      <pc:sldChg chg="del">
        <pc:chgData name="RUFFET, Malcolm" userId="ef33cb5d-7c5f-44ea-8bd1-71f6d9da9dec" providerId="ADAL" clId="{42A6F1C5-53D2-4848-9E6F-5902AFD5EAD4}" dt="2024-02-01T16:04:25.315" v="22" actId="47"/>
        <pc:sldMkLst>
          <pc:docMk/>
          <pc:sldMk cId="1909648393" sldId="2134806149"/>
        </pc:sldMkLst>
      </pc:sldChg>
      <pc:sldChg chg="del">
        <pc:chgData name="RUFFET, Malcolm" userId="ef33cb5d-7c5f-44ea-8bd1-71f6d9da9dec" providerId="ADAL" clId="{42A6F1C5-53D2-4848-9E6F-5902AFD5EAD4}" dt="2024-02-01T16:04:28.365" v="23" actId="47"/>
        <pc:sldMkLst>
          <pc:docMk/>
          <pc:sldMk cId="1332309333" sldId="2134806150"/>
        </pc:sldMkLst>
      </pc:sldChg>
      <pc:sldChg chg="del ord">
        <pc:chgData name="RUFFET, Malcolm" userId="ef33cb5d-7c5f-44ea-8bd1-71f6d9da9dec" providerId="ADAL" clId="{42A6F1C5-53D2-4848-9E6F-5902AFD5EAD4}" dt="2024-02-20T14:12:38.162" v="10419" actId="47"/>
        <pc:sldMkLst>
          <pc:docMk/>
          <pc:sldMk cId="1946505668" sldId="2134806151"/>
        </pc:sldMkLst>
      </pc:sldChg>
      <pc:sldChg chg="del">
        <pc:chgData name="RUFFET, Malcolm" userId="ef33cb5d-7c5f-44ea-8bd1-71f6d9da9dec" providerId="ADAL" clId="{42A6F1C5-53D2-4848-9E6F-5902AFD5EAD4}" dt="2024-02-01T16:04:31.238" v="24" actId="47"/>
        <pc:sldMkLst>
          <pc:docMk/>
          <pc:sldMk cId="58452125" sldId="2134806152"/>
        </pc:sldMkLst>
      </pc:sldChg>
      <pc:sldChg chg="modSp mod">
        <pc:chgData name="RUFFET, Malcolm" userId="ef33cb5d-7c5f-44ea-8bd1-71f6d9da9dec" providerId="ADAL" clId="{42A6F1C5-53D2-4848-9E6F-5902AFD5EAD4}" dt="2024-02-19T09:35:54.607" v="9319" actId="113"/>
        <pc:sldMkLst>
          <pc:docMk/>
          <pc:sldMk cId="4132157064" sldId="2134806153"/>
        </pc:sldMkLst>
        <pc:spChg chg="mod">
          <ac:chgData name="RUFFET, Malcolm" userId="ef33cb5d-7c5f-44ea-8bd1-71f6d9da9dec" providerId="ADAL" clId="{42A6F1C5-53D2-4848-9E6F-5902AFD5EAD4}" dt="2024-02-19T09:35:54.607" v="9319" actId="113"/>
          <ac:spMkLst>
            <pc:docMk/>
            <pc:sldMk cId="4132157064" sldId="2134806153"/>
            <ac:spMk id="2" creationId="{2FFF98E1-27E7-4C87-ACFA-F6B772233047}"/>
          </ac:spMkLst>
        </pc:spChg>
      </pc:sldChg>
      <pc:sldChg chg="del">
        <pc:chgData name="RUFFET, Malcolm" userId="ef33cb5d-7c5f-44ea-8bd1-71f6d9da9dec" providerId="ADAL" clId="{42A6F1C5-53D2-4848-9E6F-5902AFD5EAD4}" dt="2024-02-14T15:16:46.891" v="7074" actId="47"/>
        <pc:sldMkLst>
          <pc:docMk/>
          <pc:sldMk cId="512805540" sldId="2134806156"/>
        </pc:sldMkLst>
      </pc:sldChg>
      <pc:sldChg chg="del ord">
        <pc:chgData name="RUFFET, Malcolm" userId="ef33cb5d-7c5f-44ea-8bd1-71f6d9da9dec" providerId="ADAL" clId="{42A6F1C5-53D2-4848-9E6F-5902AFD5EAD4}" dt="2024-02-20T14:12:36.363" v="10417" actId="47"/>
        <pc:sldMkLst>
          <pc:docMk/>
          <pc:sldMk cId="2684538719" sldId="2134806162"/>
        </pc:sldMkLst>
      </pc:sldChg>
      <pc:sldChg chg="modSp mod">
        <pc:chgData name="RUFFET, Malcolm" userId="ef33cb5d-7c5f-44ea-8bd1-71f6d9da9dec" providerId="ADAL" clId="{42A6F1C5-53D2-4848-9E6F-5902AFD5EAD4}" dt="2024-02-19T08:51:45.540" v="9039" actId="2711"/>
        <pc:sldMkLst>
          <pc:docMk/>
          <pc:sldMk cId="2644363888" sldId="2134806240"/>
        </pc:sldMkLst>
        <pc:spChg chg="mod">
          <ac:chgData name="RUFFET, Malcolm" userId="ef33cb5d-7c5f-44ea-8bd1-71f6d9da9dec" providerId="ADAL" clId="{42A6F1C5-53D2-4848-9E6F-5902AFD5EAD4}" dt="2024-02-19T08:51:45.540" v="9039" actId="2711"/>
          <ac:spMkLst>
            <pc:docMk/>
            <pc:sldMk cId="2644363888" sldId="2134806240"/>
            <ac:spMk id="7" creationId="{26EF2914-107A-4255-96D0-EB57A51F375D}"/>
          </ac:spMkLst>
        </pc:spChg>
      </pc:sldChg>
      <pc:sldChg chg="ord">
        <pc:chgData name="RUFFET, Malcolm" userId="ef33cb5d-7c5f-44ea-8bd1-71f6d9da9dec" providerId="ADAL" clId="{42A6F1C5-53D2-4848-9E6F-5902AFD5EAD4}" dt="2024-02-01T16:07:54.849" v="273"/>
        <pc:sldMkLst>
          <pc:docMk/>
          <pc:sldMk cId="2631033068" sldId="2147229068"/>
        </pc:sldMkLst>
      </pc:sldChg>
      <pc:sldChg chg="del">
        <pc:chgData name="RUFFET, Malcolm" userId="ef33cb5d-7c5f-44ea-8bd1-71f6d9da9dec" providerId="ADAL" clId="{42A6F1C5-53D2-4848-9E6F-5902AFD5EAD4}" dt="2024-02-01T16:07:32.632" v="270" actId="47"/>
        <pc:sldMkLst>
          <pc:docMk/>
          <pc:sldMk cId="3861329183" sldId="2147229074"/>
        </pc:sldMkLst>
      </pc:sldChg>
      <pc:sldChg chg="del">
        <pc:chgData name="RUFFET, Malcolm" userId="ef33cb5d-7c5f-44ea-8bd1-71f6d9da9dec" providerId="ADAL" clId="{42A6F1C5-53D2-4848-9E6F-5902AFD5EAD4}" dt="2024-02-01T16:04:53.764" v="37" actId="47"/>
        <pc:sldMkLst>
          <pc:docMk/>
          <pc:sldMk cId="4050673491" sldId="2147229083"/>
        </pc:sldMkLst>
      </pc:sldChg>
      <pc:sldChg chg="del">
        <pc:chgData name="RUFFET, Malcolm" userId="ef33cb5d-7c5f-44ea-8bd1-71f6d9da9dec" providerId="ADAL" clId="{42A6F1C5-53D2-4848-9E6F-5902AFD5EAD4}" dt="2024-02-14T15:16:45.130" v="7072" actId="47"/>
        <pc:sldMkLst>
          <pc:docMk/>
          <pc:sldMk cId="4155635411" sldId="2147308502"/>
        </pc:sldMkLst>
      </pc:sldChg>
      <pc:sldChg chg="del">
        <pc:chgData name="RUFFET, Malcolm" userId="ef33cb5d-7c5f-44ea-8bd1-71f6d9da9dec" providerId="ADAL" clId="{42A6F1C5-53D2-4848-9E6F-5902AFD5EAD4}" dt="2024-02-14T15:16:45.970" v="7073" actId="47"/>
        <pc:sldMkLst>
          <pc:docMk/>
          <pc:sldMk cId="2445681276" sldId="2147308504"/>
        </pc:sldMkLst>
      </pc:sldChg>
      <pc:sldChg chg="del ord">
        <pc:chgData name="RUFFET, Malcolm" userId="ef33cb5d-7c5f-44ea-8bd1-71f6d9da9dec" providerId="ADAL" clId="{42A6F1C5-53D2-4848-9E6F-5902AFD5EAD4}" dt="2024-02-21T10:07:57.175" v="11785" actId="47"/>
        <pc:sldMkLst>
          <pc:docMk/>
          <pc:sldMk cId="1970944974" sldId="2147308507"/>
        </pc:sldMkLst>
      </pc:sldChg>
      <pc:sldChg chg="del">
        <pc:chgData name="RUFFET, Malcolm" userId="ef33cb5d-7c5f-44ea-8bd1-71f6d9da9dec" providerId="ADAL" clId="{42A6F1C5-53D2-4848-9E6F-5902AFD5EAD4}" dt="2024-02-05T10:02:06.182" v="713" actId="47"/>
        <pc:sldMkLst>
          <pc:docMk/>
          <pc:sldMk cId="2429193758" sldId="2147308508"/>
        </pc:sldMkLst>
      </pc:sldChg>
      <pc:sldChg chg="addSp delSp modSp mod ord">
        <pc:chgData name="RUFFET, Malcolm" userId="ef33cb5d-7c5f-44ea-8bd1-71f6d9da9dec" providerId="ADAL" clId="{42A6F1C5-53D2-4848-9E6F-5902AFD5EAD4}" dt="2024-02-21T15:28:24.635" v="12613" actId="14100"/>
        <pc:sldMkLst>
          <pc:docMk/>
          <pc:sldMk cId="798083219" sldId="2147308509"/>
        </pc:sldMkLst>
        <pc:spChg chg="del mod">
          <ac:chgData name="RUFFET, Malcolm" userId="ef33cb5d-7c5f-44ea-8bd1-71f6d9da9dec" providerId="ADAL" clId="{42A6F1C5-53D2-4848-9E6F-5902AFD5EAD4}" dt="2024-02-21T15:20:19.528" v="12583" actId="478"/>
          <ac:spMkLst>
            <pc:docMk/>
            <pc:sldMk cId="798083219" sldId="2147308509"/>
            <ac:spMk id="2" creationId="{1EA10718-7C5E-6219-B68F-A23A4B749385}"/>
          </ac:spMkLst>
        </pc:spChg>
        <pc:spChg chg="del mod">
          <ac:chgData name="RUFFET, Malcolm" userId="ef33cb5d-7c5f-44ea-8bd1-71f6d9da9dec" providerId="ADAL" clId="{42A6F1C5-53D2-4848-9E6F-5902AFD5EAD4}" dt="2024-02-21T15:22:27.250" v="12595" actId="478"/>
          <ac:spMkLst>
            <pc:docMk/>
            <pc:sldMk cId="798083219" sldId="2147308509"/>
            <ac:spMk id="4" creationId="{4779130A-DD80-453E-AF75-85DFCEE3CAF9}"/>
          </ac:spMkLst>
        </pc:spChg>
        <pc:spChg chg="del mod">
          <ac:chgData name="RUFFET, Malcolm" userId="ef33cb5d-7c5f-44ea-8bd1-71f6d9da9dec" providerId="ADAL" clId="{42A6F1C5-53D2-4848-9E6F-5902AFD5EAD4}" dt="2024-02-21T15:22:27.250" v="12595" actId="478"/>
          <ac:spMkLst>
            <pc:docMk/>
            <pc:sldMk cId="798083219" sldId="2147308509"/>
            <ac:spMk id="5" creationId="{17806A54-E1FB-4AB7-9CEF-9CC8144BAF1D}"/>
          </ac:spMkLst>
        </pc:spChg>
        <pc:spChg chg="mod">
          <ac:chgData name="RUFFET, Malcolm" userId="ef33cb5d-7c5f-44ea-8bd1-71f6d9da9dec" providerId="ADAL" clId="{42A6F1C5-53D2-4848-9E6F-5902AFD5EAD4}" dt="2024-02-21T15:28:24.635" v="12613" actId="14100"/>
          <ac:spMkLst>
            <pc:docMk/>
            <pc:sldMk cId="798083219" sldId="2147308509"/>
            <ac:spMk id="7" creationId="{130F58C5-2976-4846-A915-64CB73CFBA97}"/>
          </ac:spMkLst>
        </pc:spChg>
        <pc:spChg chg="mod">
          <ac:chgData name="RUFFET, Malcolm" userId="ef33cb5d-7c5f-44ea-8bd1-71f6d9da9dec" providerId="ADAL" clId="{42A6F1C5-53D2-4848-9E6F-5902AFD5EAD4}" dt="2024-02-21T15:27:56.886" v="12610" actId="403"/>
          <ac:spMkLst>
            <pc:docMk/>
            <pc:sldMk cId="798083219" sldId="2147308509"/>
            <ac:spMk id="9" creationId="{9AD8FA80-D5E3-4090-937C-AA9F9330F5A6}"/>
          </ac:spMkLst>
        </pc:spChg>
        <pc:spChg chg="mod">
          <ac:chgData name="RUFFET, Malcolm" userId="ef33cb5d-7c5f-44ea-8bd1-71f6d9da9dec" providerId="ADAL" clId="{42A6F1C5-53D2-4848-9E6F-5902AFD5EAD4}" dt="2024-02-21T15:28:01.405" v="12611" actId="403"/>
          <ac:spMkLst>
            <pc:docMk/>
            <pc:sldMk cId="798083219" sldId="2147308509"/>
            <ac:spMk id="10" creationId="{72D77523-56F9-4DB0-B3F4-BCD046E94FF1}"/>
          </ac:spMkLst>
        </pc:spChg>
        <pc:spChg chg="mod">
          <ac:chgData name="RUFFET, Malcolm" userId="ef33cb5d-7c5f-44ea-8bd1-71f6d9da9dec" providerId="ADAL" clId="{42A6F1C5-53D2-4848-9E6F-5902AFD5EAD4}" dt="2024-02-21T15:22:42.311" v="12597" actId="255"/>
          <ac:spMkLst>
            <pc:docMk/>
            <pc:sldMk cId="798083219" sldId="2147308509"/>
            <ac:spMk id="11" creationId="{8B14E531-C1B7-41F2-88A2-8F7570051567}"/>
          </ac:spMkLst>
        </pc:spChg>
        <pc:spChg chg="mod">
          <ac:chgData name="RUFFET, Malcolm" userId="ef33cb5d-7c5f-44ea-8bd1-71f6d9da9dec" providerId="ADAL" clId="{42A6F1C5-53D2-4848-9E6F-5902AFD5EAD4}" dt="2024-02-21T15:22:47.079" v="12598" actId="403"/>
          <ac:spMkLst>
            <pc:docMk/>
            <pc:sldMk cId="798083219" sldId="2147308509"/>
            <ac:spMk id="12" creationId="{4AEAA726-51D1-4E3F-A196-B2E10D9A8CE0}"/>
          </ac:spMkLst>
        </pc:spChg>
        <pc:spChg chg="mod">
          <ac:chgData name="RUFFET, Malcolm" userId="ef33cb5d-7c5f-44ea-8bd1-71f6d9da9dec" providerId="ADAL" clId="{42A6F1C5-53D2-4848-9E6F-5902AFD5EAD4}" dt="2024-02-21T15:22:42.311" v="12597" actId="255"/>
          <ac:spMkLst>
            <pc:docMk/>
            <pc:sldMk cId="798083219" sldId="2147308509"/>
            <ac:spMk id="13" creationId="{14D4E5A5-9B4A-4417-8C3F-DBDA645918ED}"/>
          </ac:spMkLst>
        </pc:spChg>
        <pc:spChg chg="mod">
          <ac:chgData name="RUFFET, Malcolm" userId="ef33cb5d-7c5f-44ea-8bd1-71f6d9da9dec" providerId="ADAL" clId="{42A6F1C5-53D2-4848-9E6F-5902AFD5EAD4}" dt="2024-02-21T15:22:47.079" v="12598" actId="403"/>
          <ac:spMkLst>
            <pc:docMk/>
            <pc:sldMk cId="798083219" sldId="2147308509"/>
            <ac:spMk id="14" creationId="{340FCAD7-B6E4-4B6B-8698-EC77417F54FB}"/>
          </ac:spMkLst>
        </pc:spChg>
        <pc:spChg chg="del mod">
          <ac:chgData name="RUFFET, Malcolm" userId="ef33cb5d-7c5f-44ea-8bd1-71f6d9da9dec" providerId="ADAL" clId="{42A6F1C5-53D2-4848-9E6F-5902AFD5EAD4}" dt="2024-02-21T10:00:04.885" v="11695" actId="478"/>
          <ac:spMkLst>
            <pc:docMk/>
            <pc:sldMk cId="798083219" sldId="2147308509"/>
            <ac:spMk id="15" creationId="{C63223A0-316A-4304-97A3-303DA6C56430}"/>
          </ac:spMkLst>
        </pc:spChg>
        <pc:spChg chg="del mod">
          <ac:chgData name="RUFFET, Malcolm" userId="ef33cb5d-7c5f-44ea-8bd1-71f6d9da9dec" providerId="ADAL" clId="{42A6F1C5-53D2-4848-9E6F-5902AFD5EAD4}" dt="2024-02-21T10:00:04.885" v="11695" actId="478"/>
          <ac:spMkLst>
            <pc:docMk/>
            <pc:sldMk cId="798083219" sldId="2147308509"/>
            <ac:spMk id="16" creationId="{8B618935-EA71-4D3D-8E4B-D28EFA08C9EA}"/>
          </ac:spMkLst>
        </pc:spChg>
        <pc:spChg chg="del mod">
          <ac:chgData name="RUFFET, Malcolm" userId="ef33cb5d-7c5f-44ea-8bd1-71f6d9da9dec" providerId="ADAL" clId="{42A6F1C5-53D2-4848-9E6F-5902AFD5EAD4}" dt="2024-02-21T10:00:04.885" v="11695" actId="478"/>
          <ac:spMkLst>
            <pc:docMk/>
            <pc:sldMk cId="798083219" sldId="2147308509"/>
            <ac:spMk id="19" creationId="{C85B4B92-06DB-4283-984A-AE362D5FDB2A}"/>
          </ac:spMkLst>
        </pc:spChg>
        <pc:spChg chg="del mod">
          <ac:chgData name="RUFFET, Malcolm" userId="ef33cb5d-7c5f-44ea-8bd1-71f6d9da9dec" providerId="ADAL" clId="{42A6F1C5-53D2-4848-9E6F-5902AFD5EAD4}" dt="2024-02-21T10:00:04.885" v="11695" actId="478"/>
          <ac:spMkLst>
            <pc:docMk/>
            <pc:sldMk cId="798083219" sldId="2147308509"/>
            <ac:spMk id="20" creationId="{62E08FDF-C30E-4F76-B5AC-A03FFE19972E}"/>
          </ac:spMkLst>
        </pc:spChg>
        <pc:picChg chg="add del mod">
          <ac:chgData name="RUFFET, Malcolm" userId="ef33cb5d-7c5f-44ea-8bd1-71f6d9da9dec" providerId="ADAL" clId="{42A6F1C5-53D2-4848-9E6F-5902AFD5EAD4}" dt="2024-02-21T15:20:09.788" v="12582"/>
          <ac:picMkLst>
            <pc:docMk/>
            <pc:sldMk cId="798083219" sldId="2147308509"/>
            <ac:picMk id="3" creationId="{D6509838-2537-6FC5-937F-AF8A15056CFB}"/>
          </ac:picMkLst>
        </pc:picChg>
        <pc:picChg chg="add del mod">
          <ac:chgData name="RUFFET, Malcolm" userId="ef33cb5d-7c5f-44ea-8bd1-71f6d9da9dec" providerId="ADAL" clId="{42A6F1C5-53D2-4848-9E6F-5902AFD5EAD4}" dt="2024-02-21T15:20:09.788" v="12582"/>
          <ac:picMkLst>
            <pc:docMk/>
            <pc:sldMk cId="798083219" sldId="2147308509"/>
            <ac:picMk id="6" creationId="{B41BACA1-0D67-0773-003D-BA96A795D1E5}"/>
          </ac:picMkLst>
        </pc:picChg>
        <pc:picChg chg="add del mod">
          <ac:chgData name="RUFFET, Malcolm" userId="ef33cb5d-7c5f-44ea-8bd1-71f6d9da9dec" providerId="ADAL" clId="{42A6F1C5-53D2-4848-9E6F-5902AFD5EAD4}" dt="2024-02-21T15:23:21.189" v="12599" actId="478"/>
          <ac:picMkLst>
            <pc:docMk/>
            <pc:sldMk cId="798083219" sldId="2147308509"/>
            <ac:picMk id="1026" creationId="{9FB82333-77F9-22C4-B09A-41F2A7BAD208}"/>
          </ac:picMkLst>
        </pc:picChg>
        <pc:picChg chg="add mod">
          <ac:chgData name="RUFFET, Malcolm" userId="ef33cb5d-7c5f-44ea-8bd1-71f6d9da9dec" providerId="ADAL" clId="{42A6F1C5-53D2-4848-9E6F-5902AFD5EAD4}" dt="2024-02-21T15:24:19.996" v="12609"/>
          <ac:picMkLst>
            <pc:docMk/>
            <pc:sldMk cId="798083219" sldId="2147308509"/>
            <ac:picMk id="1028" creationId="{B42DBE0C-9272-48F2-1D9C-6275D3A35B4B}"/>
          </ac:picMkLst>
        </pc:picChg>
      </pc:sldChg>
      <pc:sldChg chg="modSp del mod">
        <pc:chgData name="RUFFET, Malcolm" userId="ef33cb5d-7c5f-44ea-8bd1-71f6d9da9dec" providerId="ADAL" clId="{42A6F1C5-53D2-4848-9E6F-5902AFD5EAD4}" dt="2024-02-20T14:12:37.361" v="10418" actId="47"/>
        <pc:sldMkLst>
          <pc:docMk/>
          <pc:sldMk cId="1302612175" sldId="2147308510"/>
        </pc:sldMkLst>
        <pc:spChg chg="mod">
          <ac:chgData name="RUFFET, Malcolm" userId="ef33cb5d-7c5f-44ea-8bd1-71f6d9da9dec" providerId="ADAL" clId="{42A6F1C5-53D2-4848-9E6F-5902AFD5EAD4}" dt="2024-02-08T10:17:00.501" v="4268" actId="6549"/>
          <ac:spMkLst>
            <pc:docMk/>
            <pc:sldMk cId="1302612175" sldId="2147308510"/>
            <ac:spMk id="15" creationId="{5E6C5390-43A8-4CB0-B612-EDA38A5E4C92}"/>
          </ac:spMkLst>
        </pc:spChg>
      </pc:sldChg>
      <pc:sldChg chg="del ord">
        <pc:chgData name="RUFFET, Malcolm" userId="ef33cb5d-7c5f-44ea-8bd1-71f6d9da9dec" providerId="ADAL" clId="{42A6F1C5-53D2-4848-9E6F-5902AFD5EAD4}" dt="2024-02-02T08:47:21.884" v="712" actId="47"/>
        <pc:sldMkLst>
          <pc:docMk/>
          <pc:sldMk cId="3576082266" sldId="2147308511"/>
        </pc:sldMkLst>
      </pc:sldChg>
      <pc:sldChg chg="modSp del mod">
        <pc:chgData name="RUFFET, Malcolm" userId="ef33cb5d-7c5f-44ea-8bd1-71f6d9da9dec" providerId="ADAL" clId="{42A6F1C5-53D2-4848-9E6F-5902AFD5EAD4}" dt="2024-02-19T08:56:41.073" v="9112" actId="47"/>
        <pc:sldMkLst>
          <pc:docMk/>
          <pc:sldMk cId="3010050003" sldId="2147308512"/>
        </pc:sldMkLst>
        <pc:spChg chg="mod">
          <ac:chgData name="RUFFET, Malcolm" userId="ef33cb5d-7c5f-44ea-8bd1-71f6d9da9dec" providerId="ADAL" clId="{42A6F1C5-53D2-4848-9E6F-5902AFD5EAD4}" dt="2024-02-16T14:12:13.573" v="8612" actId="20577"/>
          <ac:spMkLst>
            <pc:docMk/>
            <pc:sldMk cId="3010050003" sldId="2147308512"/>
            <ac:spMk id="11" creationId="{8B14E531-C1B7-41F2-88A2-8F7570051567}"/>
          </ac:spMkLst>
        </pc:spChg>
        <pc:spChg chg="mod">
          <ac:chgData name="RUFFET, Malcolm" userId="ef33cb5d-7c5f-44ea-8bd1-71f6d9da9dec" providerId="ADAL" clId="{42A6F1C5-53D2-4848-9E6F-5902AFD5EAD4}" dt="2024-02-16T14:12:30" v="8653" actId="20577"/>
          <ac:spMkLst>
            <pc:docMk/>
            <pc:sldMk cId="3010050003" sldId="2147308512"/>
            <ac:spMk id="13" creationId="{14D4E5A5-9B4A-4417-8C3F-DBDA645918ED}"/>
          </ac:spMkLst>
        </pc:spChg>
      </pc:sldChg>
      <pc:sldChg chg="del">
        <pc:chgData name="RUFFET, Malcolm" userId="ef33cb5d-7c5f-44ea-8bd1-71f6d9da9dec" providerId="ADAL" clId="{42A6F1C5-53D2-4848-9E6F-5902AFD5EAD4}" dt="2024-02-14T15:16:51.484" v="7077" actId="47"/>
        <pc:sldMkLst>
          <pc:docMk/>
          <pc:sldMk cId="869936253" sldId="2147308513"/>
        </pc:sldMkLst>
      </pc:sldChg>
      <pc:sldChg chg="del">
        <pc:chgData name="RUFFET, Malcolm" userId="ef33cb5d-7c5f-44ea-8bd1-71f6d9da9dec" providerId="ADAL" clId="{42A6F1C5-53D2-4848-9E6F-5902AFD5EAD4}" dt="2024-02-14T15:16:44.504" v="7071" actId="47"/>
        <pc:sldMkLst>
          <pc:docMk/>
          <pc:sldMk cId="4060851793" sldId="2147308514"/>
        </pc:sldMkLst>
      </pc:sldChg>
      <pc:sldChg chg="del">
        <pc:chgData name="RUFFET, Malcolm" userId="ef33cb5d-7c5f-44ea-8bd1-71f6d9da9dec" providerId="ADAL" clId="{42A6F1C5-53D2-4848-9E6F-5902AFD5EAD4}" dt="2024-02-01T16:04:51.598" v="29" actId="47"/>
        <pc:sldMkLst>
          <pc:docMk/>
          <pc:sldMk cId="2254364023" sldId="2147308516"/>
        </pc:sldMkLst>
      </pc:sldChg>
      <pc:sldChg chg="del">
        <pc:chgData name="RUFFET, Malcolm" userId="ef33cb5d-7c5f-44ea-8bd1-71f6d9da9dec" providerId="ADAL" clId="{42A6F1C5-53D2-4848-9E6F-5902AFD5EAD4}" dt="2024-02-01T16:05:08.711" v="45" actId="18676"/>
        <pc:sldMkLst>
          <pc:docMk/>
          <pc:sldMk cId="688688464" sldId="2147308517"/>
        </pc:sldMkLst>
      </pc:sldChg>
      <pc:sldChg chg="del">
        <pc:chgData name="RUFFET, Malcolm" userId="ef33cb5d-7c5f-44ea-8bd1-71f6d9da9dec" providerId="ADAL" clId="{42A6F1C5-53D2-4848-9E6F-5902AFD5EAD4}" dt="2024-02-01T16:05:08.711" v="45" actId="18676"/>
        <pc:sldMkLst>
          <pc:docMk/>
          <pc:sldMk cId="3749543010" sldId="2147308518"/>
        </pc:sldMkLst>
      </pc:sldChg>
      <pc:sldChg chg="del">
        <pc:chgData name="RUFFET, Malcolm" userId="ef33cb5d-7c5f-44ea-8bd1-71f6d9da9dec" providerId="ADAL" clId="{42A6F1C5-53D2-4848-9E6F-5902AFD5EAD4}" dt="2024-02-01T16:04:32.706" v="25" actId="47"/>
        <pc:sldMkLst>
          <pc:docMk/>
          <pc:sldMk cId="1502767037" sldId="2147308519"/>
        </pc:sldMkLst>
      </pc:sldChg>
      <pc:sldChg chg="del">
        <pc:chgData name="RUFFET, Malcolm" userId="ef33cb5d-7c5f-44ea-8bd1-71f6d9da9dec" providerId="ADAL" clId="{42A6F1C5-53D2-4848-9E6F-5902AFD5EAD4}" dt="2024-02-01T16:04:33.550" v="26" actId="47"/>
        <pc:sldMkLst>
          <pc:docMk/>
          <pc:sldMk cId="388370541" sldId="2147308520"/>
        </pc:sldMkLst>
      </pc:sldChg>
      <pc:sldChg chg="del">
        <pc:chgData name="RUFFET, Malcolm" userId="ef33cb5d-7c5f-44ea-8bd1-71f6d9da9dec" providerId="ADAL" clId="{42A6F1C5-53D2-4848-9E6F-5902AFD5EAD4}" dt="2024-02-01T16:04:37.638" v="27" actId="47"/>
        <pc:sldMkLst>
          <pc:docMk/>
          <pc:sldMk cId="3102586499" sldId="2147308521"/>
        </pc:sldMkLst>
      </pc:sldChg>
      <pc:sldChg chg="del">
        <pc:chgData name="RUFFET, Malcolm" userId="ef33cb5d-7c5f-44ea-8bd1-71f6d9da9dec" providerId="ADAL" clId="{42A6F1C5-53D2-4848-9E6F-5902AFD5EAD4}" dt="2024-02-01T16:04:53.672" v="36" actId="47"/>
        <pc:sldMkLst>
          <pc:docMk/>
          <pc:sldMk cId="4061063420" sldId="2147308522"/>
        </pc:sldMkLst>
      </pc:sldChg>
      <pc:sldChg chg="del">
        <pc:chgData name="RUFFET, Malcolm" userId="ef33cb5d-7c5f-44ea-8bd1-71f6d9da9dec" providerId="ADAL" clId="{42A6F1C5-53D2-4848-9E6F-5902AFD5EAD4}" dt="2024-02-01T16:04:52.136" v="31" actId="47"/>
        <pc:sldMkLst>
          <pc:docMk/>
          <pc:sldMk cId="3880846906" sldId="2147308523"/>
        </pc:sldMkLst>
      </pc:sldChg>
      <pc:sldChg chg="del">
        <pc:chgData name="RUFFET, Malcolm" userId="ef33cb5d-7c5f-44ea-8bd1-71f6d9da9dec" providerId="ADAL" clId="{42A6F1C5-53D2-4848-9E6F-5902AFD5EAD4}" dt="2024-02-01T16:04:51.851" v="30" actId="47"/>
        <pc:sldMkLst>
          <pc:docMk/>
          <pc:sldMk cId="3375921690" sldId="2147308524"/>
        </pc:sldMkLst>
      </pc:sldChg>
      <pc:sldChg chg="del">
        <pc:chgData name="RUFFET, Malcolm" userId="ef33cb5d-7c5f-44ea-8bd1-71f6d9da9dec" providerId="ADAL" clId="{42A6F1C5-53D2-4848-9E6F-5902AFD5EAD4}" dt="2024-02-01T16:04:53.866" v="39" actId="47"/>
        <pc:sldMkLst>
          <pc:docMk/>
          <pc:sldMk cId="2549510342" sldId="2147308525"/>
        </pc:sldMkLst>
      </pc:sldChg>
      <pc:sldChg chg="del">
        <pc:chgData name="RUFFET, Malcolm" userId="ef33cb5d-7c5f-44ea-8bd1-71f6d9da9dec" providerId="ADAL" clId="{42A6F1C5-53D2-4848-9E6F-5902AFD5EAD4}" dt="2024-02-01T16:04:53.837" v="38" actId="47"/>
        <pc:sldMkLst>
          <pc:docMk/>
          <pc:sldMk cId="3605607690" sldId="2147308526"/>
        </pc:sldMkLst>
      </pc:sldChg>
      <pc:sldChg chg="del">
        <pc:chgData name="RUFFET, Malcolm" userId="ef33cb5d-7c5f-44ea-8bd1-71f6d9da9dec" providerId="ADAL" clId="{42A6F1C5-53D2-4848-9E6F-5902AFD5EAD4}" dt="2024-02-01T16:05:05.872" v="44" actId="18676"/>
        <pc:sldMkLst>
          <pc:docMk/>
          <pc:sldMk cId="4192755115" sldId="2147308528"/>
        </pc:sldMkLst>
      </pc:sldChg>
      <pc:sldChg chg="del">
        <pc:chgData name="RUFFET, Malcolm" userId="ef33cb5d-7c5f-44ea-8bd1-71f6d9da9dec" providerId="ADAL" clId="{42A6F1C5-53D2-4848-9E6F-5902AFD5EAD4}" dt="2024-02-01T16:05:08.711" v="45" actId="18676"/>
        <pc:sldMkLst>
          <pc:docMk/>
          <pc:sldMk cId="4100095929" sldId="2147308529"/>
        </pc:sldMkLst>
      </pc:sldChg>
      <pc:sldChg chg="del">
        <pc:chgData name="RUFFET, Malcolm" userId="ef33cb5d-7c5f-44ea-8bd1-71f6d9da9dec" providerId="ADAL" clId="{42A6F1C5-53D2-4848-9E6F-5902AFD5EAD4}" dt="2024-02-01T16:05:05.872" v="44" actId="18676"/>
        <pc:sldMkLst>
          <pc:docMk/>
          <pc:sldMk cId="3931731578" sldId="2147473346"/>
        </pc:sldMkLst>
      </pc:sldChg>
      <pc:sldChg chg="del">
        <pc:chgData name="RUFFET, Malcolm" userId="ef33cb5d-7c5f-44ea-8bd1-71f6d9da9dec" providerId="ADAL" clId="{42A6F1C5-53D2-4848-9E6F-5902AFD5EAD4}" dt="2024-02-01T16:05:05.872" v="44" actId="18676"/>
        <pc:sldMkLst>
          <pc:docMk/>
          <pc:sldMk cId="3667094763" sldId="2147473347"/>
        </pc:sldMkLst>
      </pc:sldChg>
      <pc:sldChg chg="del">
        <pc:chgData name="RUFFET, Malcolm" userId="ef33cb5d-7c5f-44ea-8bd1-71f6d9da9dec" providerId="ADAL" clId="{42A6F1C5-53D2-4848-9E6F-5902AFD5EAD4}" dt="2024-02-01T16:05:05.872" v="44" actId="18676"/>
        <pc:sldMkLst>
          <pc:docMk/>
          <pc:sldMk cId="1776822013" sldId="2147473348"/>
        </pc:sldMkLst>
      </pc:sldChg>
      <pc:sldChg chg="del">
        <pc:chgData name="RUFFET, Malcolm" userId="ef33cb5d-7c5f-44ea-8bd1-71f6d9da9dec" providerId="ADAL" clId="{42A6F1C5-53D2-4848-9E6F-5902AFD5EAD4}" dt="2024-02-01T16:05:05.872" v="44" actId="18676"/>
        <pc:sldMkLst>
          <pc:docMk/>
          <pc:sldMk cId="446593079" sldId="2147473349"/>
        </pc:sldMkLst>
      </pc:sldChg>
      <pc:sldChg chg="del">
        <pc:chgData name="RUFFET, Malcolm" userId="ef33cb5d-7c5f-44ea-8bd1-71f6d9da9dec" providerId="ADAL" clId="{42A6F1C5-53D2-4848-9E6F-5902AFD5EAD4}" dt="2024-02-01T16:05:05.872" v="44" actId="18676"/>
        <pc:sldMkLst>
          <pc:docMk/>
          <pc:sldMk cId="3687273034" sldId="2147473350"/>
        </pc:sldMkLst>
      </pc:sldChg>
      <pc:sldChg chg="del">
        <pc:chgData name="RUFFET, Malcolm" userId="ef33cb5d-7c5f-44ea-8bd1-71f6d9da9dec" providerId="ADAL" clId="{42A6F1C5-53D2-4848-9E6F-5902AFD5EAD4}" dt="2024-02-01T16:05:05.872" v="44" actId="18676"/>
        <pc:sldMkLst>
          <pc:docMk/>
          <pc:sldMk cId="2688545207" sldId="2147473354"/>
        </pc:sldMkLst>
      </pc:sldChg>
      <pc:sldChg chg="del">
        <pc:chgData name="RUFFET, Malcolm" userId="ef33cb5d-7c5f-44ea-8bd1-71f6d9da9dec" providerId="ADAL" clId="{42A6F1C5-53D2-4848-9E6F-5902AFD5EAD4}" dt="2024-02-01T16:05:05.872" v="44" actId="18676"/>
        <pc:sldMkLst>
          <pc:docMk/>
          <pc:sldMk cId="2969736409" sldId="2147473356"/>
        </pc:sldMkLst>
      </pc:sldChg>
      <pc:sldChg chg="del">
        <pc:chgData name="RUFFET, Malcolm" userId="ef33cb5d-7c5f-44ea-8bd1-71f6d9da9dec" providerId="ADAL" clId="{42A6F1C5-53D2-4848-9E6F-5902AFD5EAD4}" dt="2024-02-01T16:05:05.872" v="44" actId="18676"/>
        <pc:sldMkLst>
          <pc:docMk/>
          <pc:sldMk cId="16386867" sldId="2147473357"/>
        </pc:sldMkLst>
      </pc:sldChg>
      <pc:sldChg chg="del">
        <pc:chgData name="RUFFET, Malcolm" userId="ef33cb5d-7c5f-44ea-8bd1-71f6d9da9dec" providerId="ADAL" clId="{42A6F1C5-53D2-4848-9E6F-5902AFD5EAD4}" dt="2024-02-01T16:05:05.872" v="44" actId="18676"/>
        <pc:sldMkLst>
          <pc:docMk/>
          <pc:sldMk cId="1440401165" sldId="2147473358"/>
        </pc:sldMkLst>
      </pc:sldChg>
      <pc:sldChg chg="del">
        <pc:chgData name="RUFFET, Malcolm" userId="ef33cb5d-7c5f-44ea-8bd1-71f6d9da9dec" providerId="ADAL" clId="{42A6F1C5-53D2-4848-9E6F-5902AFD5EAD4}" dt="2024-02-01T16:05:01.539" v="43" actId="18676"/>
        <pc:sldMkLst>
          <pc:docMk/>
          <pc:sldMk cId="496485136" sldId="2147473361"/>
        </pc:sldMkLst>
      </pc:sldChg>
      <pc:sldChg chg="del">
        <pc:chgData name="RUFFET, Malcolm" userId="ef33cb5d-7c5f-44ea-8bd1-71f6d9da9dec" providerId="ADAL" clId="{42A6F1C5-53D2-4848-9E6F-5902AFD5EAD4}" dt="2024-02-01T16:05:01.539" v="43" actId="18676"/>
        <pc:sldMkLst>
          <pc:docMk/>
          <pc:sldMk cId="2028246210" sldId="2147473362"/>
        </pc:sldMkLst>
      </pc:sldChg>
      <pc:sldChg chg="del">
        <pc:chgData name="RUFFET, Malcolm" userId="ef33cb5d-7c5f-44ea-8bd1-71f6d9da9dec" providerId="ADAL" clId="{42A6F1C5-53D2-4848-9E6F-5902AFD5EAD4}" dt="2024-02-01T16:05:01.539" v="43" actId="18676"/>
        <pc:sldMkLst>
          <pc:docMk/>
          <pc:sldMk cId="530313345" sldId="2147473363"/>
        </pc:sldMkLst>
      </pc:sldChg>
      <pc:sldChg chg="del">
        <pc:chgData name="RUFFET, Malcolm" userId="ef33cb5d-7c5f-44ea-8bd1-71f6d9da9dec" providerId="ADAL" clId="{42A6F1C5-53D2-4848-9E6F-5902AFD5EAD4}" dt="2024-02-01T16:05:01.539" v="43" actId="18676"/>
        <pc:sldMkLst>
          <pc:docMk/>
          <pc:sldMk cId="1175277218" sldId="2147473366"/>
        </pc:sldMkLst>
      </pc:sldChg>
      <pc:sldChg chg="del">
        <pc:chgData name="RUFFET, Malcolm" userId="ef33cb5d-7c5f-44ea-8bd1-71f6d9da9dec" providerId="ADAL" clId="{42A6F1C5-53D2-4848-9E6F-5902AFD5EAD4}" dt="2024-02-01T16:05:01.539" v="43" actId="18676"/>
        <pc:sldMkLst>
          <pc:docMk/>
          <pc:sldMk cId="87265205" sldId="2147473367"/>
        </pc:sldMkLst>
      </pc:sldChg>
      <pc:sldChg chg="del">
        <pc:chgData name="RUFFET, Malcolm" userId="ef33cb5d-7c5f-44ea-8bd1-71f6d9da9dec" providerId="ADAL" clId="{42A6F1C5-53D2-4848-9E6F-5902AFD5EAD4}" dt="2024-02-01T16:05:01.539" v="43" actId="18676"/>
        <pc:sldMkLst>
          <pc:docMk/>
          <pc:sldMk cId="1731333181" sldId="2147473368"/>
        </pc:sldMkLst>
      </pc:sldChg>
      <pc:sldChg chg="del">
        <pc:chgData name="RUFFET, Malcolm" userId="ef33cb5d-7c5f-44ea-8bd1-71f6d9da9dec" providerId="ADAL" clId="{42A6F1C5-53D2-4848-9E6F-5902AFD5EAD4}" dt="2024-02-01T16:05:01.539" v="43" actId="18676"/>
        <pc:sldMkLst>
          <pc:docMk/>
          <pc:sldMk cId="336335524" sldId="2147473369"/>
        </pc:sldMkLst>
      </pc:sldChg>
      <pc:sldChg chg="del">
        <pc:chgData name="RUFFET, Malcolm" userId="ef33cb5d-7c5f-44ea-8bd1-71f6d9da9dec" providerId="ADAL" clId="{42A6F1C5-53D2-4848-9E6F-5902AFD5EAD4}" dt="2024-02-01T16:05:01.539" v="43" actId="18676"/>
        <pc:sldMkLst>
          <pc:docMk/>
          <pc:sldMk cId="516539117" sldId="2147473370"/>
        </pc:sldMkLst>
      </pc:sldChg>
      <pc:sldChg chg="ord">
        <pc:chgData name="RUFFET, Malcolm" userId="ef33cb5d-7c5f-44ea-8bd1-71f6d9da9dec" providerId="ADAL" clId="{42A6F1C5-53D2-4848-9E6F-5902AFD5EAD4}" dt="2024-02-21T10:02:19.577" v="11719"/>
        <pc:sldMkLst>
          <pc:docMk/>
          <pc:sldMk cId="3483016929" sldId="2147473370"/>
        </pc:sldMkLst>
      </pc:sldChg>
      <pc:sldChg chg="del">
        <pc:chgData name="RUFFET, Malcolm" userId="ef33cb5d-7c5f-44ea-8bd1-71f6d9da9dec" providerId="ADAL" clId="{42A6F1C5-53D2-4848-9E6F-5902AFD5EAD4}" dt="2024-02-01T16:05:01.539" v="43" actId="18676"/>
        <pc:sldMkLst>
          <pc:docMk/>
          <pc:sldMk cId="965486252" sldId="2147473371"/>
        </pc:sldMkLst>
      </pc:sldChg>
      <pc:sldChg chg="del">
        <pc:chgData name="RUFFET, Malcolm" userId="ef33cb5d-7c5f-44ea-8bd1-71f6d9da9dec" providerId="ADAL" clId="{42A6F1C5-53D2-4848-9E6F-5902AFD5EAD4}" dt="2024-02-01T16:04:53.909" v="40" actId="47"/>
        <pc:sldMkLst>
          <pc:docMk/>
          <pc:sldMk cId="2893339127" sldId="2147473373"/>
        </pc:sldMkLst>
      </pc:sldChg>
      <pc:sldChg chg="del">
        <pc:chgData name="RUFFET, Malcolm" userId="ef33cb5d-7c5f-44ea-8bd1-71f6d9da9dec" providerId="ADAL" clId="{42A6F1C5-53D2-4848-9E6F-5902AFD5EAD4}" dt="2024-02-01T16:05:01.539" v="43" actId="18676"/>
        <pc:sldMkLst>
          <pc:docMk/>
          <pc:sldMk cId="1416816708" sldId="2147473375"/>
        </pc:sldMkLst>
      </pc:sldChg>
      <pc:sldChg chg="del">
        <pc:chgData name="RUFFET, Malcolm" userId="ef33cb5d-7c5f-44ea-8bd1-71f6d9da9dec" providerId="ADAL" clId="{42A6F1C5-53D2-4848-9E6F-5902AFD5EAD4}" dt="2024-02-01T16:05:01.539" v="43" actId="18676"/>
        <pc:sldMkLst>
          <pc:docMk/>
          <pc:sldMk cId="3998572936" sldId="2147473377"/>
        </pc:sldMkLst>
      </pc:sldChg>
      <pc:sldChg chg="del">
        <pc:chgData name="RUFFET, Malcolm" userId="ef33cb5d-7c5f-44ea-8bd1-71f6d9da9dec" providerId="ADAL" clId="{42A6F1C5-53D2-4848-9E6F-5902AFD5EAD4}" dt="2024-02-01T16:05:01.539" v="43" actId="18676"/>
        <pc:sldMkLst>
          <pc:docMk/>
          <pc:sldMk cId="1821336156" sldId="2147473378"/>
        </pc:sldMkLst>
      </pc:sldChg>
      <pc:sldChg chg="del">
        <pc:chgData name="RUFFET, Malcolm" userId="ef33cb5d-7c5f-44ea-8bd1-71f6d9da9dec" providerId="ADAL" clId="{42A6F1C5-53D2-4848-9E6F-5902AFD5EAD4}" dt="2024-02-01T16:05:01.539" v="43" actId="18676"/>
        <pc:sldMkLst>
          <pc:docMk/>
          <pc:sldMk cId="3229993278" sldId="2147473379"/>
        </pc:sldMkLst>
      </pc:sldChg>
      <pc:sldChg chg="del">
        <pc:chgData name="RUFFET, Malcolm" userId="ef33cb5d-7c5f-44ea-8bd1-71f6d9da9dec" providerId="ADAL" clId="{42A6F1C5-53D2-4848-9E6F-5902AFD5EAD4}" dt="2024-02-01T16:05:01.539" v="43" actId="18676"/>
        <pc:sldMkLst>
          <pc:docMk/>
          <pc:sldMk cId="3019085243" sldId="2147473380"/>
        </pc:sldMkLst>
      </pc:sldChg>
      <pc:sldChg chg="addSp delSp modSp add del mod setBg modClrScheme chgLayout">
        <pc:chgData name="RUFFET, Malcolm" userId="ef33cb5d-7c5f-44ea-8bd1-71f6d9da9dec" providerId="ADAL" clId="{42A6F1C5-53D2-4848-9E6F-5902AFD5EAD4}" dt="2024-02-22T13:59:41.732" v="12669" actId="47"/>
        <pc:sldMkLst>
          <pc:docMk/>
          <pc:sldMk cId="3995742345" sldId="2147473380"/>
        </pc:sldMkLst>
        <pc:spChg chg="mod ord">
          <ac:chgData name="RUFFET, Malcolm" userId="ef33cb5d-7c5f-44ea-8bd1-71f6d9da9dec" providerId="ADAL" clId="{42A6F1C5-53D2-4848-9E6F-5902AFD5EAD4}" dt="2024-02-22T13:56:55.382" v="12640" actId="700"/>
          <ac:spMkLst>
            <pc:docMk/>
            <pc:sldMk cId="3995742345" sldId="2147473380"/>
            <ac:spMk id="3" creationId="{504CDE51-DE7F-98FA-2E65-6B40B23099C3}"/>
          </ac:spMkLst>
        </pc:spChg>
        <pc:spChg chg="mod">
          <ac:chgData name="RUFFET, Malcolm" userId="ef33cb5d-7c5f-44ea-8bd1-71f6d9da9dec" providerId="ADAL" clId="{42A6F1C5-53D2-4848-9E6F-5902AFD5EAD4}" dt="2024-02-22T13:55:35.546" v="12635" actId="1076"/>
          <ac:spMkLst>
            <pc:docMk/>
            <pc:sldMk cId="3995742345" sldId="2147473380"/>
            <ac:spMk id="5" creationId="{B6B6F32C-A67F-A7CA-BE33-31E08DE725A7}"/>
          </ac:spMkLst>
        </pc:spChg>
        <pc:spChg chg="mod">
          <ac:chgData name="RUFFET, Malcolm" userId="ef33cb5d-7c5f-44ea-8bd1-71f6d9da9dec" providerId="ADAL" clId="{42A6F1C5-53D2-4848-9E6F-5902AFD5EAD4}" dt="2024-02-22T13:55:35.546" v="12635" actId="1076"/>
          <ac:spMkLst>
            <pc:docMk/>
            <pc:sldMk cId="3995742345" sldId="2147473380"/>
            <ac:spMk id="6" creationId="{B604017E-3CB7-F143-5244-31FBA6844BE0}"/>
          </ac:spMkLst>
        </pc:spChg>
        <pc:spChg chg="mod">
          <ac:chgData name="RUFFET, Malcolm" userId="ef33cb5d-7c5f-44ea-8bd1-71f6d9da9dec" providerId="ADAL" clId="{42A6F1C5-53D2-4848-9E6F-5902AFD5EAD4}" dt="2024-02-22T13:55:35.546" v="12635" actId="1076"/>
          <ac:spMkLst>
            <pc:docMk/>
            <pc:sldMk cId="3995742345" sldId="2147473380"/>
            <ac:spMk id="7" creationId="{3D7D4D0A-CAF2-370A-8EEE-5090246AF4C2}"/>
          </ac:spMkLst>
        </pc:spChg>
        <pc:spChg chg="mod">
          <ac:chgData name="RUFFET, Malcolm" userId="ef33cb5d-7c5f-44ea-8bd1-71f6d9da9dec" providerId="ADAL" clId="{42A6F1C5-53D2-4848-9E6F-5902AFD5EAD4}" dt="2024-02-22T13:55:35.546" v="12635" actId="1076"/>
          <ac:spMkLst>
            <pc:docMk/>
            <pc:sldMk cId="3995742345" sldId="2147473380"/>
            <ac:spMk id="8" creationId="{7822CDDE-3CD6-884A-C389-6BE089E61344}"/>
          </ac:spMkLst>
        </pc:spChg>
        <pc:spChg chg="mod">
          <ac:chgData name="RUFFET, Malcolm" userId="ef33cb5d-7c5f-44ea-8bd1-71f6d9da9dec" providerId="ADAL" clId="{42A6F1C5-53D2-4848-9E6F-5902AFD5EAD4}" dt="2024-02-22T13:55:35.546" v="12635" actId="1076"/>
          <ac:spMkLst>
            <pc:docMk/>
            <pc:sldMk cId="3995742345" sldId="2147473380"/>
            <ac:spMk id="9" creationId="{45143A21-AE59-F731-ECEF-A9EC3C34930E}"/>
          </ac:spMkLst>
        </pc:spChg>
        <pc:spChg chg="mod">
          <ac:chgData name="RUFFET, Malcolm" userId="ef33cb5d-7c5f-44ea-8bd1-71f6d9da9dec" providerId="ADAL" clId="{42A6F1C5-53D2-4848-9E6F-5902AFD5EAD4}" dt="2024-02-22T13:55:35.546" v="12635" actId="1076"/>
          <ac:spMkLst>
            <pc:docMk/>
            <pc:sldMk cId="3995742345" sldId="2147473380"/>
            <ac:spMk id="10" creationId="{3CD84302-C2DF-2F5C-35B0-F4E0D57DD4A5}"/>
          </ac:spMkLst>
        </pc:spChg>
        <pc:spChg chg="mod">
          <ac:chgData name="RUFFET, Malcolm" userId="ef33cb5d-7c5f-44ea-8bd1-71f6d9da9dec" providerId="ADAL" clId="{42A6F1C5-53D2-4848-9E6F-5902AFD5EAD4}" dt="2024-02-22T13:55:35.546" v="12635" actId="1076"/>
          <ac:spMkLst>
            <pc:docMk/>
            <pc:sldMk cId="3995742345" sldId="2147473380"/>
            <ac:spMk id="11" creationId="{85A868D0-B0DE-A192-C452-68CD1FB9F882}"/>
          </ac:spMkLst>
        </pc:spChg>
        <pc:spChg chg="mod">
          <ac:chgData name="RUFFET, Malcolm" userId="ef33cb5d-7c5f-44ea-8bd1-71f6d9da9dec" providerId="ADAL" clId="{42A6F1C5-53D2-4848-9E6F-5902AFD5EAD4}" dt="2024-02-22T13:55:35.546" v="12635" actId="1076"/>
          <ac:spMkLst>
            <pc:docMk/>
            <pc:sldMk cId="3995742345" sldId="2147473380"/>
            <ac:spMk id="12" creationId="{4BAAFDB8-465D-BBDE-4F4A-2801904E13A4}"/>
          </ac:spMkLst>
        </pc:spChg>
        <pc:spChg chg="mod">
          <ac:chgData name="RUFFET, Malcolm" userId="ef33cb5d-7c5f-44ea-8bd1-71f6d9da9dec" providerId="ADAL" clId="{42A6F1C5-53D2-4848-9E6F-5902AFD5EAD4}" dt="2024-02-22T13:55:35.546" v="12635" actId="1076"/>
          <ac:spMkLst>
            <pc:docMk/>
            <pc:sldMk cId="3995742345" sldId="2147473380"/>
            <ac:spMk id="13" creationId="{248A9370-4C59-308B-01D6-5F56D863A6AE}"/>
          </ac:spMkLst>
        </pc:spChg>
        <pc:spChg chg="mod">
          <ac:chgData name="RUFFET, Malcolm" userId="ef33cb5d-7c5f-44ea-8bd1-71f6d9da9dec" providerId="ADAL" clId="{42A6F1C5-53D2-4848-9E6F-5902AFD5EAD4}" dt="2024-02-22T13:55:35.546" v="12635" actId="1076"/>
          <ac:spMkLst>
            <pc:docMk/>
            <pc:sldMk cId="3995742345" sldId="2147473380"/>
            <ac:spMk id="14" creationId="{9CF90091-E86F-740C-36DF-801F460F30ED}"/>
          </ac:spMkLst>
        </pc:spChg>
        <pc:spChg chg="mod">
          <ac:chgData name="RUFFET, Malcolm" userId="ef33cb5d-7c5f-44ea-8bd1-71f6d9da9dec" providerId="ADAL" clId="{42A6F1C5-53D2-4848-9E6F-5902AFD5EAD4}" dt="2024-02-22T13:55:35.546" v="12635" actId="1076"/>
          <ac:spMkLst>
            <pc:docMk/>
            <pc:sldMk cId="3995742345" sldId="2147473380"/>
            <ac:spMk id="15" creationId="{75D2DF8B-96A2-61D4-ACB3-75C99CA7E7CD}"/>
          </ac:spMkLst>
        </pc:spChg>
        <pc:spChg chg="mod">
          <ac:chgData name="RUFFET, Malcolm" userId="ef33cb5d-7c5f-44ea-8bd1-71f6d9da9dec" providerId="ADAL" clId="{42A6F1C5-53D2-4848-9E6F-5902AFD5EAD4}" dt="2024-02-22T13:55:35.546" v="12635" actId="1076"/>
          <ac:spMkLst>
            <pc:docMk/>
            <pc:sldMk cId="3995742345" sldId="2147473380"/>
            <ac:spMk id="16" creationId="{31425CE1-8073-039D-67D0-1507322A74F9}"/>
          </ac:spMkLst>
        </pc:spChg>
        <pc:spChg chg="mod">
          <ac:chgData name="RUFFET, Malcolm" userId="ef33cb5d-7c5f-44ea-8bd1-71f6d9da9dec" providerId="ADAL" clId="{42A6F1C5-53D2-4848-9E6F-5902AFD5EAD4}" dt="2024-02-22T13:55:35.546" v="12635" actId="1076"/>
          <ac:spMkLst>
            <pc:docMk/>
            <pc:sldMk cId="3995742345" sldId="2147473380"/>
            <ac:spMk id="17" creationId="{2180E956-A79C-CEB6-CD99-BA3C517144E3}"/>
          </ac:spMkLst>
        </pc:spChg>
        <pc:spChg chg="mod">
          <ac:chgData name="RUFFET, Malcolm" userId="ef33cb5d-7c5f-44ea-8bd1-71f6d9da9dec" providerId="ADAL" clId="{42A6F1C5-53D2-4848-9E6F-5902AFD5EAD4}" dt="2024-02-22T13:55:35.546" v="12635" actId="1076"/>
          <ac:spMkLst>
            <pc:docMk/>
            <pc:sldMk cId="3995742345" sldId="2147473380"/>
            <ac:spMk id="18" creationId="{57A576FB-B0EA-A0F1-822C-4BB225320A97}"/>
          </ac:spMkLst>
        </pc:spChg>
        <pc:spChg chg="add del mod ord">
          <ac:chgData name="RUFFET, Malcolm" userId="ef33cb5d-7c5f-44ea-8bd1-71f6d9da9dec" providerId="ADAL" clId="{42A6F1C5-53D2-4848-9E6F-5902AFD5EAD4}" dt="2024-02-22T13:55:23.940" v="12631" actId="478"/>
          <ac:spMkLst>
            <pc:docMk/>
            <pc:sldMk cId="3995742345" sldId="2147473380"/>
            <ac:spMk id="19" creationId="{0708422F-D778-5A8D-5BC6-A9A79E807B52}"/>
          </ac:spMkLst>
        </pc:spChg>
        <pc:spChg chg="add del mod ord">
          <ac:chgData name="RUFFET, Malcolm" userId="ef33cb5d-7c5f-44ea-8bd1-71f6d9da9dec" providerId="ADAL" clId="{42A6F1C5-53D2-4848-9E6F-5902AFD5EAD4}" dt="2024-02-22T13:56:48.483" v="12639" actId="478"/>
          <ac:spMkLst>
            <pc:docMk/>
            <pc:sldMk cId="3995742345" sldId="2147473380"/>
            <ac:spMk id="20" creationId="{BFCE054A-9C00-1B34-68FB-70739CF61E57}"/>
          </ac:spMkLst>
        </pc:spChg>
        <pc:spChg chg="add mod ord">
          <ac:chgData name="RUFFET, Malcolm" userId="ef33cb5d-7c5f-44ea-8bd1-71f6d9da9dec" providerId="ADAL" clId="{42A6F1C5-53D2-4848-9E6F-5902AFD5EAD4}" dt="2024-02-22T13:56:55.382" v="12640" actId="700"/>
          <ac:spMkLst>
            <pc:docMk/>
            <pc:sldMk cId="3995742345" sldId="2147473380"/>
            <ac:spMk id="21" creationId="{64D124C7-6256-620C-1BA0-D95BE8387336}"/>
          </ac:spMkLst>
        </pc:spChg>
        <pc:grpChg chg="mod">
          <ac:chgData name="RUFFET, Malcolm" userId="ef33cb5d-7c5f-44ea-8bd1-71f6d9da9dec" providerId="ADAL" clId="{42A6F1C5-53D2-4848-9E6F-5902AFD5EAD4}" dt="2024-02-22T13:55:35.546" v="12635" actId="1076"/>
          <ac:grpSpMkLst>
            <pc:docMk/>
            <pc:sldMk cId="3995742345" sldId="2147473380"/>
            <ac:grpSpMk id="25" creationId="{BE99DB72-206F-2B8E-AEEA-473E6EEBDB7F}"/>
          </ac:grpSpMkLst>
        </pc:grpChg>
        <pc:picChg chg="del">
          <ac:chgData name="RUFFET, Malcolm" userId="ef33cb5d-7c5f-44ea-8bd1-71f6d9da9dec" providerId="ADAL" clId="{42A6F1C5-53D2-4848-9E6F-5902AFD5EAD4}" dt="2024-02-22T13:55:50.855" v="12636" actId="478"/>
          <ac:picMkLst>
            <pc:docMk/>
            <pc:sldMk cId="3995742345" sldId="2147473380"/>
            <ac:picMk id="2" creationId="{487A6976-208B-5A21-9CC6-FE7E8D7E2647}"/>
          </ac:picMkLst>
        </pc:picChg>
        <pc:picChg chg="mod">
          <ac:chgData name="RUFFET, Malcolm" userId="ef33cb5d-7c5f-44ea-8bd1-71f6d9da9dec" providerId="ADAL" clId="{42A6F1C5-53D2-4848-9E6F-5902AFD5EAD4}" dt="2024-02-22T13:55:35.546" v="12635" actId="1076"/>
          <ac:picMkLst>
            <pc:docMk/>
            <pc:sldMk cId="3995742345" sldId="2147473380"/>
            <ac:picMk id="4" creationId="{E833CE9D-F93D-74AB-4D85-FBDE6906ADA3}"/>
          </ac:picMkLst>
        </pc:picChg>
      </pc:sldChg>
      <pc:sldChg chg="del">
        <pc:chgData name="RUFFET, Malcolm" userId="ef33cb5d-7c5f-44ea-8bd1-71f6d9da9dec" providerId="ADAL" clId="{42A6F1C5-53D2-4848-9E6F-5902AFD5EAD4}" dt="2024-02-01T16:05:01.539" v="43" actId="18676"/>
        <pc:sldMkLst>
          <pc:docMk/>
          <pc:sldMk cId="1580827212" sldId="2147473381"/>
        </pc:sldMkLst>
      </pc:sldChg>
      <pc:sldChg chg="add del setBg">
        <pc:chgData name="RUFFET, Malcolm" userId="ef33cb5d-7c5f-44ea-8bd1-71f6d9da9dec" providerId="ADAL" clId="{42A6F1C5-53D2-4848-9E6F-5902AFD5EAD4}" dt="2024-02-22T14:00:20.436" v="12676" actId="47"/>
        <pc:sldMkLst>
          <pc:docMk/>
          <pc:sldMk cId="2915657616" sldId="2147473381"/>
        </pc:sldMkLst>
      </pc:sldChg>
      <pc:sldChg chg="del">
        <pc:chgData name="RUFFET, Malcolm" userId="ef33cb5d-7c5f-44ea-8bd1-71f6d9da9dec" providerId="ADAL" clId="{42A6F1C5-53D2-4848-9E6F-5902AFD5EAD4}" dt="2024-02-01T16:05:01.539" v="43" actId="18676"/>
        <pc:sldMkLst>
          <pc:docMk/>
          <pc:sldMk cId="1263828305" sldId="2147473382"/>
        </pc:sldMkLst>
      </pc:sldChg>
      <pc:sldChg chg="del">
        <pc:chgData name="RUFFET, Malcolm" userId="ef33cb5d-7c5f-44ea-8bd1-71f6d9da9dec" providerId="ADAL" clId="{42A6F1C5-53D2-4848-9E6F-5902AFD5EAD4}" dt="2024-02-01T16:04:52.461" v="32" actId="47"/>
        <pc:sldMkLst>
          <pc:docMk/>
          <pc:sldMk cId="98196123" sldId="2147473383"/>
        </pc:sldMkLst>
      </pc:sldChg>
      <pc:sldChg chg="add del setBg">
        <pc:chgData name="RUFFET, Malcolm" userId="ef33cb5d-7c5f-44ea-8bd1-71f6d9da9dec" providerId="ADAL" clId="{42A6F1C5-53D2-4848-9E6F-5902AFD5EAD4}" dt="2024-02-22T14:01:51.709" v="12688" actId="47"/>
        <pc:sldMkLst>
          <pc:docMk/>
          <pc:sldMk cId="917626563" sldId="2147473383"/>
        </pc:sldMkLst>
      </pc:sldChg>
      <pc:sldChg chg="del">
        <pc:chgData name="RUFFET, Malcolm" userId="ef33cb5d-7c5f-44ea-8bd1-71f6d9da9dec" providerId="ADAL" clId="{42A6F1C5-53D2-4848-9E6F-5902AFD5EAD4}" dt="2024-02-01T16:04:15.054" v="20" actId="47"/>
        <pc:sldMkLst>
          <pc:docMk/>
          <pc:sldMk cId="1618988028" sldId="2147473386"/>
        </pc:sldMkLst>
      </pc:sldChg>
      <pc:sldChg chg="del mod ord modShow">
        <pc:chgData name="RUFFET, Malcolm" userId="ef33cb5d-7c5f-44ea-8bd1-71f6d9da9dec" providerId="ADAL" clId="{42A6F1C5-53D2-4848-9E6F-5902AFD5EAD4}" dt="2024-02-21T09:44:00.265" v="11389" actId="47"/>
        <pc:sldMkLst>
          <pc:docMk/>
          <pc:sldMk cId="2232830086" sldId="2147473387"/>
        </pc:sldMkLst>
      </pc:sldChg>
      <pc:sldChg chg="addSp modSp del mod">
        <pc:chgData name="RUFFET, Malcolm" userId="ef33cb5d-7c5f-44ea-8bd1-71f6d9da9dec" providerId="ADAL" clId="{42A6F1C5-53D2-4848-9E6F-5902AFD5EAD4}" dt="2024-02-21T15:19:52.699" v="12580" actId="2696"/>
        <pc:sldMkLst>
          <pc:docMk/>
          <pc:sldMk cId="1155232099" sldId="2147473388"/>
        </pc:sldMkLst>
        <pc:spChg chg="mod">
          <ac:chgData name="RUFFET, Malcolm" userId="ef33cb5d-7c5f-44ea-8bd1-71f6d9da9dec" providerId="ADAL" clId="{42A6F1C5-53D2-4848-9E6F-5902AFD5EAD4}" dt="2024-02-01T16:02:04.550" v="19" actId="20577"/>
          <ac:spMkLst>
            <pc:docMk/>
            <pc:sldMk cId="1155232099" sldId="2147473388"/>
            <ac:spMk id="3" creationId="{64AF85DE-B779-2576-4449-1CFA92B313AB}"/>
          </ac:spMkLst>
        </pc:spChg>
        <pc:spChg chg="add mod">
          <ac:chgData name="RUFFET, Malcolm" userId="ef33cb5d-7c5f-44ea-8bd1-71f6d9da9dec" providerId="ADAL" clId="{42A6F1C5-53D2-4848-9E6F-5902AFD5EAD4}" dt="2024-02-08T15:35:02.693" v="4958" actId="1076"/>
          <ac:spMkLst>
            <pc:docMk/>
            <pc:sldMk cId="1155232099" sldId="2147473388"/>
            <ac:spMk id="13" creationId="{7659D372-ECEF-AF4A-B388-7880DD80F36F}"/>
          </ac:spMkLst>
        </pc:spChg>
      </pc:sldChg>
      <pc:sldChg chg="addSp modSp add del mod">
        <pc:chgData name="RUFFET, Malcolm" userId="ef33cb5d-7c5f-44ea-8bd1-71f6d9da9dec" providerId="ADAL" clId="{42A6F1C5-53D2-4848-9E6F-5902AFD5EAD4}" dt="2024-02-21T10:00:41.940" v="11700" actId="47"/>
        <pc:sldMkLst>
          <pc:docMk/>
          <pc:sldMk cId="4171934098" sldId="2147473389"/>
        </pc:sldMkLst>
        <pc:spChg chg="add mod">
          <ac:chgData name="RUFFET, Malcolm" userId="ef33cb5d-7c5f-44ea-8bd1-71f6d9da9dec" providerId="ADAL" clId="{42A6F1C5-53D2-4848-9E6F-5902AFD5EAD4}" dt="2024-02-21T09:58:36.252" v="11659" actId="13926"/>
          <ac:spMkLst>
            <pc:docMk/>
            <pc:sldMk cId="4171934098" sldId="2147473389"/>
            <ac:spMk id="2" creationId="{389C3D8E-A532-314F-D660-EEA5B836D71C}"/>
          </ac:spMkLst>
        </pc:spChg>
        <pc:spChg chg="mod">
          <ac:chgData name="RUFFET, Malcolm" userId="ef33cb5d-7c5f-44ea-8bd1-71f6d9da9dec" providerId="ADAL" clId="{42A6F1C5-53D2-4848-9E6F-5902AFD5EAD4}" dt="2024-02-01T16:15:09.923" v="617" actId="1076"/>
          <ac:spMkLst>
            <pc:docMk/>
            <pc:sldMk cId="4171934098" sldId="2147473389"/>
            <ac:spMk id="7" creationId="{130F58C5-2976-4846-A915-64CB73CFBA97}"/>
          </ac:spMkLst>
        </pc:spChg>
        <pc:spChg chg="mod">
          <ac:chgData name="RUFFET, Malcolm" userId="ef33cb5d-7c5f-44ea-8bd1-71f6d9da9dec" providerId="ADAL" clId="{42A6F1C5-53D2-4848-9E6F-5902AFD5EAD4}" dt="2024-02-01T16:14:25.301" v="610" actId="404"/>
          <ac:spMkLst>
            <pc:docMk/>
            <pc:sldMk cId="4171934098" sldId="2147473389"/>
            <ac:spMk id="9" creationId="{9AD8FA80-D5E3-4090-937C-AA9F9330F5A6}"/>
          </ac:spMkLst>
        </pc:spChg>
        <pc:spChg chg="mod">
          <ac:chgData name="RUFFET, Malcolm" userId="ef33cb5d-7c5f-44ea-8bd1-71f6d9da9dec" providerId="ADAL" clId="{42A6F1C5-53D2-4848-9E6F-5902AFD5EAD4}" dt="2024-02-01T16:15:05.119" v="616" actId="1076"/>
          <ac:spMkLst>
            <pc:docMk/>
            <pc:sldMk cId="4171934098" sldId="2147473389"/>
            <ac:spMk id="11" creationId="{8B14E531-C1B7-41F2-88A2-8F7570051567}"/>
          </ac:spMkLst>
        </pc:spChg>
        <pc:spChg chg="mod">
          <ac:chgData name="RUFFET, Malcolm" userId="ef33cb5d-7c5f-44ea-8bd1-71f6d9da9dec" providerId="ADAL" clId="{42A6F1C5-53D2-4848-9E6F-5902AFD5EAD4}" dt="2024-02-01T16:24:49.696" v="694" actId="403"/>
          <ac:spMkLst>
            <pc:docMk/>
            <pc:sldMk cId="4171934098" sldId="2147473389"/>
            <ac:spMk id="12" creationId="{4AEAA726-51D1-4E3F-A196-B2E10D9A8CE0}"/>
          </ac:spMkLst>
        </pc:spChg>
      </pc:sldChg>
      <pc:sldChg chg="delSp modSp add del mod">
        <pc:chgData name="RUFFET, Malcolm" userId="ef33cb5d-7c5f-44ea-8bd1-71f6d9da9dec" providerId="ADAL" clId="{42A6F1C5-53D2-4848-9E6F-5902AFD5EAD4}" dt="2024-02-21T09:58:24.295" v="11657" actId="47"/>
        <pc:sldMkLst>
          <pc:docMk/>
          <pc:sldMk cId="1798602246" sldId="2147473390"/>
        </pc:sldMkLst>
        <pc:spChg chg="mod">
          <ac:chgData name="RUFFET, Malcolm" userId="ef33cb5d-7c5f-44ea-8bd1-71f6d9da9dec" providerId="ADAL" clId="{42A6F1C5-53D2-4848-9E6F-5902AFD5EAD4}" dt="2024-02-12T15:55:32.561" v="6573" actId="20577"/>
          <ac:spMkLst>
            <pc:docMk/>
            <pc:sldMk cId="1798602246" sldId="2147473390"/>
            <ac:spMk id="2" creationId="{A94A7F0D-133F-D242-8547-75DF1B0E12A5}"/>
          </ac:spMkLst>
        </pc:spChg>
        <pc:spChg chg="del mod">
          <ac:chgData name="RUFFET, Malcolm" userId="ef33cb5d-7c5f-44ea-8bd1-71f6d9da9dec" providerId="ADAL" clId="{42A6F1C5-53D2-4848-9E6F-5902AFD5EAD4}" dt="2024-02-06T12:28:38.628" v="1842" actId="478"/>
          <ac:spMkLst>
            <pc:docMk/>
            <pc:sldMk cId="1798602246" sldId="2147473390"/>
            <ac:spMk id="5" creationId="{8C5E047B-0715-16CA-9A0D-70F32433DE59}"/>
          </ac:spMkLst>
        </pc:spChg>
        <pc:spChg chg="mod">
          <ac:chgData name="RUFFET, Malcolm" userId="ef33cb5d-7c5f-44ea-8bd1-71f6d9da9dec" providerId="ADAL" clId="{42A6F1C5-53D2-4848-9E6F-5902AFD5EAD4}" dt="2024-02-12T15:55:16.558" v="6560" actId="20577"/>
          <ac:spMkLst>
            <pc:docMk/>
            <pc:sldMk cId="1798602246" sldId="2147473390"/>
            <ac:spMk id="6" creationId="{3410B81B-1313-4F02-BD86-8F01C91782BC}"/>
          </ac:spMkLst>
        </pc:spChg>
        <pc:spChg chg="mod">
          <ac:chgData name="RUFFET, Malcolm" userId="ef33cb5d-7c5f-44ea-8bd1-71f6d9da9dec" providerId="ADAL" clId="{42A6F1C5-53D2-4848-9E6F-5902AFD5EAD4}" dt="2024-02-06T12:28:34.992" v="1841" actId="20577"/>
          <ac:spMkLst>
            <pc:docMk/>
            <pc:sldMk cId="1798602246" sldId="2147473390"/>
            <ac:spMk id="7" creationId="{26DCDBB0-A2A6-4231-8635-9E2CE0C24D78}"/>
          </ac:spMkLst>
        </pc:spChg>
      </pc:sldChg>
      <pc:sldChg chg="add del setBg">
        <pc:chgData name="RUFFET, Malcolm" userId="ef33cb5d-7c5f-44ea-8bd1-71f6d9da9dec" providerId="ADAL" clId="{42A6F1C5-53D2-4848-9E6F-5902AFD5EAD4}" dt="2024-02-22T14:00:57.963" v="12681" actId="47"/>
        <pc:sldMkLst>
          <pc:docMk/>
          <pc:sldMk cId="296557617" sldId="2147473391"/>
        </pc:sldMkLst>
      </pc:sldChg>
      <pc:sldChg chg="addSp delSp modSp add del mod modShow">
        <pc:chgData name="RUFFET, Malcolm" userId="ef33cb5d-7c5f-44ea-8bd1-71f6d9da9dec" providerId="ADAL" clId="{42A6F1C5-53D2-4848-9E6F-5902AFD5EAD4}" dt="2024-02-29T10:03:18.921" v="15083" actId="47"/>
        <pc:sldMkLst>
          <pc:docMk/>
          <pc:sldMk cId="1799181414" sldId="2147478733"/>
        </pc:sldMkLst>
        <pc:spChg chg="mod">
          <ac:chgData name="RUFFET, Malcolm" userId="ef33cb5d-7c5f-44ea-8bd1-71f6d9da9dec" providerId="ADAL" clId="{42A6F1C5-53D2-4848-9E6F-5902AFD5EAD4}" dt="2024-02-01T16:16:31.212" v="621" actId="1076"/>
          <ac:spMkLst>
            <pc:docMk/>
            <pc:sldMk cId="1799181414" sldId="2147478733"/>
            <ac:spMk id="5" creationId="{DB030558-DDBB-C4AC-58CC-7F02D80FF22C}"/>
          </ac:spMkLst>
        </pc:spChg>
        <pc:graphicFrameChg chg="mod modGraphic">
          <ac:chgData name="RUFFET, Malcolm" userId="ef33cb5d-7c5f-44ea-8bd1-71f6d9da9dec" providerId="ADAL" clId="{42A6F1C5-53D2-4848-9E6F-5902AFD5EAD4}" dt="2024-02-05T10:11:22.769" v="766" actId="13926"/>
          <ac:graphicFrameMkLst>
            <pc:docMk/>
            <pc:sldMk cId="1799181414" sldId="2147478733"/>
            <ac:graphicFrameMk id="3" creationId="{35060650-FBE1-18D5-C05B-FA41C44EC928}"/>
          </ac:graphicFrameMkLst>
        </pc:graphicFrameChg>
        <pc:picChg chg="add del mod">
          <ac:chgData name="RUFFET, Malcolm" userId="ef33cb5d-7c5f-44ea-8bd1-71f6d9da9dec" providerId="ADAL" clId="{42A6F1C5-53D2-4848-9E6F-5902AFD5EAD4}" dt="2024-02-01T16:18:45.289" v="656" actId="478"/>
          <ac:picMkLst>
            <pc:docMk/>
            <pc:sldMk cId="1799181414" sldId="2147478733"/>
            <ac:picMk id="1026" creationId="{EDF2205C-D212-D8DA-B442-DA860FD4FFD6}"/>
          </ac:picMkLst>
        </pc:picChg>
        <pc:picChg chg="add mod">
          <ac:chgData name="RUFFET, Malcolm" userId="ef33cb5d-7c5f-44ea-8bd1-71f6d9da9dec" providerId="ADAL" clId="{42A6F1C5-53D2-4848-9E6F-5902AFD5EAD4}" dt="2024-02-01T16:21:38.973" v="684" actId="1076"/>
          <ac:picMkLst>
            <pc:docMk/>
            <pc:sldMk cId="1799181414" sldId="2147478733"/>
            <ac:picMk id="1028" creationId="{C997F260-8148-42C2-6148-1BEC90482DF2}"/>
          </ac:picMkLst>
        </pc:picChg>
        <pc:picChg chg="add mod">
          <ac:chgData name="RUFFET, Malcolm" userId="ef33cb5d-7c5f-44ea-8bd1-71f6d9da9dec" providerId="ADAL" clId="{42A6F1C5-53D2-4848-9E6F-5902AFD5EAD4}" dt="2024-02-01T16:21:38.973" v="684" actId="1076"/>
          <ac:picMkLst>
            <pc:docMk/>
            <pc:sldMk cId="1799181414" sldId="2147478733"/>
            <ac:picMk id="1030" creationId="{666E2C83-A7A6-F4E8-D1A1-91644F1580FE}"/>
          </ac:picMkLst>
        </pc:picChg>
        <pc:picChg chg="add mod">
          <ac:chgData name="RUFFET, Malcolm" userId="ef33cb5d-7c5f-44ea-8bd1-71f6d9da9dec" providerId="ADAL" clId="{42A6F1C5-53D2-4848-9E6F-5902AFD5EAD4}" dt="2024-02-01T16:21:38.973" v="684" actId="1076"/>
          <ac:picMkLst>
            <pc:docMk/>
            <pc:sldMk cId="1799181414" sldId="2147478733"/>
            <ac:picMk id="1032" creationId="{C4581FDA-5885-461D-0014-B517469F433D}"/>
          </ac:picMkLst>
        </pc:picChg>
      </pc:sldChg>
      <pc:sldChg chg="modSp add del mod">
        <pc:chgData name="RUFFET, Malcolm" userId="ef33cb5d-7c5f-44ea-8bd1-71f6d9da9dec" providerId="ADAL" clId="{42A6F1C5-53D2-4848-9E6F-5902AFD5EAD4}" dt="2024-02-20T14:12:41.054" v="10420" actId="47"/>
        <pc:sldMkLst>
          <pc:docMk/>
          <pc:sldMk cId="363695449" sldId="2147478734"/>
        </pc:sldMkLst>
        <pc:spChg chg="mod">
          <ac:chgData name="RUFFET, Malcolm" userId="ef33cb5d-7c5f-44ea-8bd1-71f6d9da9dec" providerId="ADAL" clId="{42A6F1C5-53D2-4848-9E6F-5902AFD5EAD4}" dt="2024-02-01T16:24:21.032" v="686" actId="1076"/>
          <ac:spMkLst>
            <pc:docMk/>
            <pc:sldMk cId="363695449" sldId="2147478734"/>
            <ac:spMk id="7" creationId="{130F58C5-2976-4846-A915-64CB73CFBA97}"/>
          </ac:spMkLst>
        </pc:spChg>
        <pc:spChg chg="mod">
          <ac:chgData name="RUFFET, Malcolm" userId="ef33cb5d-7c5f-44ea-8bd1-71f6d9da9dec" providerId="ADAL" clId="{42A6F1C5-53D2-4848-9E6F-5902AFD5EAD4}" dt="2024-02-01T16:24:31.543" v="690" actId="404"/>
          <ac:spMkLst>
            <pc:docMk/>
            <pc:sldMk cId="363695449" sldId="2147478734"/>
            <ac:spMk id="10" creationId="{72D77523-56F9-4DB0-B3F4-BCD046E94FF1}"/>
          </ac:spMkLst>
        </pc:spChg>
        <pc:spChg chg="mod">
          <ac:chgData name="RUFFET, Malcolm" userId="ef33cb5d-7c5f-44ea-8bd1-71f6d9da9dec" providerId="ADAL" clId="{42A6F1C5-53D2-4848-9E6F-5902AFD5EAD4}" dt="2024-02-01T16:24:25.999" v="688" actId="404"/>
          <ac:spMkLst>
            <pc:docMk/>
            <pc:sldMk cId="363695449" sldId="2147478734"/>
            <ac:spMk id="11" creationId="{8B14E531-C1B7-41F2-88A2-8F7570051567}"/>
          </ac:spMkLst>
        </pc:spChg>
        <pc:spChg chg="mod">
          <ac:chgData name="RUFFET, Malcolm" userId="ef33cb5d-7c5f-44ea-8bd1-71f6d9da9dec" providerId="ADAL" clId="{42A6F1C5-53D2-4848-9E6F-5902AFD5EAD4}" dt="2024-02-01T16:24:40.928" v="692" actId="403"/>
          <ac:spMkLst>
            <pc:docMk/>
            <pc:sldMk cId="363695449" sldId="2147478734"/>
            <ac:spMk id="13" creationId="{14D4E5A5-9B4A-4417-8C3F-DBDA645918ED}"/>
          </ac:spMkLst>
        </pc:spChg>
        <pc:spChg chg="mod">
          <ac:chgData name="RUFFET, Malcolm" userId="ef33cb5d-7c5f-44ea-8bd1-71f6d9da9dec" providerId="ADAL" clId="{42A6F1C5-53D2-4848-9E6F-5902AFD5EAD4}" dt="2024-02-01T16:24:40.928" v="692" actId="403"/>
          <ac:spMkLst>
            <pc:docMk/>
            <pc:sldMk cId="363695449" sldId="2147478734"/>
            <ac:spMk id="14" creationId="{340FCAD7-B6E4-4B6B-8698-EC77417F54FB}"/>
          </ac:spMkLst>
        </pc:spChg>
      </pc:sldChg>
      <pc:sldChg chg="modSp add del mod">
        <pc:chgData name="RUFFET, Malcolm" userId="ef33cb5d-7c5f-44ea-8bd1-71f6d9da9dec" providerId="ADAL" clId="{42A6F1C5-53D2-4848-9E6F-5902AFD5EAD4}" dt="2024-02-21T10:08:51.950" v="11788" actId="47"/>
        <pc:sldMkLst>
          <pc:docMk/>
          <pc:sldMk cId="45837836" sldId="2147478735"/>
        </pc:sldMkLst>
        <pc:spChg chg="mod">
          <ac:chgData name="RUFFET, Malcolm" userId="ef33cb5d-7c5f-44ea-8bd1-71f6d9da9dec" providerId="ADAL" clId="{42A6F1C5-53D2-4848-9E6F-5902AFD5EAD4}" dt="2024-02-08T15:35:16.574" v="4959" actId="1076"/>
          <ac:spMkLst>
            <pc:docMk/>
            <pc:sldMk cId="45837836" sldId="2147478735"/>
            <ac:spMk id="7" creationId="{130F58C5-2976-4846-A915-64CB73CFBA97}"/>
          </ac:spMkLst>
        </pc:spChg>
        <pc:spChg chg="mod">
          <ac:chgData name="RUFFET, Malcolm" userId="ef33cb5d-7c5f-44ea-8bd1-71f6d9da9dec" providerId="ADAL" clId="{42A6F1C5-53D2-4848-9E6F-5902AFD5EAD4}" dt="2024-02-02T08:46:40.267" v="706" actId="404"/>
          <ac:spMkLst>
            <pc:docMk/>
            <pc:sldMk cId="45837836" sldId="2147478735"/>
            <ac:spMk id="13" creationId="{14D4E5A5-9B4A-4417-8C3F-DBDA645918ED}"/>
          </ac:spMkLst>
        </pc:spChg>
        <pc:spChg chg="mod">
          <ac:chgData name="RUFFET, Malcolm" userId="ef33cb5d-7c5f-44ea-8bd1-71f6d9da9dec" providerId="ADAL" clId="{42A6F1C5-53D2-4848-9E6F-5902AFD5EAD4}" dt="2024-02-02T08:46:44.520" v="708" actId="404"/>
          <ac:spMkLst>
            <pc:docMk/>
            <pc:sldMk cId="45837836" sldId="2147478735"/>
            <ac:spMk id="14" creationId="{340FCAD7-B6E4-4B6B-8698-EC77417F54FB}"/>
          </ac:spMkLst>
        </pc:spChg>
        <pc:spChg chg="mod">
          <ac:chgData name="RUFFET, Malcolm" userId="ef33cb5d-7c5f-44ea-8bd1-71f6d9da9dec" providerId="ADAL" clId="{42A6F1C5-53D2-4848-9E6F-5902AFD5EAD4}" dt="2024-02-02T08:46:52.664" v="710" actId="403"/>
          <ac:spMkLst>
            <pc:docMk/>
            <pc:sldMk cId="45837836" sldId="2147478735"/>
            <ac:spMk id="15" creationId="{C63223A0-316A-4304-97A3-303DA6C56430}"/>
          </ac:spMkLst>
        </pc:spChg>
        <pc:spChg chg="mod">
          <ac:chgData name="RUFFET, Malcolm" userId="ef33cb5d-7c5f-44ea-8bd1-71f6d9da9dec" providerId="ADAL" clId="{42A6F1C5-53D2-4848-9E6F-5902AFD5EAD4}" dt="2024-02-02T08:46:52.664" v="710" actId="403"/>
          <ac:spMkLst>
            <pc:docMk/>
            <pc:sldMk cId="45837836" sldId="2147478735"/>
            <ac:spMk id="16" creationId="{8B618935-EA71-4D3D-8E4B-D28EFA08C9EA}"/>
          </ac:spMkLst>
        </pc:spChg>
      </pc:sldChg>
      <pc:sldChg chg="addSp delSp modSp add mod ord modClrScheme chgLayout">
        <pc:chgData name="RUFFET, Malcolm" userId="ef33cb5d-7c5f-44ea-8bd1-71f6d9da9dec" providerId="ADAL" clId="{42A6F1C5-53D2-4848-9E6F-5902AFD5EAD4}" dt="2024-02-21T10:04:50.106" v="11756"/>
        <pc:sldMkLst>
          <pc:docMk/>
          <pc:sldMk cId="2936182477" sldId="2147478736"/>
        </pc:sldMkLst>
        <pc:spChg chg="del">
          <ac:chgData name="RUFFET, Malcolm" userId="ef33cb5d-7c5f-44ea-8bd1-71f6d9da9dec" providerId="ADAL" clId="{42A6F1C5-53D2-4848-9E6F-5902AFD5EAD4}" dt="2024-02-21T10:03:02.434" v="11723" actId="478"/>
          <ac:spMkLst>
            <pc:docMk/>
            <pc:sldMk cId="2936182477" sldId="2147478736"/>
            <ac:spMk id="4" creationId="{4779130A-DD80-453E-AF75-85DFCEE3CAF9}"/>
          </ac:spMkLst>
        </pc:spChg>
        <pc:spChg chg="del">
          <ac:chgData name="RUFFET, Malcolm" userId="ef33cb5d-7c5f-44ea-8bd1-71f6d9da9dec" providerId="ADAL" clId="{42A6F1C5-53D2-4848-9E6F-5902AFD5EAD4}" dt="2024-02-21T10:03:02.434" v="11723" actId="478"/>
          <ac:spMkLst>
            <pc:docMk/>
            <pc:sldMk cId="2936182477" sldId="2147478736"/>
            <ac:spMk id="5" creationId="{17806A54-E1FB-4AB7-9CEF-9CC8144BAF1D}"/>
          </ac:spMkLst>
        </pc:spChg>
        <pc:spChg chg="del">
          <ac:chgData name="RUFFET, Malcolm" userId="ef33cb5d-7c5f-44ea-8bd1-71f6d9da9dec" providerId="ADAL" clId="{42A6F1C5-53D2-4848-9E6F-5902AFD5EAD4}" dt="2024-02-21T10:03:02.434" v="11723" actId="478"/>
          <ac:spMkLst>
            <pc:docMk/>
            <pc:sldMk cId="2936182477" sldId="2147478736"/>
            <ac:spMk id="7" creationId="{130F58C5-2976-4846-A915-64CB73CFBA97}"/>
          </ac:spMkLst>
        </pc:spChg>
        <pc:spChg chg="mod ord">
          <ac:chgData name="RUFFET, Malcolm" userId="ef33cb5d-7c5f-44ea-8bd1-71f6d9da9dec" providerId="ADAL" clId="{42A6F1C5-53D2-4848-9E6F-5902AFD5EAD4}" dt="2024-02-21T10:04:38.411" v="11755" actId="1076"/>
          <ac:spMkLst>
            <pc:docMk/>
            <pc:sldMk cId="2936182477" sldId="2147478736"/>
            <ac:spMk id="8" creationId="{A8741D12-6817-404C-B9DE-65BA88D46907}"/>
          </ac:spMkLst>
        </pc:spChg>
        <pc:spChg chg="del">
          <ac:chgData name="RUFFET, Malcolm" userId="ef33cb5d-7c5f-44ea-8bd1-71f6d9da9dec" providerId="ADAL" clId="{42A6F1C5-53D2-4848-9E6F-5902AFD5EAD4}" dt="2024-02-21T10:03:02.434" v="11723" actId="478"/>
          <ac:spMkLst>
            <pc:docMk/>
            <pc:sldMk cId="2936182477" sldId="2147478736"/>
            <ac:spMk id="9" creationId="{9AD8FA80-D5E3-4090-937C-AA9F9330F5A6}"/>
          </ac:spMkLst>
        </pc:spChg>
        <pc:spChg chg="del">
          <ac:chgData name="RUFFET, Malcolm" userId="ef33cb5d-7c5f-44ea-8bd1-71f6d9da9dec" providerId="ADAL" clId="{42A6F1C5-53D2-4848-9E6F-5902AFD5EAD4}" dt="2024-02-21T10:03:02.434" v="11723" actId="478"/>
          <ac:spMkLst>
            <pc:docMk/>
            <pc:sldMk cId="2936182477" sldId="2147478736"/>
            <ac:spMk id="10" creationId="{72D77523-56F9-4DB0-B3F4-BCD046E94FF1}"/>
          </ac:spMkLst>
        </pc:spChg>
        <pc:spChg chg="del">
          <ac:chgData name="RUFFET, Malcolm" userId="ef33cb5d-7c5f-44ea-8bd1-71f6d9da9dec" providerId="ADAL" clId="{42A6F1C5-53D2-4848-9E6F-5902AFD5EAD4}" dt="2024-02-21T10:03:02.434" v="11723" actId="478"/>
          <ac:spMkLst>
            <pc:docMk/>
            <pc:sldMk cId="2936182477" sldId="2147478736"/>
            <ac:spMk id="11" creationId="{8B14E531-C1B7-41F2-88A2-8F7570051567}"/>
          </ac:spMkLst>
        </pc:spChg>
        <pc:spChg chg="del">
          <ac:chgData name="RUFFET, Malcolm" userId="ef33cb5d-7c5f-44ea-8bd1-71f6d9da9dec" providerId="ADAL" clId="{42A6F1C5-53D2-4848-9E6F-5902AFD5EAD4}" dt="2024-02-21T10:03:02.434" v="11723" actId="478"/>
          <ac:spMkLst>
            <pc:docMk/>
            <pc:sldMk cId="2936182477" sldId="2147478736"/>
            <ac:spMk id="12" creationId="{4AEAA726-51D1-4E3F-A196-B2E10D9A8CE0}"/>
          </ac:spMkLst>
        </pc:spChg>
        <pc:spChg chg="del">
          <ac:chgData name="RUFFET, Malcolm" userId="ef33cb5d-7c5f-44ea-8bd1-71f6d9da9dec" providerId="ADAL" clId="{42A6F1C5-53D2-4848-9E6F-5902AFD5EAD4}" dt="2024-02-21T10:03:02.434" v="11723" actId="478"/>
          <ac:spMkLst>
            <pc:docMk/>
            <pc:sldMk cId="2936182477" sldId="2147478736"/>
            <ac:spMk id="13" creationId="{14D4E5A5-9B4A-4417-8C3F-DBDA645918ED}"/>
          </ac:spMkLst>
        </pc:spChg>
        <pc:spChg chg="del">
          <ac:chgData name="RUFFET, Malcolm" userId="ef33cb5d-7c5f-44ea-8bd1-71f6d9da9dec" providerId="ADAL" clId="{42A6F1C5-53D2-4848-9E6F-5902AFD5EAD4}" dt="2024-02-21T10:03:02.434" v="11723" actId="478"/>
          <ac:spMkLst>
            <pc:docMk/>
            <pc:sldMk cId="2936182477" sldId="2147478736"/>
            <ac:spMk id="14" creationId="{340FCAD7-B6E4-4B6B-8698-EC77417F54FB}"/>
          </ac:spMkLst>
        </pc:spChg>
        <pc:spChg chg="del">
          <ac:chgData name="RUFFET, Malcolm" userId="ef33cb5d-7c5f-44ea-8bd1-71f6d9da9dec" providerId="ADAL" clId="{42A6F1C5-53D2-4848-9E6F-5902AFD5EAD4}" dt="2024-02-21T10:03:02.434" v="11723" actId="478"/>
          <ac:spMkLst>
            <pc:docMk/>
            <pc:sldMk cId="2936182477" sldId="2147478736"/>
            <ac:spMk id="15" creationId="{C63223A0-316A-4304-97A3-303DA6C56430}"/>
          </ac:spMkLst>
        </pc:spChg>
        <pc:spChg chg="del">
          <ac:chgData name="RUFFET, Malcolm" userId="ef33cb5d-7c5f-44ea-8bd1-71f6d9da9dec" providerId="ADAL" clId="{42A6F1C5-53D2-4848-9E6F-5902AFD5EAD4}" dt="2024-02-21T10:03:02.434" v="11723" actId="478"/>
          <ac:spMkLst>
            <pc:docMk/>
            <pc:sldMk cId="2936182477" sldId="2147478736"/>
            <ac:spMk id="16" creationId="{8B618935-EA71-4D3D-8E4B-D28EFA08C9EA}"/>
          </ac:spMkLst>
        </pc:spChg>
        <pc:spChg chg="del">
          <ac:chgData name="RUFFET, Malcolm" userId="ef33cb5d-7c5f-44ea-8bd1-71f6d9da9dec" providerId="ADAL" clId="{42A6F1C5-53D2-4848-9E6F-5902AFD5EAD4}" dt="2024-02-21T10:03:02.434" v="11723" actId="478"/>
          <ac:spMkLst>
            <pc:docMk/>
            <pc:sldMk cId="2936182477" sldId="2147478736"/>
            <ac:spMk id="19" creationId="{C85B4B92-06DB-4283-984A-AE362D5FDB2A}"/>
          </ac:spMkLst>
        </pc:spChg>
        <pc:spChg chg="del">
          <ac:chgData name="RUFFET, Malcolm" userId="ef33cb5d-7c5f-44ea-8bd1-71f6d9da9dec" providerId="ADAL" clId="{42A6F1C5-53D2-4848-9E6F-5902AFD5EAD4}" dt="2024-02-21T10:03:02.434" v="11723" actId="478"/>
          <ac:spMkLst>
            <pc:docMk/>
            <pc:sldMk cId="2936182477" sldId="2147478736"/>
            <ac:spMk id="20" creationId="{62E08FDF-C30E-4F76-B5AC-A03FFE19972E}"/>
          </ac:spMkLst>
        </pc:spChg>
        <pc:picChg chg="add mod">
          <ac:chgData name="RUFFET, Malcolm" userId="ef33cb5d-7c5f-44ea-8bd1-71f6d9da9dec" providerId="ADAL" clId="{42A6F1C5-53D2-4848-9E6F-5902AFD5EAD4}" dt="2024-02-21T10:04:50.106" v="11756"/>
          <ac:picMkLst>
            <pc:docMk/>
            <pc:sldMk cId="2936182477" sldId="2147478736"/>
            <ac:picMk id="6146" creationId="{C079166E-73C2-BF08-FE09-DA918FCC593E}"/>
          </ac:picMkLst>
        </pc:picChg>
      </pc:sldChg>
      <pc:sldChg chg="addSp delSp modSp add del mod ord modShow modCm">
        <pc:chgData name="RUFFET, Malcolm" userId="ef33cb5d-7c5f-44ea-8bd1-71f6d9da9dec" providerId="ADAL" clId="{42A6F1C5-53D2-4848-9E6F-5902AFD5EAD4}" dt="2024-02-21T10:07:56.413" v="11784" actId="47"/>
        <pc:sldMkLst>
          <pc:docMk/>
          <pc:sldMk cId="1787031314" sldId="2147478755"/>
        </pc:sldMkLst>
        <pc:spChg chg="add mod">
          <ac:chgData name="RUFFET, Malcolm" userId="ef33cb5d-7c5f-44ea-8bd1-71f6d9da9dec" providerId="ADAL" clId="{42A6F1C5-53D2-4848-9E6F-5902AFD5EAD4}" dt="2024-02-07T14:10:03.163" v="2052" actId="20577"/>
          <ac:spMkLst>
            <pc:docMk/>
            <pc:sldMk cId="1787031314" sldId="2147478755"/>
            <ac:spMk id="5" creationId="{3CE478C9-78D2-83DC-9F43-F199AB73C23D}"/>
          </ac:spMkLst>
        </pc:spChg>
        <pc:spChg chg="del">
          <ac:chgData name="RUFFET, Malcolm" userId="ef33cb5d-7c5f-44ea-8bd1-71f6d9da9dec" providerId="ADAL" clId="{42A6F1C5-53D2-4848-9E6F-5902AFD5EAD4}" dt="2024-02-06T10:26:36.036" v="784" actId="478"/>
          <ac:spMkLst>
            <pc:docMk/>
            <pc:sldMk cId="1787031314" sldId="2147478755"/>
            <ac:spMk id="9" creationId="{51B384AF-C27C-6FF8-D43D-B439C1EBD450}"/>
          </ac:spMkLst>
        </pc:spChg>
        <pc:spChg chg="add mod">
          <ac:chgData name="RUFFET, Malcolm" userId="ef33cb5d-7c5f-44ea-8bd1-71f6d9da9dec" providerId="ADAL" clId="{42A6F1C5-53D2-4848-9E6F-5902AFD5EAD4}" dt="2024-02-09T09:47:20.966" v="5634" actId="12788"/>
          <ac:spMkLst>
            <pc:docMk/>
            <pc:sldMk cId="1787031314" sldId="2147478755"/>
            <ac:spMk id="10" creationId="{21B416E1-DCE2-3B5B-5CF9-4B8B7A22CEF5}"/>
          </ac:spMkLst>
        </pc:spChg>
        <pc:graphicFrameChg chg="mod modGraphic">
          <ac:chgData name="RUFFET, Malcolm" userId="ef33cb5d-7c5f-44ea-8bd1-71f6d9da9dec" providerId="ADAL" clId="{42A6F1C5-53D2-4848-9E6F-5902AFD5EAD4}" dt="2024-02-06T10:38:08.477" v="1051" actId="12789"/>
          <ac:graphicFrameMkLst>
            <pc:docMk/>
            <pc:sldMk cId="1787031314" sldId="2147478755"/>
            <ac:graphicFrameMk id="3" creationId="{35060650-FBE1-18D5-C05B-FA41C44EC928}"/>
          </ac:graphicFrameMkLst>
        </pc:graphicFrameChg>
        <pc:picChg chg="del">
          <ac:chgData name="RUFFET, Malcolm" userId="ef33cb5d-7c5f-44ea-8bd1-71f6d9da9dec" providerId="ADAL" clId="{42A6F1C5-53D2-4848-9E6F-5902AFD5EAD4}" dt="2024-02-06T10:26:39.494" v="785" actId="478"/>
          <ac:picMkLst>
            <pc:docMk/>
            <pc:sldMk cId="1787031314" sldId="2147478755"/>
            <ac:picMk id="8" creationId="{B8148ABE-EE2D-4871-E361-F9CD3BBE9557}"/>
          </ac:picMkLst>
        </pc:picChg>
        <pc:picChg chg="del mod">
          <ac:chgData name="RUFFET, Malcolm" userId="ef33cb5d-7c5f-44ea-8bd1-71f6d9da9dec" providerId="ADAL" clId="{42A6F1C5-53D2-4848-9E6F-5902AFD5EAD4}" dt="2024-02-06T10:26:40.282" v="786" actId="478"/>
          <ac:picMkLst>
            <pc:docMk/>
            <pc:sldMk cId="1787031314" sldId="2147478755"/>
            <ac:picMk id="1026" creationId="{70142C5D-BE75-1083-84AF-7D3B9F8B61FF}"/>
          </ac:picMkLst>
        </pc:picChg>
        <pc:extLst>
          <p:ext xmlns:p="http://schemas.openxmlformats.org/presentationml/2006/main" uri="{D6D511B9-2390-475A-947B-AFAB55BFBCF1}">
            <pc226:cmChg xmlns:pc226="http://schemas.microsoft.com/office/powerpoint/2022/06/main/command" chg="mod">
              <pc226:chgData name="RUFFET, Malcolm" userId="ef33cb5d-7c5f-44ea-8bd1-71f6d9da9dec" providerId="ADAL" clId="{42A6F1C5-53D2-4848-9E6F-5902AFD5EAD4}" dt="2024-02-06T10:24:47.251" v="774" actId="2164"/>
              <pc2:cmMkLst xmlns:pc2="http://schemas.microsoft.com/office/powerpoint/2019/9/main/command">
                <pc:docMk/>
                <pc:sldMk cId="1787031314" sldId="2147478755"/>
                <pc2:cmMk id="{C20E4289-E743-4264-99AA-D254418B08E7}"/>
              </pc2:cmMkLst>
            </pc226:cmChg>
          </p:ext>
        </pc:extLst>
      </pc:sldChg>
      <pc:sldChg chg="add del ord">
        <pc:chgData name="RUFFET, Malcolm" userId="ef33cb5d-7c5f-44ea-8bd1-71f6d9da9dec" providerId="ADAL" clId="{42A6F1C5-53D2-4848-9E6F-5902AFD5EAD4}" dt="2024-02-15T14:54:47.125" v="7753" actId="47"/>
        <pc:sldMkLst>
          <pc:docMk/>
          <pc:sldMk cId="3863029708" sldId="2147478762"/>
        </pc:sldMkLst>
      </pc:sldChg>
      <pc:sldChg chg="add ord">
        <pc:chgData name="RUFFET, Malcolm" userId="ef33cb5d-7c5f-44ea-8bd1-71f6d9da9dec" providerId="ADAL" clId="{42A6F1C5-53D2-4848-9E6F-5902AFD5EAD4}" dt="2024-02-21T10:02:19.577" v="11719"/>
        <pc:sldMkLst>
          <pc:docMk/>
          <pc:sldMk cId="1286032952" sldId="2147478763"/>
        </pc:sldMkLst>
      </pc:sldChg>
      <pc:sldChg chg="add ord">
        <pc:chgData name="RUFFET, Malcolm" userId="ef33cb5d-7c5f-44ea-8bd1-71f6d9da9dec" providerId="ADAL" clId="{42A6F1C5-53D2-4848-9E6F-5902AFD5EAD4}" dt="2024-02-21T10:02:19.577" v="11719"/>
        <pc:sldMkLst>
          <pc:docMk/>
          <pc:sldMk cId="1918937430" sldId="2147478765"/>
        </pc:sldMkLst>
      </pc:sldChg>
      <pc:sldChg chg="add del">
        <pc:chgData name="RUFFET, Malcolm" userId="ef33cb5d-7c5f-44ea-8bd1-71f6d9da9dec" providerId="ADAL" clId="{42A6F1C5-53D2-4848-9E6F-5902AFD5EAD4}" dt="2024-02-21T10:05:04.608" v="11758" actId="47"/>
        <pc:sldMkLst>
          <pc:docMk/>
          <pc:sldMk cId="1638268596" sldId="2147478766"/>
        </pc:sldMkLst>
      </pc:sldChg>
      <pc:sldChg chg="addSp new del mod">
        <pc:chgData name="RUFFET, Malcolm" userId="ef33cb5d-7c5f-44ea-8bd1-71f6d9da9dec" providerId="ADAL" clId="{42A6F1C5-53D2-4848-9E6F-5902AFD5EAD4}" dt="2024-02-06T10:29:50.428" v="981" actId="47"/>
        <pc:sldMkLst>
          <pc:docMk/>
          <pc:sldMk cId="2181678215" sldId="2147478767"/>
        </pc:sldMkLst>
        <pc:picChg chg="add">
          <ac:chgData name="RUFFET, Malcolm" userId="ef33cb5d-7c5f-44ea-8bd1-71f6d9da9dec" providerId="ADAL" clId="{42A6F1C5-53D2-4848-9E6F-5902AFD5EAD4}" dt="2024-02-05T10:12:24.474" v="768" actId="22"/>
          <ac:picMkLst>
            <pc:docMk/>
            <pc:sldMk cId="2181678215" sldId="2147478767"/>
            <ac:picMk id="5" creationId="{6932FA20-5929-076D-4828-74A4F5A2E43D}"/>
          </ac:picMkLst>
        </pc:picChg>
      </pc:sldChg>
      <pc:sldChg chg="addSp new del mod">
        <pc:chgData name="RUFFET, Malcolm" userId="ef33cb5d-7c5f-44ea-8bd1-71f6d9da9dec" providerId="ADAL" clId="{42A6F1C5-53D2-4848-9E6F-5902AFD5EAD4}" dt="2024-02-06T10:37:31.497" v="1046" actId="47"/>
        <pc:sldMkLst>
          <pc:docMk/>
          <pc:sldMk cId="2411351437" sldId="2147478768"/>
        </pc:sldMkLst>
        <pc:picChg chg="add">
          <ac:chgData name="RUFFET, Malcolm" userId="ef33cb5d-7c5f-44ea-8bd1-71f6d9da9dec" providerId="ADAL" clId="{42A6F1C5-53D2-4848-9E6F-5902AFD5EAD4}" dt="2024-02-05T10:12:45.830" v="770" actId="22"/>
          <ac:picMkLst>
            <pc:docMk/>
            <pc:sldMk cId="2411351437" sldId="2147478768"/>
            <ac:picMk id="5" creationId="{7E5A61B8-02AB-43CC-2E30-11A04192A7BD}"/>
          </ac:picMkLst>
        </pc:picChg>
      </pc:sldChg>
      <pc:sldChg chg="modSp add del mod">
        <pc:chgData name="RUFFET, Malcolm" userId="ef33cb5d-7c5f-44ea-8bd1-71f6d9da9dec" providerId="ADAL" clId="{42A6F1C5-53D2-4848-9E6F-5902AFD5EAD4}" dt="2024-02-06T10:37:52.915" v="1049" actId="12789"/>
        <pc:sldMkLst>
          <pc:docMk/>
          <pc:sldMk cId="3930050288" sldId="2147478769"/>
        </pc:sldMkLst>
        <pc:graphicFrameChg chg="mod modGraphic">
          <ac:chgData name="RUFFET, Malcolm" userId="ef33cb5d-7c5f-44ea-8bd1-71f6d9da9dec" providerId="ADAL" clId="{42A6F1C5-53D2-4848-9E6F-5902AFD5EAD4}" dt="2024-02-06T10:37:52.915" v="1049" actId="12789"/>
          <ac:graphicFrameMkLst>
            <pc:docMk/>
            <pc:sldMk cId="3930050288" sldId="2147478769"/>
            <ac:graphicFrameMk id="3" creationId="{35060650-FBE1-18D5-C05B-FA41C44EC928}"/>
          </ac:graphicFrameMkLst>
        </pc:graphicFrameChg>
      </pc:sldChg>
      <pc:sldChg chg="addSp delSp modSp add del mod">
        <pc:chgData name="RUFFET, Malcolm" userId="ef33cb5d-7c5f-44ea-8bd1-71f6d9da9dec" providerId="ADAL" clId="{42A6F1C5-53D2-4848-9E6F-5902AFD5EAD4}" dt="2024-02-21T10:33:56.347" v="12365" actId="47"/>
        <pc:sldMkLst>
          <pc:docMk/>
          <pc:sldMk cId="2758980206" sldId="2147478770"/>
        </pc:sldMkLst>
        <pc:spChg chg="add del mod">
          <ac:chgData name="RUFFET, Malcolm" userId="ef33cb5d-7c5f-44ea-8bd1-71f6d9da9dec" providerId="ADAL" clId="{42A6F1C5-53D2-4848-9E6F-5902AFD5EAD4}" dt="2024-02-19T08:56:49.188" v="9113" actId="478"/>
          <ac:spMkLst>
            <pc:docMk/>
            <pc:sldMk cId="2758980206" sldId="2147478770"/>
            <ac:spMk id="5" creationId="{9662650D-FBF1-116B-70A8-9975FA62FEF4}"/>
          </ac:spMkLst>
        </pc:spChg>
        <pc:spChg chg="add mod">
          <ac:chgData name="RUFFET, Malcolm" userId="ef33cb5d-7c5f-44ea-8bd1-71f6d9da9dec" providerId="ADAL" clId="{42A6F1C5-53D2-4848-9E6F-5902AFD5EAD4}" dt="2024-02-08T15:58:49.829" v="5271" actId="1076"/>
          <ac:spMkLst>
            <pc:docMk/>
            <pc:sldMk cId="2758980206" sldId="2147478770"/>
            <ac:spMk id="8" creationId="{56799D40-4AB8-D871-C709-CD8AB7A136FF}"/>
          </ac:spMkLst>
        </pc:spChg>
        <pc:graphicFrameChg chg="mod modGraphic">
          <ac:chgData name="RUFFET, Malcolm" userId="ef33cb5d-7c5f-44ea-8bd1-71f6d9da9dec" providerId="ADAL" clId="{42A6F1C5-53D2-4848-9E6F-5902AFD5EAD4}" dt="2024-02-08T15:54:12.941" v="5172" actId="20577"/>
          <ac:graphicFrameMkLst>
            <pc:docMk/>
            <pc:sldMk cId="2758980206" sldId="2147478770"/>
            <ac:graphicFrameMk id="3" creationId="{35060650-FBE1-18D5-C05B-FA41C44EC928}"/>
          </ac:graphicFrameMkLst>
        </pc:graphicFrameChg>
      </pc:sldChg>
      <pc:sldChg chg="addSp modSp new mod ord">
        <pc:chgData name="RUFFET, Malcolm" userId="ef33cb5d-7c5f-44ea-8bd1-71f6d9da9dec" providerId="ADAL" clId="{42A6F1C5-53D2-4848-9E6F-5902AFD5EAD4}" dt="2024-02-15T15:34:09.828" v="8511"/>
        <pc:sldMkLst>
          <pc:docMk/>
          <pc:sldMk cId="3675638760" sldId="2147478771"/>
        </pc:sldMkLst>
        <pc:spChg chg="mod">
          <ac:chgData name="RUFFET, Malcolm" userId="ef33cb5d-7c5f-44ea-8bd1-71f6d9da9dec" providerId="ADAL" clId="{42A6F1C5-53D2-4848-9E6F-5902AFD5EAD4}" dt="2024-02-06T11:05:16.568" v="1101" actId="207"/>
          <ac:spMkLst>
            <pc:docMk/>
            <pc:sldMk cId="3675638760" sldId="2147478771"/>
            <ac:spMk id="2" creationId="{30A25494-3C68-96E8-E5DA-4BB21F611AF2}"/>
          </ac:spMkLst>
        </pc:spChg>
        <pc:spChg chg="mod">
          <ac:chgData name="RUFFET, Malcolm" userId="ef33cb5d-7c5f-44ea-8bd1-71f6d9da9dec" providerId="ADAL" clId="{42A6F1C5-53D2-4848-9E6F-5902AFD5EAD4}" dt="2024-02-06T11:04:53.049" v="1093" actId="20577"/>
          <ac:spMkLst>
            <pc:docMk/>
            <pc:sldMk cId="3675638760" sldId="2147478771"/>
            <ac:spMk id="3" creationId="{39184969-CD23-CF24-EE03-EEB6E614C962}"/>
          </ac:spMkLst>
        </pc:spChg>
        <pc:spChg chg="add mod">
          <ac:chgData name="RUFFET, Malcolm" userId="ef33cb5d-7c5f-44ea-8bd1-71f6d9da9dec" providerId="ADAL" clId="{42A6F1C5-53D2-4848-9E6F-5902AFD5EAD4}" dt="2024-02-06T12:39:22.550" v="2028"/>
          <ac:spMkLst>
            <pc:docMk/>
            <pc:sldMk cId="3675638760" sldId="2147478771"/>
            <ac:spMk id="4" creationId="{69927FF9-89D6-C1D1-C84E-ADE76157E908}"/>
          </ac:spMkLst>
        </pc:spChg>
      </pc:sldChg>
      <pc:sldChg chg="addSp delSp modSp new mod">
        <pc:chgData name="RUFFET, Malcolm" userId="ef33cb5d-7c5f-44ea-8bd1-71f6d9da9dec" providerId="ADAL" clId="{42A6F1C5-53D2-4848-9E6F-5902AFD5EAD4}" dt="2024-02-21T10:30:53.037" v="12244" actId="13926"/>
        <pc:sldMkLst>
          <pc:docMk/>
          <pc:sldMk cId="3563718015" sldId="2147478772"/>
        </pc:sldMkLst>
        <pc:spChg chg="del">
          <ac:chgData name="RUFFET, Malcolm" userId="ef33cb5d-7c5f-44ea-8bd1-71f6d9da9dec" providerId="ADAL" clId="{42A6F1C5-53D2-4848-9E6F-5902AFD5EAD4}" dt="2024-02-06T11:08:08.779" v="1165" actId="478"/>
          <ac:spMkLst>
            <pc:docMk/>
            <pc:sldMk cId="3563718015" sldId="2147478772"/>
            <ac:spMk id="2" creationId="{C947754E-7475-D76C-C73F-12DABC589DBB}"/>
          </ac:spMkLst>
        </pc:spChg>
        <pc:spChg chg="mod">
          <ac:chgData name="RUFFET, Malcolm" userId="ef33cb5d-7c5f-44ea-8bd1-71f6d9da9dec" providerId="ADAL" clId="{42A6F1C5-53D2-4848-9E6F-5902AFD5EAD4}" dt="2024-02-21T10:30:53.037" v="12244" actId="13926"/>
          <ac:spMkLst>
            <pc:docMk/>
            <pc:sldMk cId="3563718015" sldId="2147478772"/>
            <ac:spMk id="3" creationId="{66B5D2F6-417A-1FD6-D838-E891DAA248BE}"/>
          </ac:spMkLst>
        </pc:spChg>
        <pc:graphicFrameChg chg="add del mod">
          <ac:chgData name="RUFFET, Malcolm" userId="ef33cb5d-7c5f-44ea-8bd1-71f6d9da9dec" providerId="ADAL" clId="{42A6F1C5-53D2-4848-9E6F-5902AFD5EAD4}" dt="2024-02-06T11:08:38.264" v="1167" actId="478"/>
          <ac:graphicFrameMkLst>
            <pc:docMk/>
            <pc:sldMk cId="3563718015" sldId="2147478772"/>
            <ac:graphicFrameMk id="4" creationId="{12F3ADC0-7FF2-CF8B-C945-E81625C4D325}"/>
          </ac:graphicFrameMkLst>
        </pc:graphicFrameChg>
        <pc:graphicFrameChg chg="add mod modGraphic">
          <ac:chgData name="RUFFET, Malcolm" userId="ef33cb5d-7c5f-44ea-8bd1-71f6d9da9dec" providerId="ADAL" clId="{42A6F1C5-53D2-4848-9E6F-5902AFD5EAD4}" dt="2024-02-06T11:10:40.297" v="1184" actId="14734"/>
          <ac:graphicFrameMkLst>
            <pc:docMk/>
            <pc:sldMk cId="3563718015" sldId="2147478772"/>
            <ac:graphicFrameMk id="5" creationId="{4C421945-ED27-3095-E254-E948557B882F}"/>
          </ac:graphicFrameMkLst>
        </pc:graphicFrameChg>
      </pc:sldChg>
      <pc:sldChg chg="modSp new mod">
        <pc:chgData name="RUFFET, Malcolm" userId="ef33cb5d-7c5f-44ea-8bd1-71f6d9da9dec" providerId="ADAL" clId="{42A6F1C5-53D2-4848-9E6F-5902AFD5EAD4}" dt="2024-02-21T10:30:19.925" v="12199" actId="13926"/>
        <pc:sldMkLst>
          <pc:docMk/>
          <pc:sldMk cId="1971018762" sldId="2147478773"/>
        </pc:sldMkLst>
        <pc:spChg chg="mod">
          <ac:chgData name="RUFFET, Malcolm" userId="ef33cb5d-7c5f-44ea-8bd1-71f6d9da9dec" providerId="ADAL" clId="{42A6F1C5-53D2-4848-9E6F-5902AFD5EAD4}" dt="2024-02-06T11:14:15.796" v="1299" actId="113"/>
          <ac:spMkLst>
            <pc:docMk/>
            <pc:sldMk cId="1971018762" sldId="2147478773"/>
            <ac:spMk id="2" creationId="{252E238D-2DA3-09A5-CC3F-977365D494A9}"/>
          </ac:spMkLst>
        </pc:spChg>
        <pc:spChg chg="mod">
          <ac:chgData name="RUFFET, Malcolm" userId="ef33cb5d-7c5f-44ea-8bd1-71f6d9da9dec" providerId="ADAL" clId="{42A6F1C5-53D2-4848-9E6F-5902AFD5EAD4}" dt="2024-02-21T10:30:19.925" v="12199" actId="13926"/>
          <ac:spMkLst>
            <pc:docMk/>
            <pc:sldMk cId="1971018762" sldId="2147478773"/>
            <ac:spMk id="3" creationId="{30715E58-030B-196C-A99C-2B480FD5E124}"/>
          </ac:spMkLst>
        </pc:spChg>
      </pc:sldChg>
      <pc:sldChg chg="addSp delSp modSp add mod ord">
        <pc:chgData name="RUFFET, Malcolm" userId="ef33cb5d-7c5f-44ea-8bd1-71f6d9da9dec" providerId="ADAL" clId="{42A6F1C5-53D2-4848-9E6F-5902AFD5EAD4}" dt="2024-02-21T10:02:19.577" v="11719"/>
        <pc:sldMkLst>
          <pc:docMk/>
          <pc:sldMk cId="2460672719" sldId="2147478774"/>
        </pc:sldMkLst>
        <pc:spChg chg="mod">
          <ac:chgData name="RUFFET, Malcolm" userId="ef33cb5d-7c5f-44ea-8bd1-71f6d9da9dec" providerId="ADAL" clId="{42A6F1C5-53D2-4848-9E6F-5902AFD5EAD4}" dt="2024-02-12T15:49:52.001" v="6538" actId="123"/>
          <ac:spMkLst>
            <pc:docMk/>
            <pc:sldMk cId="2460672719" sldId="2147478774"/>
            <ac:spMk id="2" creationId="{30A25494-3C68-96E8-E5DA-4BB21F611AF2}"/>
          </ac:spMkLst>
        </pc:spChg>
        <pc:spChg chg="mod">
          <ac:chgData name="RUFFET, Malcolm" userId="ef33cb5d-7c5f-44ea-8bd1-71f6d9da9dec" providerId="ADAL" clId="{42A6F1C5-53D2-4848-9E6F-5902AFD5EAD4}" dt="2024-02-09T09:07:14.091" v="5295" actId="20577"/>
          <ac:spMkLst>
            <pc:docMk/>
            <pc:sldMk cId="2460672719" sldId="2147478774"/>
            <ac:spMk id="3" creationId="{39184969-CD23-CF24-EE03-EEB6E614C962}"/>
          </ac:spMkLst>
        </pc:spChg>
        <pc:spChg chg="add del mod">
          <ac:chgData name="RUFFET, Malcolm" userId="ef33cb5d-7c5f-44ea-8bd1-71f6d9da9dec" providerId="ADAL" clId="{42A6F1C5-53D2-4848-9E6F-5902AFD5EAD4}" dt="2024-02-08T08:45:22.954" v="3297" actId="478"/>
          <ac:spMkLst>
            <pc:docMk/>
            <pc:sldMk cId="2460672719" sldId="2147478774"/>
            <ac:spMk id="4" creationId="{36B66447-368E-CBFD-BC19-183015A9F2F1}"/>
          </ac:spMkLst>
        </pc:spChg>
        <pc:spChg chg="add del mod ord">
          <ac:chgData name="RUFFET, Malcolm" userId="ef33cb5d-7c5f-44ea-8bd1-71f6d9da9dec" providerId="ADAL" clId="{42A6F1C5-53D2-4848-9E6F-5902AFD5EAD4}" dt="2024-02-09T13:36:29.300" v="6265" actId="478"/>
          <ac:spMkLst>
            <pc:docMk/>
            <pc:sldMk cId="2460672719" sldId="2147478774"/>
            <ac:spMk id="5" creationId="{E433D8D7-AA5E-FEBE-29B1-BDF6440FA11B}"/>
          </ac:spMkLst>
        </pc:spChg>
        <pc:spChg chg="add del mod">
          <ac:chgData name="RUFFET, Malcolm" userId="ef33cb5d-7c5f-44ea-8bd1-71f6d9da9dec" providerId="ADAL" clId="{42A6F1C5-53D2-4848-9E6F-5902AFD5EAD4}" dt="2024-02-09T13:34:19.822" v="5710" actId="478"/>
          <ac:spMkLst>
            <pc:docMk/>
            <pc:sldMk cId="2460672719" sldId="2147478774"/>
            <ac:spMk id="6" creationId="{E9AE101E-DE41-4078-090B-FFE806D8FCE6}"/>
          </ac:spMkLst>
        </pc:spChg>
      </pc:sldChg>
      <pc:sldChg chg="addSp delSp modSp new mod ord modCm">
        <pc:chgData name="RUFFET, Malcolm" userId="ef33cb5d-7c5f-44ea-8bd1-71f6d9da9dec" providerId="ADAL" clId="{42A6F1C5-53D2-4848-9E6F-5902AFD5EAD4}" dt="2024-03-05T07:43:22.316" v="15293"/>
        <pc:sldMkLst>
          <pc:docMk/>
          <pc:sldMk cId="2813828781" sldId="2147478775"/>
        </pc:sldMkLst>
        <pc:spChg chg="del">
          <ac:chgData name="RUFFET, Malcolm" userId="ef33cb5d-7c5f-44ea-8bd1-71f6d9da9dec" providerId="ADAL" clId="{42A6F1C5-53D2-4848-9E6F-5902AFD5EAD4}" dt="2024-02-06T11:35:57.713" v="1425" actId="478"/>
          <ac:spMkLst>
            <pc:docMk/>
            <pc:sldMk cId="2813828781" sldId="2147478775"/>
            <ac:spMk id="2" creationId="{52FF5AC3-9D3C-CB9E-DBFC-5DD42EBFFF58}"/>
          </ac:spMkLst>
        </pc:spChg>
        <pc:spChg chg="add del mod">
          <ac:chgData name="RUFFET, Malcolm" userId="ef33cb5d-7c5f-44ea-8bd1-71f6d9da9dec" providerId="ADAL" clId="{42A6F1C5-53D2-4848-9E6F-5902AFD5EAD4}" dt="2024-02-21T10:15:01.403" v="11932" actId="478"/>
          <ac:spMkLst>
            <pc:docMk/>
            <pc:sldMk cId="2813828781" sldId="2147478775"/>
            <ac:spMk id="2" creationId="{B324B2E2-913B-1C3C-7021-25ABBEC64872}"/>
          </ac:spMkLst>
        </pc:spChg>
        <pc:spChg chg="mod">
          <ac:chgData name="RUFFET, Malcolm" userId="ef33cb5d-7c5f-44ea-8bd1-71f6d9da9dec" providerId="ADAL" clId="{42A6F1C5-53D2-4848-9E6F-5902AFD5EAD4}" dt="2024-02-20T10:28:00.945" v="9784" actId="20577"/>
          <ac:spMkLst>
            <pc:docMk/>
            <pc:sldMk cId="2813828781" sldId="2147478775"/>
            <ac:spMk id="3" creationId="{D6F8B290-A10F-A156-903D-7D03B328AD3F}"/>
          </ac:spMkLst>
        </pc:spChg>
        <pc:spChg chg="add del mod">
          <ac:chgData name="RUFFET, Malcolm" userId="ef33cb5d-7c5f-44ea-8bd1-71f6d9da9dec" providerId="ADAL" clId="{42A6F1C5-53D2-4848-9E6F-5902AFD5EAD4}" dt="2024-02-19T08:45:15.127" v="9027" actId="478"/>
          <ac:spMkLst>
            <pc:docMk/>
            <pc:sldMk cId="2813828781" sldId="2147478775"/>
            <ac:spMk id="6" creationId="{D2E55284-BB2B-BF72-5564-DFB931FC4043}"/>
          </ac:spMkLst>
        </pc:spChg>
        <pc:spChg chg="add del mod">
          <ac:chgData name="RUFFET, Malcolm" userId="ef33cb5d-7c5f-44ea-8bd1-71f6d9da9dec" providerId="ADAL" clId="{42A6F1C5-53D2-4848-9E6F-5902AFD5EAD4}" dt="2024-02-12T14:51:43.530" v="6317" actId="478"/>
          <ac:spMkLst>
            <pc:docMk/>
            <pc:sldMk cId="2813828781" sldId="2147478775"/>
            <ac:spMk id="7" creationId="{7DD2CA0A-1FB4-C424-5ECE-4829A03F9F10}"/>
          </ac:spMkLst>
        </pc:spChg>
        <pc:spChg chg="add del mod">
          <ac:chgData name="RUFFET, Malcolm" userId="ef33cb5d-7c5f-44ea-8bd1-71f6d9da9dec" providerId="ADAL" clId="{42A6F1C5-53D2-4848-9E6F-5902AFD5EAD4}" dt="2024-02-12T14:52:52.188" v="6347" actId="478"/>
          <ac:spMkLst>
            <pc:docMk/>
            <pc:sldMk cId="2813828781" sldId="2147478775"/>
            <ac:spMk id="8" creationId="{F62B8B3B-869E-0842-30BB-99558D18BD1E}"/>
          </ac:spMkLst>
        </pc:spChg>
        <pc:graphicFrameChg chg="add del mod">
          <ac:chgData name="RUFFET, Malcolm" userId="ef33cb5d-7c5f-44ea-8bd1-71f6d9da9dec" providerId="ADAL" clId="{42A6F1C5-53D2-4848-9E6F-5902AFD5EAD4}" dt="2024-02-06T11:35:37.890" v="1423" actId="478"/>
          <ac:graphicFrameMkLst>
            <pc:docMk/>
            <pc:sldMk cId="2813828781" sldId="2147478775"/>
            <ac:graphicFrameMk id="4" creationId="{9ACA570D-DF17-46E9-BB0F-1F2A1CECF319}"/>
          </ac:graphicFrameMkLst>
        </pc:graphicFrameChg>
        <pc:graphicFrameChg chg="add mod modGraphic">
          <ac:chgData name="RUFFET, Malcolm" userId="ef33cb5d-7c5f-44ea-8bd1-71f6d9da9dec" providerId="ADAL" clId="{42A6F1C5-53D2-4848-9E6F-5902AFD5EAD4}" dt="2024-03-05T07:42:36.028" v="15291" actId="20577"/>
          <ac:graphicFrameMkLst>
            <pc:docMk/>
            <pc:sldMk cId="2813828781" sldId="2147478775"/>
            <ac:graphicFrameMk id="5" creationId="{150A8F95-929A-70DA-4E85-2E8F1A0F6F57}"/>
          </ac:graphicFrameMkLst>
        </pc:graphicFrameChg>
        <pc:extLst>
          <p:ext xmlns:p="http://schemas.openxmlformats.org/presentationml/2006/main" uri="{D6D511B9-2390-475A-947B-AFAB55BFBCF1}">
            <pc226:cmChg xmlns:pc226="http://schemas.microsoft.com/office/powerpoint/2022/06/main/command" chg="mod">
              <pc226:chgData name="RUFFET, Malcolm" userId="ef33cb5d-7c5f-44ea-8bd1-71f6d9da9dec" providerId="ADAL" clId="{42A6F1C5-53D2-4848-9E6F-5902AFD5EAD4}" dt="2024-03-05T07:43:22.316" v="15293"/>
              <pc2:cmMkLst xmlns:pc2="http://schemas.microsoft.com/office/powerpoint/2019/9/main/command">
                <pc:docMk/>
                <pc:sldMk cId="2813828781" sldId="2147478775"/>
                <pc2:cmMk id="{8462F9D7-13C1-4152-960F-3C3453BE41BE}"/>
              </pc2:cmMkLst>
              <pc226:cmRplyChg chg="add mod">
                <pc226:chgData name="RUFFET, Malcolm" userId="ef33cb5d-7c5f-44ea-8bd1-71f6d9da9dec" providerId="ADAL" clId="{42A6F1C5-53D2-4848-9E6F-5902AFD5EAD4}" dt="2024-03-05T07:43:22.316" v="15293"/>
                <pc2:cmRplyMkLst xmlns:pc2="http://schemas.microsoft.com/office/powerpoint/2019/9/main/command">
                  <pc:docMk/>
                  <pc:sldMk cId="2813828781" sldId="2147478775"/>
                  <pc2:cmMk id="{8462F9D7-13C1-4152-960F-3C3453BE41BE}"/>
                  <pc2:cmRplyMk id="{43FC54B5-D1FF-4D09-AD48-FE7E473ABB12}"/>
                </pc2:cmRplyMkLst>
              </pc226:cmRplyChg>
            </pc226:cmChg>
          </p:ext>
        </pc:extLst>
      </pc:sldChg>
      <pc:sldChg chg="addSp delSp modSp new del mod">
        <pc:chgData name="RUFFET, Malcolm" userId="ef33cb5d-7c5f-44ea-8bd1-71f6d9da9dec" providerId="ADAL" clId="{42A6F1C5-53D2-4848-9E6F-5902AFD5EAD4}" dt="2024-02-13T11:47:13.849" v="6747" actId="47"/>
        <pc:sldMkLst>
          <pc:docMk/>
          <pc:sldMk cId="4219233981" sldId="2147478776"/>
        </pc:sldMkLst>
        <pc:spChg chg="del">
          <ac:chgData name="RUFFET, Malcolm" userId="ef33cb5d-7c5f-44ea-8bd1-71f6d9da9dec" providerId="ADAL" clId="{42A6F1C5-53D2-4848-9E6F-5902AFD5EAD4}" dt="2024-02-06T12:07:08.282" v="1447" actId="478"/>
          <ac:spMkLst>
            <pc:docMk/>
            <pc:sldMk cId="4219233981" sldId="2147478776"/>
            <ac:spMk id="2" creationId="{BF9AE55D-0832-08E5-A62E-44ECCE015886}"/>
          </ac:spMkLst>
        </pc:spChg>
        <pc:spChg chg="mod">
          <ac:chgData name="RUFFET, Malcolm" userId="ef33cb5d-7c5f-44ea-8bd1-71f6d9da9dec" providerId="ADAL" clId="{42A6F1C5-53D2-4848-9E6F-5902AFD5EAD4}" dt="2024-02-06T12:08:29.649" v="1507" actId="20577"/>
          <ac:spMkLst>
            <pc:docMk/>
            <pc:sldMk cId="4219233981" sldId="2147478776"/>
            <ac:spMk id="3" creationId="{605327EB-77A2-8B00-2C55-3935B7FFD9D6}"/>
          </ac:spMkLst>
        </pc:spChg>
        <pc:graphicFrameChg chg="add mod modGraphic">
          <ac:chgData name="RUFFET, Malcolm" userId="ef33cb5d-7c5f-44ea-8bd1-71f6d9da9dec" providerId="ADAL" clId="{42A6F1C5-53D2-4848-9E6F-5902AFD5EAD4}" dt="2024-02-06T12:08:09.749" v="1462" actId="14100"/>
          <ac:graphicFrameMkLst>
            <pc:docMk/>
            <pc:sldMk cId="4219233981" sldId="2147478776"/>
            <ac:graphicFrameMk id="4" creationId="{AE16A116-BE58-B5E6-0A9C-3101B5ED8495}"/>
          </ac:graphicFrameMkLst>
        </pc:graphicFrameChg>
      </pc:sldChg>
      <pc:sldChg chg="addSp modSp new mod">
        <pc:chgData name="RUFFET, Malcolm" userId="ef33cb5d-7c5f-44ea-8bd1-71f6d9da9dec" providerId="ADAL" clId="{42A6F1C5-53D2-4848-9E6F-5902AFD5EAD4}" dt="2024-02-13T11:48:08.272" v="6812" actId="20577"/>
        <pc:sldMkLst>
          <pc:docMk/>
          <pc:sldMk cId="3188676440" sldId="2147478777"/>
        </pc:sldMkLst>
        <pc:spChg chg="mod">
          <ac:chgData name="RUFFET, Malcolm" userId="ef33cb5d-7c5f-44ea-8bd1-71f6d9da9dec" providerId="ADAL" clId="{42A6F1C5-53D2-4848-9E6F-5902AFD5EAD4}" dt="2024-02-06T12:11:17.086" v="1624" actId="12789"/>
          <ac:spMkLst>
            <pc:docMk/>
            <pc:sldMk cId="3188676440" sldId="2147478777"/>
            <ac:spMk id="2" creationId="{2E39C8B5-BEB0-50A1-0D4B-8734BE87EEC9}"/>
          </ac:spMkLst>
        </pc:spChg>
        <pc:spChg chg="mod">
          <ac:chgData name="RUFFET, Malcolm" userId="ef33cb5d-7c5f-44ea-8bd1-71f6d9da9dec" providerId="ADAL" clId="{42A6F1C5-53D2-4848-9E6F-5902AFD5EAD4}" dt="2024-02-13T11:48:08.272" v="6812" actId="20577"/>
          <ac:spMkLst>
            <pc:docMk/>
            <pc:sldMk cId="3188676440" sldId="2147478777"/>
            <ac:spMk id="3" creationId="{793171DB-9618-426A-452E-37A10821B8E9}"/>
          </ac:spMkLst>
        </pc:spChg>
        <pc:spChg chg="add mod">
          <ac:chgData name="RUFFET, Malcolm" userId="ef33cb5d-7c5f-44ea-8bd1-71f6d9da9dec" providerId="ADAL" clId="{42A6F1C5-53D2-4848-9E6F-5902AFD5EAD4}" dt="2024-02-06T12:11:17.086" v="1624" actId="12789"/>
          <ac:spMkLst>
            <pc:docMk/>
            <pc:sldMk cId="3188676440" sldId="2147478777"/>
            <ac:spMk id="4" creationId="{E85D3825-E9D5-B6C2-4746-F87639344A0E}"/>
          </ac:spMkLst>
        </pc:spChg>
      </pc:sldChg>
      <pc:sldChg chg="addSp delSp modSp new del mod modShow">
        <pc:chgData name="RUFFET, Malcolm" userId="ef33cb5d-7c5f-44ea-8bd1-71f6d9da9dec" providerId="ADAL" clId="{42A6F1C5-53D2-4848-9E6F-5902AFD5EAD4}" dt="2024-02-19T08:50:12.181" v="9035" actId="2696"/>
        <pc:sldMkLst>
          <pc:docMk/>
          <pc:sldMk cId="4067336953" sldId="2147478778"/>
        </pc:sldMkLst>
        <pc:spChg chg="del">
          <ac:chgData name="RUFFET, Malcolm" userId="ef33cb5d-7c5f-44ea-8bd1-71f6d9da9dec" providerId="ADAL" clId="{42A6F1C5-53D2-4848-9E6F-5902AFD5EAD4}" dt="2024-02-07T14:20:11.348" v="3042" actId="478"/>
          <ac:spMkLst>
            <pc:docMk/>
            <pc:sldMk cId="4067336953" sldId="2147478778"/>
            <ac:spMk id="2" creationId="{1EEED7A1-65FC-8A91-C9D4-C116DE0CD6E5}"/>
          </ac:spMkLst>
        </pc:spChg>
        <pc:spChg chg="del">
          <ac:chgData name="RUFFET, Malcolm" userId="ef33cb5d-7c5f-44ea-8bd1-71f6d9da9dec" providerId="ADAL" clId="{42A6F1C5-53D2-4848-9E6F-5902AFD5EAD4}" dt="2024-02-07T14:20:12.101" v="3043" actId="478"/>
          <ac:spMkLst>
            <pc:docMk/>
            <pc:sldMk cId="4067336953" sldId="2147478778"/>
            <ac:spMk id="3" creationId="{80B76950-0CD6-2198-5B12-D8645804F906}"/>
          </ac:spMkLst>
        </pc:spChg>
        <pc:spChg chg="add mod">
          <ac:chgData name="RUFFET, Malcolm" userId="ef33cb5d-7c5f-44ea-8bd1-71f6d9da9dec" providerId="ADAL" clId="{42A6F1C5-53D2-4848-9E6F-5902AFD5EAD4}" dt="2024-02-07T14:20:14.268" v="3044" actId="1076"/>
          <ac:spMkLst>
            <pc:docMk/>
            <pc:sldMk cId="4067336953" sldId="2147478778"/>
            <ac:spMk id="5" creationId="{5012091B-09CD-C327-B2EB-4891CEAF05BE}"/>
          </ac:spMkLst>
        </pc:spChg>
        <pc:graphicFrameChg chg="add mod modGraphic">
          <ac:chgData name="RUFFET, Malcolm" userId="ef33cb5d-7c5f-44ea-8bd1-71f6d9da9dec" providerId="ADAL" clId="{42A6F1C5-53D2-4848-9E6F-5902AFD5EAD4}" dt="2024-02-07T14:23:31.426" v="3252" actId="20577"/>
          <ac:graphicFrameMkLst>
            <pc:docMk/>
            <pc:sldMk cId="4067336953" sldId="2147478778"/>
            <ac:graphicFrameMk id="4" creationId="{52119A61-D33A-ED32-258C-AA2DC20DCDB9}"/>
          </ac:graphicFrameMkLst>
        </pc:graphicFrameChg>
      </pc:sldChg>
      <pc:sldChg chg="add del">
        <pc:chgData name="RUFFET, Malcolm" userId="ef33cb5d-7c5f-44ea-8bd1-71f6d9da9dec" providerId="ADAL" clId="{42A6F1C5-53D2-4848-9E6F-5902AFD5EAD4}" dt="2024-02-08T08:53:08.647" v="3471" actId="47"/>
        <pc:sldMkLst>
          <pc:docMk/>
          <pc:sldMk cId="1660566374" sldId="2147478779"/>
        </pc:sldMkLst>
      </pc:sldChg>
      <pc:sldChg chg="modSp add mod ord">
        <pc:chgData name="RUFFET, Malcolm" userId="ef33cb5d-7c5f-44ea-8bd1-71f6d9da9dec" providerId="ADAL" clId="{42A6F1C5-53D2-4848-9E6F-5902AFD5EAD4}" dt="2024-02-23T15:39:53.095" v="13019" actId="20577"/>
        <pc:sldMkLst>
          <pc:docMk/>
          <pc:sldMk cId="3818255527" sldId="2147478779"/>
        </pc:sldMkLst>
        <pc:spChg chg="mod">
          <ac:chgData name="RUFFET, Malcolm" userId="ef33cb5d-7c5f-44ea-8bd1-71f6d9da9dec" providerId="ADAL" clId="{42A6F1C5-53D2-4848-9E6F-5902AFD5EAD4}" dt="2024-02-23T15:39:53.095" v="13019" actId="20577"/>
          <ac:spMkLst>
            <pc:docMk/>
            <pc:sldMk cId="3818255527" sldId="2147478779"/>
            <ac:spMk id="2" creationId="{30A25494-3C68-96E8-E5DA-4BB21F611AF2}"/>
          </ac:spMkLst>
        </pc:spChg>
        <pc:spChg chg="mod">
          <ac:chgData name="RUFFET, Malcolm" userId="ef33cb5d-7c5f-44ea-8bd1-71f6d9da9dec" providerId="ADAL" clId="{42A6F1C5-53D2-4848-9E6F-5902AFD5EAD4}" dt="2024-02-09T09:07:57.241" v="5310" actId="20577"/>
          <ac:spMkLst>
            <pc:docMk/>
            <pc:sldMk cId="3818255527" sldId="2147478779"/>
            <ac:spMk id="3" creationId="{39184969-CD23-CF24-EE03-EEB6E614C962}"/>
          </ac:spMkLst>
        </pc:spChg>
      </pc:sldChg>
      <pc:sldChg chg="addSp delSp modSp add mod ord">
        <pc:chgData name="RUFFET, Malcolm" userId="ef33cb5d-7c5f-44ea-8bd1-71f6d9da9dec" providerId="ADAL" clId="{42A6F1C5-53D2-4848-9E6F-5902AFD5EAD4}" dt="2024-02-21T10:02:19.577" v="11719"/>
        <pc:sldMkLst>
          <pc:docMk/>
          <pc:sldMk cId="2793514166" sldId="2147478780"/>
        </pc:sldMkLst>
        <pc:spChg chg="mod">
          <ac:chgData name="RUFFET, Malcolm" userId="ef33cb5d-7c5f-44ea-8bd1-71f6d9da9dec" providerId="ADAL" clId="{42A6F1C5-53D2-4848-9E6F-5902AFD5EAD4}" dt="2024-02-12T15:35:46.900" v="6465"/>
          <ac:spMkLst>
            <pc:docMk/>
            <pc:sldMk cId="2793514166" sldId="2147478780"/>
            <ac:spMk id="2" creationId="{30A25494-3C68-96E8-E5DA-4BB21F611AF2}"/>
          </ac:spMkLst>
        </pc:spChg>
        <pc:spChg chg="mod">
          <ac:chgData name="RUFFET, Malcolm" userId="ef33cb5d-7c5f-44ea-8bd1-71f6d9da9dec" providerId="ADAL" clId="{42A6F1C5-53D2-4848-9E6F-5902AFD5EAD4}" dt="2024-02-12T14:58:18.847" v="6401" actId="20577"/>
          <ac:spMkLst>
            <pc:docMk/>
            <pc:sldMk cId="2793514166" sldId="2147478780"/>
            <ac:spMk id="3" creationId="{39184969-CD23-CF24-EE03-EEB6E614C962}"/>
          </ac:spMkLst>
        </pc:spChg>
        <pc:spChg chg="add del mod">
          <ac:chgData name="RUFFET, Malcolm" userId="ef33cb5d-7c5f-44ea-8bd1-71f6d9da9dec" providerId="ADAL" clId="{42A6F1C5-53D2-4848-9E6F-5902AFD5EAD4}" dt="2024-02-12T14:58:00.087" v="6396" actId="478"/>
          <ac:spMkLst>
            <pc:docMk/>
            <pc:sldMk cId="2793514166" sldId="2147478780"/>
            <ac:spMk id="4" creationId="{57359B4D-9D76-A2AB-0BD2-650AC9D8DF64}"/>
          </ac:spMkLst>
        </pc:spChg>
      </pc:sldChg>
      <pc:sldChg chg="addSp modSp add del mod">
        <pc:chgData name="RUFFET, Malcolm" userId="ef33cb5d-7c5f-44ea-8bd1-71f6d9da9dec" providerId="ADAL" clId="{42A6F1C5-53D2-4848-9E6F-5902AFD5EAD4}" dt="2024-02-19T08:56:35.252" v="9110" actId="47"/>
        <pc:sldMkLst>
          <pc:docMk/>
          <pc:sldMk cId="2945037980" sldId="2147478781"/>
        </pc:sldMkLst>
        <pc:spChg chg="add mod">
          <ac:chgData name="RUFFET, Malcolm" userId="ef33cb5d-7c5f-44ea-8bd1-71f6d9da9dec" providerId="ADAL" clId="{42A6F1C5-53D2-4848-9E6F-5902AFD5EAD4}" dt="2024-02-13T11:51:10.221" v="6813" actId="6549"/>
          <ac:spMkLst>
            <pc:docMk/>
            <pc:sldMk cId="2945037980" sldId="2147478781"/>
            <ac:spMk id="2" creationId="{8AF38B0C-C527-3EEE-0DF8-981BB77F3FCE}"/>
          </ac:spMkLst>
        </pc:spChg>
      </pc:sldChg>
      <pc:sldChg chg="delSp modSp add mod ord">
        <pc:chgData name="RUFFET, Malcolm" userId="ef33cb5d-7c5f-44ea-8bd1-71f6d9da9dec" providerId="ADAL" clId="{42A6F1C5-53D2-4848-9E6F-5902AFD5EAD4}" dt="2024-02-21T10:02:19.577" v="11719"/>
        <pc:sldMkLst>
          <pc:docMk/>
          <pc:sldMk cId="3783171242" sldId="2147478782"/>
        </pc:sldMkLst>
        <pc:spChg chg="mod">
          <ac:chgData name="RUFFET, Malcolm" userId="ef33cb5d-7c5f-44ea-8bd1-71f6d9da9dec" providerId="ADAL" clId="{42A6F1C5-53D2-4848-9E6F-5902AFD5EAD4}" dt="2024-02-12T15:36:31.034" v="6484"/>
          <ac:spMkLst>
            <pc:docMk/>
            <pc:sldMk cId="3783171242" sldId="2147478782"/>
            <ac:spMk id="2" creationId="{30A25494-3C68-96E8-E5DA-4BB21F611AF2}"/>
          </ac:spMkLst>
        </pc:spChg>
        <pc:spChg chg="mod">
          <ac:chgData name="RUFFET, Malcolm" userId="ef33cb5d-7c5f-44ea-8bd1-71f6d9da9dec" providerId="ADAL" clId="{42A6F1C5-53D2-4848-9E6F-5902AFD5EAD4}" dt="2024-02-12T15:10:28.966" v="6444" actId="20577"/>
          <ac:spMkLst>
            <pc:docMk/>
            <pc:sldMk cId="3783171242" sldId="2147478782"/>
            <ac:spMk id="3" creationId="{39184969-CD23-CF24-EE03-EEB6E614C962}"/>
          </ac:spMkLst>
        </pc:spChg>
        <pc:spChg chg="del">
          <ac:chgData name="RUFFET, Malcolm" userId="ef33cb5d-7c5f-44ea-8bd1-71f6d9da9dec" providerId="ADAL" clId="{42A6F1C5-53D2-4848-9E6F-5902AFD5EAD4}" dt="2024-02-12T15:34:51.183" v="6445" actId="478"/>
          <ac:spMkLst>
            <pc:docMk/>
            <pc:sldMk cId="3783171242" sldId="2147478782"/>
            <ac:spMk id="4" creationId="{57359B4D-9D76-A2AB-0BD2-650AC9D8DF64}"/>
          </ac:spMkLst>
        </pc:spChg>
      </pc:sldChg>
      <pc:sldChg chg="delSp modSp add del mod ord addCm">
        <pc:chgData name="RUFFET, Malcolm" userId="ef33cb5d-7c5f-44ea-8bd1-71f6d9da9dec" providerId="ADAL" clId="{42A6F1C5-53D2-4848-9E6F-5902AFD5EAD4}" dt="2024-02-21T10:02:19.577" v="11719"/>
        <pc:sldMkLst>
          <pc:docMk/>
          <pc:sldMk cId="602456260" sldId="2147478783"/>
        </pc:sldMkLst>
        <pc:spChg chg="mod">
          <ac:chgData name="RUFFET, Malcolm" userId="ef33cb5d-7c5f-44ea-8bd1-71f6d9da9dec" providerId="ADAL" clId="{42A6F1C5-53D2-4848-9E6F-5902AFD5EAD4}" dt="2024-02-09T09:53:59.763" v="5707" actId="20577"/>
          <ac:spMkLst>
            <pc:docMk/>
            <pc:sldMk cId="602456260" sldId="2147478783"/>
            <ac:spMk id="5" creationId="{5012091B-09CD-C327-B2EB-4891CEAF05BE}"/>
          </ac:spMkLst>
        </pc:spChg>
        <pc:graphicFrameChg chg="del">
          <ac:chgData name="RUFFET, Malcolm" userId="ef33cb5d-7c5f-44ea-8bd1-71f6d9da9dec" providerId="ADAL" clId="{42A6F1C5-53D2-4848-9E6F-5902AFD5EAD4}" dt="2024-02-09T09:53:03.833" v="5636" actId="478"/>
          <ac:graphicFrameMkLst>
            <pc:docMk/>
            <pc:sldMk cId="602456260" sldId="2147478783"/>
            <ac:graphicFrameMk id="4" creationId="{52119A61-D33A-ED32-258C-AA2DC20DCDB9}"/>
          </ac:graphicFrameMkLst>
        </pc:graphicFrameChg>
        <pc:extLst>
          <p:ext xmlns:p="http://schemas.openxmlformats.org/presentationml/2006/main" uri="{D6D511B9-2390-475A-947B-AFAB55BFBCF1}">
            <pc226:cmChg xmlns:pc226="http://schemas.microsoft.com/office/powerpoint/2022/06/main/command" chg="add">
              <pc226:chgData name="RUFFET, Malcolm" userId="ef33cb5d-7c5f-44ea-8bd1-71f6d9da9dec" providerId="ADAL" clId="{42A6F1C5-53D2-4848-9E6F-5902AFD5EAD4}" dt="2024-02-09T09:54:54.602" v="5708"/>
              <pc2:cmMkLst xmlns:pc2="http://schemas.microsoft.com/office/powerpoint/2019/9/main/command">
                <pc:docMk/>
                <pc:sldMk cId="602456260" sldId="2147478783"/>
                <pc2:cmMk id="{9F7269EC-3ECD-4E8A-8CDB-3496EE9CAD00}"/>
              </pc2:cmMkLst>
            </pc226:cmChg>
          </p:ext>
        </pc:extLst>
      </pc:sldChg>
      <pc:sldChg chg="modSp mod">
        <pc:chgData name="RUFFET, Malcolm" userId="ef33cb5d-7c5f-44ea-8bd1-71f6d9da9dec" providerId="ADAL" clId="{42A6F1C5-53D2-4848-9E6F-5902AFD5EAD4}" dt="2024-02-21T10:31:25.428" v="12275" actId="20577"/>
        <pc:sldMkLst>
          <pc:docMk/>
          <pc:sldMk cId="1882825064" sldId="2147478784"/>
        </pc:sldMkLst>
        <pc:spChg chg="mod">
          <ac:chgData name="RUFFET, Malcolm" userId="ef33cb5d-7c5f-44ea-8bd1-71f6d9da9dec" providerId="ADAL" clId="{42A6F1C5-53D2-4848-9E6F-5902AFD5EAD4}" dt="2024-02-21T10:31:25.428" v="12275" actId="20577"/>
          <ac:spMkLst>
            <pc:docMk/>
            <pc:sldMk cId="1882825064" sldId="2147478784"/>
            <ac:spMk id="3" creationId="{D8544D7E-9661-2A10-A99F-758D80E6FB84}"/>
          </ac:spMkLst>
        </pc:spChg>
      </pc:sldChg>
      <pc:sldChg chg="addSp delSp modSp add mod modShow">
        <pc:chgData name="RUFFET, Malcolm" userId="ef33cb5d-7c5f-44ea-8bd1-71f6d9da9dec" providerId="ADAL" clId="{42A6F1C5-53D2-4848-9E6F-5902AFD5EAD4}" dt="2024-02-14T15:00:16.651" v="7048" actId="729"/>
        <pc:sldMkLst>
          <pc:docMk/>
          <pc:sldMk cId="2171850792" sldId="2147478785"/>
        </pc:sldMkLst>
        <pc:spChg chg="del mod">
          <ac:chgData name="RUFFET, Malcolm" userId="ef33cb5d-7c5f-44ea-8bd1-71f6d9da9dec" providerId="ADAL" clId="{42A6F1C5-53D2-4848-9E6F-5902AFD5EAD4}" dt="2024-02-14T14:53:24.946" v="6998" actId="478"/>
          <ac:spMkLst>
            <pc:docMk/>
            <pc:sldMk cId="2171850792" sldId="2147478785"/>
            <ac:spMk id="2" creationId="{30A25494-3C68-96E8-E5DA-4BB21F611AF2}"/>
          </ac:spMkLst>
        </pc:spChg>
        <pc:spChg chg="mod">
          <ac:chgData name="RUFFET, Malcolm" userId="ef33cb5d-7c5f-44ea-8bd1-71f6d9da9dec" providerId="ADAL" clId="{42A6F1C5-53D2-4848-9E6F-5902AFD5EAD4}" dt="2024-02-13T11:26:43.951" v="6615" actId="20577"/>
          <ac:spMkLst>
            <pc:docMk/>
            <pc:sldMk cId="2171850792" sldId="2147478785"/>
            <ac:spMk id="3" creationId="{39184969-CD23-CF24-EE03-EEB6E614C962}"/>
          </ac:spMkLst>
        </pc:spChg>
        <pc:spChg chg="del">
          <ac:chgData name="RUFFET, Malcolm" userId="ef33cb5d-7c5f-44ea-8bd1-71f6d9da9dec" providerId="ADAL" clId="{42A6F1C5-53D2-4848-9E6F-5902AFD5EAD4}" dt="2024-02-13T11:40:36.029" v="6679" actId="478"/>
          <ac:spMkLst>
            <pc:docMk/>
            <pc:sldMk cId="2171850792" sldId="2147478785"/>
            <ac:spMk id="4" creationId="{69927FF9-89D6-C1D1-C84E-ADE76157E908}"/>
          </ac:spMkLst>
        </pc:spChg>
        <pc:spChg chg="add mod">
          <ac:chgData name="RUFFET, Malcolm" userId="ef33cb5d-7c5f-44ea-8bd1-71f6d9da9dec" providerId="ADAL" clId="{42A6F1C5-53D2-4848-9E6F-5902AFD5EAD4}" dt="2024-02-14T14:59:01.643" v="7040" actId="1076"/>
          <ac:spMkLst>
            <pc:docMk/>
            <pc:sldMk cId="2171850792" sldId="2147478785"/>
            <ac:spMk id="7" creationId="{ED345C81-A5EA-FE88-DBF4-1E8BBF863735}"/>
          </ac:spMkLst>
        </pc:spChg>
        <pc:spChg chg="add del">
          <ac:chgData name="RUFFET, Malcolm" userId="ef33cb5d-7c5f-44ea-8bd1-71f6d9da9dec" providerId="ADAL" clId="{42A6F1C5-53D2-4848-9E6F-5902AFD5EAD4}" dt="2024-02-14T14:58:15.596" v="7032" actId="478"/>
          <ac:spMkLst>
            <pc:docMk/>
            <pc:sldMk cId="2171850792" sldId="2147478785"/>
            <ac:spMk id="9" creationId="{E0EC097D-9DA5-85E8-0A37-A5DCC6A36955}"/>
          </ac:spMkLst>
        </pc:spChg>
        <pc:spChg chg="add mod">
          <ac:chgData name="RUFFET, Malcolm" userId="ef33cb5d-7c5f-44ea-8bd1-71f6d9da9dec" providerId="ADAL" clId="{42A6F1C5-53D2-4848-9E6F-5902AFD5EAD4}" dt="2024-02-14T14:59:01.643" v="7040" actId="1076"/>
          <ac:spMkLst>
            <pc:docMk/>
            <pc:sldMk cId="2171850792" sldId="2147478785"/>
            <ac:spMk id="10" creationId="{E91E9F48-E263-167A-8619-B843314F62BB}"/>
          </ac:spMkLst>
        </pc:spChg>
        <pc:spChg chg="add mod">
          <ac:chgData name="RUFFET, Malcolm" userId="ef33cb5d-7c5f-44ea-8bd1-71f6d9da9dec" providerId="ADAL" clId="{42A6F1C5-53D2-4848-9E6F-5902AFD5EAD4}" dt="2024-02-14T14:59:36.438" v="7043" actId="20577"/>
          <ac:spMkLst>
            <pc:docMk/>
            <pc:sldMk cId="2171850792" sldId="2147478785"/>
            <ac:spMk id="11" creationId="{C185CE95-3484-E95A-A4AD-E3A1C31687FE}"/>
          </ac:spMkLst>
        </pc:spChg>
        <pc:spChg chg="add mod">
          <ac:chgData name="RUFFET, Malcolm" userId="ef33cb5d-7c5f-44ea-8bd1-71f6d9da9dec" providerId="ADAL" clId="{42A6F1C5-53D2-4848-9E6F-5902AFD5EAD4}" dt="2024-02-14T14:59:58.569" v="7046" actId="20577"/>
          <ac:spMkLst>
            <pc:docMk/>
            <pc:sldMk cId="2171850792" sldId="2147478785"/>
            <ac:spMk id="12" creationId="{E15111DD-200A-8D8F-BB49-6F4244344637}"/>
          </ac:spMkLst>
        </pc:spChg>
        <pc:grpChg chg="add del mod">
          <ac:chgData name="RUFFET, Malcolm" userId="ef33cb5d-7c5f-44ea-8bd1-71f6d9da9dec" providerId="ADAL" clId="{42A6F1C5-53D2-4848-9E6F-5902AFD5EAD4}" dt="2024-02-14T14:57:20.366" v="7020" actId="165"/>
          <ac:grpSpMkLst>
            <pc:docMk/>
            <pc:sldMk cId="2171850792" sldId="2147478785"/>
            <ac:grpSpMk id="5" creationId="{5D2779E9-F3A7-B5A4-DB85-A5B5591ED13F}"/>
          </ac:grpSpMkLst>
        </pc:grpChg>
        <pc:picChg chg="add mod topLvl">
          <ac:chgData name="RUFFET, Malcolm" userId="ef33cb5d-7c5f-44ea-8bd1-71f6d9da9dec" providerId="ADAL" clId="{42A6F1C5-53D2-4848-9E6F-5902AFD5EAD4}" dt="2024-02-14T14:59:01.643" v="7040" actId="1076"/>
          <ac:picMkLst>
            <pc:docMk/>
            <pc:sldMk cId="2171850792" sldId="2147478785"/>
            <ac:picMk id="2050" creationId="{B195739F-64F7-7BAE-62D0-8E365B471803}"/>
          </ac:picMkLst>
        </pc:picChg>
        <pc:picChg chg="add mod topLvl">
          <ac:chgData name="RUFFET, Malcolm" userId="ef33cb5d-7c5f-44ea-8bd1-71f6d9da9dec" providerId="ADAL" clId="{42A6F1C5-53D2-4848-9E6F-5902AFD5EAD4}" dt="2024-02-14T14:59:01.643" v="7040" actId="1076"/>
          <ac:picMkLst>
            <pc:docMk/>
            <pc:sldMk cId="2171850792" sldId="2147478785"/>
            <ac:picMk id="2052" creationId="{666A68B0-743C-D185-AAC4-084AB236041D}"/>
          </ac:picMkLst>
        </pc:picChg>
        <pc:picChg chg="add mod topLvl">
          <ac:chgData name="RUFFET, Malcolm" userId="ef33cb5d-7c5f-44ea-8bd1-71f6d9da9dec" providerId="ADAL" clId="{42A6F1C5-53D2-4848-9E6F-5902AFD5EAD4}" dt="2024-02-14T14:59:01.643" v="7040" actId="1076"/>
          <ac:picMkLst>
            <pc:docMk/>
            <pc:sldMk cId="2171850792" sldId="2147478785"/>
            <ac:picMk id="2054" creationId="{E79144C8-D55E-0EEB-B0A9-6155174400AC}"/>
          </ac:picMkLst>
        </pc:picChg>
        <pc:picChg chg="add mod topLvl">
          <ac:chgData name="RUFFET, Malcolm" userId="ef33cb5d-7c5f-44ea-8bd1-71f6d9da9dec" providerId="ADAL" clId="{42A6F1C5-53D2-4848-9E6F-5902AFD5EAD4}" dt="2024-02-14T14:59:01.643" v="7040" actId="1076"/>
          <ac:picMkLst>
            <pc:docMk/>
            <pc:sldMk cId="2171850792" sldId="2147478785"/>
            <ac:picMk id="2056" creationId="{388DAC06-9E17-4F6E-7E72-5FBC27BC4F4E}"/>
          </ac:picMkLst>
        </pc:picChg>
      </pc:sldChg>
      <pc:sldChg chg="add del">
        <pc:chgData name="RUFFET, Malcolm" userId="ef33cb5d-7c5f-44ea-8bd1-71f6d9da9dec" providerId="ADAL" clId="{42A6F1C5-53D2-4848-9E6F-5902AFD5EAD4}" dt="2024-02-13T11:26:23.425" v="6606"/>
        <pc:sldMkLst>
          <pc:docMk/>
          <pc:sldMk cId="1932956120" sldId="2147478786"/>
        </pc:sldMkLst>
      </pc:sldChg>
      <pc:sldChg chg="addSp delSp modSp add mod">
        <pc:chgData name="RUFFET, Malcolm" userId="ef33cb5d-7c5f-44ea-8bd1-71f6d9da9dec" providerId="ADAL" clId="{42A6F1C5-53D2-4848-9E6F-5902AFD5EAD4}" dt="2024-02-16T10:22:30.705" v="8596" actId="1076"/>
        <pc:sldMkLst>
          <pc:docMk/>
          <pc:sldMk cId="2262288800" sldId="2147478786"/>
        </pc:sldMkLst>
        <pc:spChg chg="mod">
          <ac:chgData name="RUFFET, Malcolm" userId="ef33cb5d-7c5f-44ea-8bd1-71f6d9da9dec" providerId="ADAL" clId="{42A6F1C5-53D2-4848-9E6F-5902AFD5EAD4}" dt="2024-02-16T10:22:26.959" v="8595" actId="20577"/>
          <ac:spMkLst>
            <pc:docMk/>
            <pc:sldMk cId="2262288800" sldId="2147478786"/>
            <ac:spMk id="2" creationId="{30A25494-3C68-96E8-E5DA-4BB21F611AF2}"/>
          </ac:spMkLst>
        </pc:spChg>
        <pc:spChg chg="mod">
          <ac:chgData name="RUFFET, Malcolm" userId="ef33cb5d-7c5f-44ea-8bd1-71f6d9da9dec" providerId="ADAL" clId="{42A6F1C5-53D2-4848-9E6F-5902AFD5EAD4}" dt="2024-02-13T11:40:29.169" v="6677" actId="20577"/>
          <ac:spMkLst>
            <pc:docMk/>
            <pc:sldMk cId="2262288800" sldId="2147478786"/>
            <ac:spMk id="3" creationId="{39184969-CD23-CF24-EE03-EEB6E614C962}"/>
          </ac:spMkLst>
        </pc:spChg>
        <pc:spChg chg="del">
          <ac:chgData name="RUFFET, Malcolm" userId="ef33cb5d-7c5f-44ea-8bd1-71f6d9da9dec" providerId="ADAL" clId="{42A6F1C5-53D2-4848-9E6F-5902AFD5EAD4}" dt="2024-02-13T11:40:31.623" v="6678" actId="478"/>
          <ac:spMkLst>
            <pc:docMk/>
            <pc:sldMk cId="2262288800" sldId="2147478786"/>
            <ac:spMk id="4" creationId="{69927FF9-89D6-C1D1-C84E-ADE76157E908}"/>
          </ac:spMkLst>
        </pc:spChg>
        <pc:picChg chg="add mod">
          <ac:chgData name="RUFFET, Malcolm" userId="ef33cb5d-7c5f-44ea-8bd1-71f6d9da9dec" providerId="ADAL" clId="{42A6F1C5-53D2-4848-9E6F-5902AFD5EAD4}" dt="2024-02-16T10:22:30.705" v="8596" actId="1076"/>
          <ac:picMkLst>
            <pc:docMk/>
            <pc:sldMk cId="2262288800" sldId="2147478786"/>
            <ac:picMk id="3074" creationId="{95B2255B-1B0C-84B2-77B4-C4A284FCB425}"/>
          </ac:picMkLst>
        </pc:picChg>
      </pc:sldChg>
      <pc:sldChg chg="addSp delSp modSp add mod">
        <pc:chgData name="RUFFET, Malcolm" userId="ef33cb5d-7c5f-44ea-8bd1-71f6d9da9dec" providerId="ADAL" clId="{42A6F1C5-53D2-4848-9E6F-5902AFD5EAD4}" dt="2024-02-15T13:53:28.393" v="7197" actId="1076"/>
        <pc:sldMkLst>
          <pc:docMk/>
          <pc:sldMk cId="1432170948" sldId="2147478787"/>
        </pc:sldMkLst>
        <pc:spChg chg="mod">
          <ac:chgData name="RUFFET, Malcolm" userId="ef33cb5d-7c5f-44ea-8bd1-71f6d9da9dec" providerId="ADAL" clId="{42A6F1C5-53D2-4848-9E6F-5902AFD5EAD4}" dt="2024-02-15T13:53:25.144" v="7196" actId="20577"/>
          <ac:spMkLst>
            <pc:docMk/>
            <pc:sldMk cId="1432170948" sldId="2147478787"/>
            <ac:spMk id="2" creationId="{30A25494-3C68-96E8-E5DA-4BB21F611AF2}"/>
          </ac:spMkLst>
        </pc:spChg>
        <pc:spChg chg="mod">
          <ac:chgData name="RUFFET, Malcolm" userId="ef33cb5d-7c5f-44ea-8bd1-71f6d9da9dec" providerId="ADAL" clId="{42A6F1C5-53D2-4848-9E6F-5902AFD5EAD4}" dt="2024-02-13T11:47:47.809" v="6797" actId="20577"/>
          <ac:spMkLst>
            <pc:docMk/>
            <pc:sldMk cId="1432170948" sldId="2147478787"/>
            <ac:spMk id="3" creationId="{39184969-CD23-CF24-EE03-EEB6E614C962}"/>
          </ac:spMkLst>
        </pc:spChg>
        <pc:grpChg chg="add del mod">
          <ac:chgData name="RUFFET, Malcolm" userId="ef33cb5d-7c5f-44ea-8bd1-71f6d9da9dec" providerId="ADAL" clId="{42A6F1C5-53D2-4848-9E6F-5902AFD5EAD4}" dt="2024-02-14T15:02:56.024" v="7065" actId="165"/>
          <ac:grpSpMkLst>
            <pc:docMk/>
            <pc:sldMk cId="1432170948" sldId="2147478787"/>
            <ac:grpSpMk id="4" creationId="{5205CF13-01C8-5F50-122D-58F720C3C6A0}"/>
          </ac:grpSpMkLst>
        </pc:grpChg>
        <pc:grpChg chg="add mod">
          <ac:chgData name="RUFFET, Malcolm" userId="ef33cb5d-7c5f-44ea-8bd1-71f6d9da9dec" providerId="ADAL" clId="{42A6F1C5-53D2-4848-9E6F-5902AFD5EAD4}" dt="2024-02-15T13:53:28.393" v="7197" actId="1076"/>
          <ac:grpSpMkLst>
            <pc:docMk/>
            <pc:sldMk cId="1432170948" sldId="2147478787"/>
            <ac:grpSpMk id="5" creationId="{5A8F6822-A131-DBA8-BD2D-8EEEA0BBD4A5}"/>
          </ac:grpSpMkLst>
        </pc:grpChg>
        <pc:picChg chg="add mod topLvl">
          <ac:chgData name="RUFFET, Malcolm" userId="ef33cb5d-7c5f-44ea-8bd1-71f6d9da9dec" providerId="ADAL" clId="{42A6F1C5-53D2-4848-9E6F-5902AFD5EAD4}" dt="2024-02-15T13:53:28.393" v="7197" actId="1076"/>
          <ac:picMkLst>
            <pc:docMk/>
            <pc:sldMk cId="1432170948" sldId="2147478787"/>
            <ac:picMk id="4098" creationId="{4FA38A94-A8CB-D52C-BAB0-1895C6A293E3}"/>
          </ac:picMkLst>
        </pc:picChg>
        <pc:picChg chg="add mod topLvl">
          <ac:chgData name="RUFFET, Malcolm" userId="ef33cb5d-7c5f-44ea-8bd1-71f6d9da9dec" providerId="ADAL" clId="{42A6F1C5-53D2-4848-9E6F-5902AFD5EAD4}" dt="2024-02-15T13:53:28.393" v="7197" actId="1076"/>
          <ac:picMkLst>
            <pc:docMk/>
            <pc:sldMk cId="1432170948" sldId="2147478787"/>
            <ac:picMk id="4100" creationId="{7201D65C-3121-806C-6679-C680466900D9}"/>
          </ac:picMkLst>
        </pc:picChg>
      </pc:sldChg>
      <pc:sldChg chg="modSp new del mod addCm modCm">
        <pc:chgData name="RUFFET, Malcolm" userId="ef33cb5d-7c5f-44ea-8bd1-71f6d9da9dec" providerId="ADAL" clId="{42A6F1C5-53D2-4848-9E6F-5902AFD5EAD4}" dt="2024-02-22T14:16:28.873" v="12742" actId="47"/>
        <pc:sldMkLst>
          <pc:docMk/>
          <pc:sldMk cId="1362600534" sldId="2147478788"/>
        </pc:sldMkLst>
        <pc:spChg chg="mod">
          <ac:chgData name="RUFFET, Malcolm" userId="ef33cb5d-7c5f-44ea-8bd1-71f6d9da9dec" providerId="ADAL" clId="{42A6F1C5-53D2-4848-9E6F-5902AFD5EAD4}" dt="2024-02-13T12:48:46.716" v="6887" actId="20577"/>
          <ac:spMkLst>
            <pc:docMk/>
            <pc:sldMk cId="1362600534" sldId="2147478788"/>
            <ac:spMk id="2" creationId="{EA72B8A5-CB29-2488-3C39-C48D88BCC301}"/>
          </ac:spMkLst>
        </pc:spChg>
        <pc:extLst>
          <p:ext xmlns:p="http://schemas.openxmlformats.org/presentationml/2006/main" uri="{D6D511B9-2390-475A-947B-AFAB55BFBCF1}">
            <pc226:cmChg xmlns:pc226="http://schemas.microsoft.com/office/powerpoint/2022/06/main/command" chg="add mod">
              <pc226:chgData name="RUFFET, Malcolm" userId="ef33cb5d-7c5f-44ea-8bd1-71f6d9da9dec" providerId="ADAL" clId="{42A6F1C5-53D2-4848-9E6F-5902AFD5EAD4}" dt="2024-02-16T14:16:50.561" v="8961" actId="2056"/>
              <pc2:cmMkLst xmlns:pc2="http://schemas.microsoft.com/office/powerpoint/2019/9/main/command">
                <pc:docMk/>
                <pc:sldMk cId="1362600534" sldId="2147478788"/>
                <pc2:cmMk id="{1EF768FB-0449-4DEB-9DC4-EAA88BFA9C1D}"/>
              </pc2:cmMkLst>
            </pc226:cmChg>
          </p:ext>
        </pc:extLst>
      </pc:sldChg>
      <pc:sldChg chg="modSp new del mod addCm">
        <pc:chgData name="RUFFET, Malcolm" userId="ef33cb5d-7c5f-44ea-8bd1-71f6d9da9dec" providerId="ADAL" clId="{42A6F1C5-53D2-4848-9E6F-5902AFD5EAD4}" dt="2024-02-19T08:50:07.193" v="9034" actId="2696"/>
        <pc:sldMkLst>
          <pc:docMk/>
          <pc:sldMk cId="1247219569" sldId="2147478789"/>
        </pc:sldMkLst>
        <pc:spChg chg="mod">
          <ac:chgData name="RUFFET, Malcolm" userId="ef33cb5d-7c5f-44ea-8bd1-71f6d9da9dec" providerId="ADAL" clId="{42A6F1C5-53D2-4848-9E6F-5902AFD5EAD4}" dt="2024-02-13T12:53:08.879" v="6993" actId="20577"/>
          <ac:spMkLst>
            <pc:docMk/>
            <pc:sldMk cId="1247219569" sldId="2147478789"/>
            <ac:spMk id="2" creationId="{76C3A478-3632-BF05-64C9-F90E824AFB9D}"/>
          </ac:spMkLst>
        </pc:spChg>
        <pc:extLst>
          <p:ext xmlns:p="http://schemas.openxmlformats.org/presentationml/2006/main" uri="{D6D511B9-2390-475A-947B-AFAB55BFBCF1}">
            <pc226:cmChg xmlns:pc226="http://schemas.microsoft.com/office/powerpoint/2022/06/main/command" chg="add">
              <pc226:chgData name="RUFFET, Malcolm" userId="ef33cb5d-7c5f-44ea-8bd1-71f6d9da9dec" providerId="ADAL" clId="{42A6F1C5-53D2-4848-9E6F-5902AFD5EAD4}" dt="2024-02-13T12:53:18.657" v="6994"/>
              <pc2:cmMkLst xmlns:pc2="http://schemas.microsoft.com/office/powerpoint/2019/9/main/command">
                <pc:docMk/>
                <pc:sldMk cId="1247219569" sldId="2147478789"/>
                <pc2:cmMk id="{F4EC9EF4-2976-4BFC-9E23-BFEB37121D91}"/>
              </pc2:cmMkLst>
            </pc226:cmChg>
          </p:ext>
        </pc:extLst>
      </pc:sldChg>
      <pc:sldChg chg="del">
        <pc:chgData name="RUFFET, Malcolm" userId="ef33cb5d-7c5f-44ea-8bd1-71f6d9da9dec" providerId="ADAL" clId="{42A6F1C5-53D2-4848-9E6F-5902AFD5EAD4}" dt="2024-02-19T08:46:06.029" v="9033" actId="47"/>
        <pc:sldMkLst>
          <pc:docMk/>
          <pc:sldMk cId="1164553436" sldId="2147478790"/>
        </pc:sldMkLst>
      </pc:sldChg>
      <pc:sldChg chg="ord">
        <pc:chgData name="RUFFET, Malcolm" userId="ef33cb5d-7c5f-44ea-8bd1-71f6d9da9dec" providerId="ADAL" clId="{42A6F1C5-53D2-4848-9E6F-5902AFD5EAD4}" dt="2024-02-21T10:02:19.577" v="11719"/>
        <pc:sldMkLst>
          <pc:docMk/>
          <pc:sldMk cId="1303457090" sldId="2147478791"/>
        </pc:sldMkLst>
      </pc:sldChg>
      <pc:sldChg chg="addSp delSp modSp new del mod modClrScheme chgLayout">
        <pc:chgData name="RUFFET, Malcolm" userId="ef33cb5d-7c5f-44ea-8bd1-71f6d9da9dec" providerId="ADAL" clId="{42A6F1C5-53D2-4848-9E6F-5902AFD5EAD4}" dt="2024-02-14T15:18:45.289" v="7134" actId="47"/>
        <pc:sldMkLst>
          <pc:docMk/>
          <pc:sldMk cId="570484169" sldId="2147478792"/>
        </pc:sldMkLst>
        <pc:spChg chg="add mod">
          <ac:chgData name="RUFFET, Malcolm" userId="ef33cb5d-7c5f-44ea-8bd1-71f6d9da9dec" providerId="ADAL" clId="{42A6F1C5-53D2-4848-9E6F-5902AFD5EAD4}" dt="2024-02-14T15:17:44.756" v="7129" actId="20577"/>
          <ac:spMkLst>
            <pc:docMk/>
            <pc:sldMk cId="570484169" sldId="2147478792"/>
            <ac:spMk id="2" creationId="{44C26B04-6D3F-89D4-D004-E6B8C68910E7}"/>
          </ac:spMkLst>
        </pc:spChg>
        <pc:spChg chg="add del mod">
          <ac:chgData name="RUFFET, Malcolm" userId="ef33cb5d-7c5f-44ea-8bd1-71f6d9da9dec" providerId="ADAL" clId="{42A6F1C5-53D2-4848-9E6F-5902AFD5EAD4}" dt="2024-02-14T15:17:20.802" v="7082" actId="478"/>
          <ac:spMkLst>
            <pc:docMk/>
            <pc:sldMk cId="570484169" sldId="2147478792"/>
            <ac:spMk id="3" creationId="{9FCD70EE-496F-CBC0-4EF8-5F9CAA2F1596}"/>
          </ac:spMkLst>
        </pc:spChg>
        <pc:spChg chg="add mod">
          <ac:chgData name="RUFFET, Malcolm" userId="ef33cb5d-7c5f-44ea-8bd1-71f6d9da9dec" providerId="ADAL" clId="{42A6F1C5-53D2-4848-9E6F-5902AFD5EAD4}" dt="2024-02-14T15:17:52.926" v="7131" actId="207"/>
          <ac:spMkLst>
            <pc:docMk/>
            <pc:sldMk cId="570484169" sldId="2147478792"/>
            <ac:spMk id="5" creationId="{9997940C-E677-B3CE-C579-CB4CFF88C68F}"/>
          </ac:spMkLst>
        </pc:spChg>
        <pc:spChg chg="add mod">
          <ac:chgData name="RUFFET, Malcolm" userId="ef33cb5d-7c5f-44ea-8bd1-71f6d9da9dec" providerId="ADAL" clId="{42A6F1C5-53D2-4848-9E6F-5902AFD5EAD4}" dt="2024-02-14T15:17:31.864" v="7086" actId="14100"/>
          <ac:spMkLst>
            <pc:docMk/>
            <pc:sldMk cId="570484169" sldId="2147478792"/>
            <ac:spMk id="6" creationId="{93522542-ED37-0903-95EE-429B979E3D76}"/>
          </ac:spMkLst>
        </pc:spChg>
        <pc:spChg chg="add mod">
          <ac:chgData name="RUFFET, Malcolm" userId="ef33cb5d-7c5f-44ea-8bd1-71f6d9da9dec" providerId="ADAL" clId="{42A6F1C5-53D2-4848-9E6F-5902AFD5EAD4}" dt="2024-02-14T15:17:31.864" v="7086" actId="14100"/>
          <ac:spMkLst>
            <pc:docMk/>
            <pc:sldMk cId="570484169" sldId="2147478792"/>
            <ac:spMk id="7" creationId="{1A171D68-4AD2-32A8-ED93-510D2793F75E}"/>
          </ac:spMkLst>
        </pc:spChg>
        <pc:spChg chg="add mod">
          <ac:chgData name="RUFFET, Malcolm" userId="ef33cb5d-7c5f-44ea-8bd1-71f6d9da9dec" providerId="ADAL" clId="{42A6F1C5-53D2-4848-9E6F-5902AFD5EAD4}" dt="2024-02-14T15:17:31.864" v="7086" actId="14100"/>
          <ac:spMkLst>
            <pc:docMk/>
            <pc:sldMk cId="570484169" sldId="2147478792"/>
            <ac:spMk id="8" creationId="{C41BDB6A-C3DF-B0CB-A5FF-618F68713AAB}"/>
          </ac:spMkLst>
        </pc:spChg>
        <pc:spChg chg="add mod">
          <ac:chgData name="RUFFET, Malcolm" userId="ef33cb5d-7c5f-44ea-8bd1-71f6d9da9dec" providerId="ADAL" clId="{42A6F1C5-53D2-4848-9E6F-5902AFD5EAD4}" dt="2024-02-14T15:17:57.108" v="7132" actId="207"/>
          <ac:spMkLst>
            <pc:docMk/>
            <pc:sldMk cId="570484169" sldId="2147478792"/>
            <ac:spMk id="9" creationId="{7E90CDE6-FD35-6EBE-9869-06A2EC4C5C05}"/>
          </ac:spMkLst>
        </pc:spChg>
        <pc:spChg chg="add mod">
          <ac:chgData name="RUFFET, Malcolm" userId="ef33cb5d-7c5f-44ea-8bd1-71f6d9da9dec" providerId="ADAL" clId="{42A6F1C5-53D2-4848-9E6F-5902AFD5EAD4}" dt="2024-02-14T15:18:02.318" v="7133" actId="207"/>
          <ac:spMkLst>
            <pc:docMk/>
            <pc:sldMk cId="570484169" sldId="2147478792"/>
            <ac:spMk id="10" creationId="{5D241240-B99E-9722-6C70-8F373748157A}"/>
          </ac:spMkLst>
        </pc:spChg>
        <pc:graphicFrameChg chg="add mod modGraphic">
          <ac:chgData name="RUFFET, Malcolm" userId="ef33cb5d-7c5f-44ea-8bd1-71f6d9da9dec" providerId="ADAL" clId="{42A6F1C5-53D2-4848-9E6F-5902AFD5EAD4}" dt="2024-02-14T15:17:49.896" v="7130" actId="207"/>
          <ac:graphicFrameMkLst>
            <pc:docMk/>
            <pc:sldMk cId="570484169" sldId="2147478792"/>
            <ac:graphicFrameMk id="4" creationId="{F5E383E2-859E-E4D2-D498-534092B998A2}"/>
          </ac:graphicFrameMkLst>
        </pc:graphicFrameChg>
      </pc:sldChg>
      <pc:sldChg chg="add del">
        <pc:chgData name="RUFFET, Malcolm" userId="ef33cb5d-7c5f-44ea-8bd1-71f6d9da9dec" providerId="ADAL" clId="{42A6F1C5-53D2-4848-9E6F-5902AFD5EAD4}" dt="2024-02-14T15:00:12.134" v="7047" actId="2696"/>
        <pc:sldMkLst>
          <pc:docMk/>
          <pc:sldMk cId="1258558589" sldId="2147478792"/>
        </pc:sldMkLst>
      </pc:sldChg>
      <pc:sldChg chg="ord">
        <pc:chgData name="RUFFET, Malcolm" userId="ef33cb5d-7c5f-44ea-8bd1-71f6d9da9dec" providerId="ADAL" clId="{42A6F1C5-53D2-4848-9E6F-5902AFD5EAD4}" dt="2024-02-21T10:02:19.577" v="11719"/>
        <pc:sldMkLst>
          <pc:docMk/>
          <pc:sldMk cId="2017698475" sldId="2147478792"/>
        </pc:sldMkLst>
      </pc:sldChg>
      <pc:sldChg chg="del">
        <pc:chgData name="RUFFET, Malcolm" userId="ef33cb5d-7c5f-44ea-8bd1-71f6d9da9dec" providerId="ADAL" clId="{42A6F1C5-53D2-4848-9E6F-5902AFD5EAD4}" dt="2024-02-19T08:51:02.406" v="9036" actId="2696"/>
        <pc:sldMkLst>
          <pc:docMk/>
          <pc:sldMk cId="1626264462" sldId="2147481373"/>
        </pc:sldMkLst>
      </pc:sldChg>
      <pc:sldChg chg="ord">
        <pc:chgData name="RUFFET, Malcolm" userId="ef33cb5d-7c5f-44ea-8bd1-71f6d9da9dec" providerId="ADAL" clId="{42A6F1C5-53D2-4848-9E6F-5902AFD5EAD4}" dt="2024-02-21T10:02:19.577" v="11719"/>
        <pc:sldMkLst>
          <pc:docMk/>
          <pc:sldMk cId="2394442523" sldId="2147481374"/>
        </pc:sldMkLst>
      </pc:sldChg>
      <pc:sldChg chg="modSp add del mod ord">
        <pc:chgData name="RUFFET, Malcolm" userId="ef33cb5d-7c5f-44ea-8bd1-71f6d9da9dec" providerId="ADAL" clId="{42A6F1C5-53D2-4848-9E6F-5902AFD5EAD4}" dt="2024-02-21T10:26:47.754" v="12019" actId="47"/>
        <pc:sldMkLst>
          <pc:docMk/>
          <pc:sldMk cId="3697419182" sldId="2147481375"/>
        </pc:sldMkLst>
        <pc:spChg chg="mod">
          <ac:chgData name="RUFFET, Malcolm" userId="ef33cb5d-7c5f-44ea-8bd1-71f6d9da9dec" providerId="ADAL" clId="{42A6F1C5-53D2-4848-9E6F-5902AFD5EAD4}" dt="2024-02-15T09:28:58.906" v="7144" actId="1076"/>
          <ac:spMkLst>
            <pc:docMk/>
            <pc:sldMk cId="3697419182" sldId="2147481375"/>
            <ac:spMk id="7" creationId="{130F58C5-2976-4846-A915-64CB73CFBA97}"/>
          </ac:spMkLst>
        </pc:spChg>
        <pc:spChg chg="mod">
          <ac:chgData name="RUFFET, Malcolm" userId="ef33cb5d-7c5f-44ea-8bd1-71f6d9da9dec" providerId="ADAL" clId="{42A6F1C5-53D2-4848-9E6F-5902AFD5EAD4}" dt="2024-02-15T09:28:23.274" v="7138" actId="404"/>
          <ac:spMkLst>
            <pc:docMk/>
            <pc:sldMk cId="3697419182" sldId="2147481375"/>
            <ac:spMk id="13" creationId="{14D4E5A5-9B4A-4417-8C3F-DBDA645918ED}"/>
          </ac:spMkLst>
        </pc:spChg>
        <pc:spChg chg="mod">
          <ac:chgData name="RUFFET, Malcolm" userId="ef33cb5d-7c5f-44ea-8bd1-71f6d9da9dec" providerId="ADAL" clId="{42A6F1C5-53D2-4848-9E6F-5902AFD5EAD4}" dt="2024-02-15T09:28:23.274" v="7138" actId="404"/>
          <ac:spMkLst>
            <pc:docMk/>
            <pc:sldMk cId="3697419182" sldId="2147481375"/>
            <ac:spMk id="14" creationId="{340FCAD7-B6E4-4B6B-8698-EC77417F54FB}"/>
          </ac:spMkLst>
        </pc:spChg>
        <pc:spChg chg="mod">
          <ac:chgData name="RUFFET, Malcolm" userId="ef33cb5d-7c5f-44ea-8bd1-71f6d9da9dec" providerId="ADAL" clId="{42A6F1C5-53D2-4848-9E6F-5902AFD5EAD4}" dt="2024-02-15T09:28:38.535" v="7143" actId="12789"/>
          <ac:spMkLst>
            <pc:docMk/>
            <pc:sldMk cId="3697419182" sldId="2147481375"/>
            <ac:spMk id="15" creationId="{C63223A0-316A-4304-97A3-303DA6C56430}"/>
          </ac:spMkLst>
        </pc:spChg>
        <pc:spChg chg="mod">
          <ac:chgData name="RUFFET, Malcolm" userId="ef33cb5d-7c5f-44ea-8bd1-71f6d9da9dec" providerId="ADAL" clId="{42A6F1C5-53D2-4848-9E6F-5902AFD5EAD4}" dt="2024-02-15T09:28:38.535" v="7143" actId="12789"/>
          <ac:spMkLst>
            <pc:docMk/>
            <pc:sldMk cId="3697419182" sldId="2147481375"/>
            <ac:spMk id="16" creationId="{8B618935-EA71-4D3D-8E4B-D28EFA08C9EA}"/>
          </ac:spMkLst>
        </pc:spChg>
      </pc:sldChg>
      <pc:sldChg chg="modSp add del mod ord">
        <pc:chgData name="RUFFET, Malcolm" userId="ef33cb5d-7c5f-44ea-8bd1-71f6d9da9dec" providerId="ADAL" clId="{42A6F1C5-53D2-4848-9E6F-5902AFD5EAD4}" dt="2024-02-21T10:29:23.801" v="12191" actId="47"/>
        <pc:sldMkLst>
          <pc:docMk/>
          <pc:sldMk cId="1634607131" sldId="2147481376"/>
        </pc:sldMkLst>
        <pc:spChg chg="mod">
          <ac:chgData name="RUFFET, Malcolm" userId="ef33cb5d-7c5f-44ea-8bd1-71f6d9da9dec" providerId="ADAL" clId="{42A6F1C5-53D2-4848-9E6F-5902AFD5EAD4}" dt="2024-02-15T09:29:47.422" v="7151" actId="1076"/>
          <ac:spMkLst>
            <pc:docMk/>
            <pc:sldMk cId="1634607131" sldId="2147481376"/>
            <ac:spMk id="7" creationId="{130F58C5-2976-4846-A915-64CB73CFBA97}"/>
          </ac:spMkLst>
        </pc:spChg>
        <pc:spChg chg="mod">
          <ac:chgData name="RUFFET, Malcolm" userId="ef33cb5d-7c5f-44ea-8bd1-71f6d9da9dec" providerId="ADAL" clId="{42A6F1C5-53D2-4848-9E6F-5902AFD5EAD4}" dt="2024-02-15T09:29:52.188" v="7153" actId="404"/>
          <ac:spMkLst>
            <pc:docMk/>
            <pc:sldMk cId="1634607131" sldId="2147481376"/>
            <ac:spMk id="15" creationId="{C63223A0-316A-4304-97A3-303DA6C56430}"/>
          </ac:spMkLst>
        </pc:spChg>
        <pc:spChg chg="mod">
          <ac:chgData name="RUFFET, Malcolm" userId="ef33cb5d-7c5f-44ea-8bd1-71f6d9da9dec" providerId="ADAL" clId="{42A6F1C5-53D2-4848-9E6F-5902AFD5EAD4}" dt="2024-02-15T09:29:52.188" v="7153" actId="404"/>
          <ac:spMkLst>
            <pc:docMk/>
            <pc:sldMk cId="1634607131" sldId="2147481376"/>
            <ac:spMk id="16" creationId="{8B618935-EA71-4D3D-8E4B-D28EFA08C9EA}"/>
          </ac:spMkLst>
        </pc:spChg>
        <pc:spChg chg="mod">
          <ac:chgData name="RUFFET, Malcolm" userId="ef33cb5d-7c5f-44ea-8bd1-71f6d9da9dec" providerId="ADAL" clId="{42A6F1C5-53D2-4848-9E6F-5902AFD5EAD4}" dt="2024-02-15T09:29:56.919" v="7155" actId="403"/>
          <ac:spMkLst>
            <pc:docMk/>
            <pc:sldMk cId="1634607131" sldId="2147481376"/>
            <ac:spMk id="19" creationId="{C85B4B92-06DB-4283-984A-AE362D5FDB2A}"/>
          </ac:spMkLst>
        </pc:spChg>
        <pc:spChg chg="mod">
          <ac:chgData name="RUFFET, Malcolm" userId="ef33cb5d-7c5f-44ea-8bd1-71f6d9da9dec" providerId="ADAL" clId="{42A6F1C5-53D2-4848-9E6F-5902AFD5EAD4}" dt="2024-02-15T09:29:56.919" v="7155" actId="403"/>
          <ac:spMkLst>
            <pc:docMk/>
            <pc:sldMk cId="1634607131" sldId="2147481376"/>
            <ac:spMk id="20" creationId="{62E08FDF-C30E-4F76-B5AC-A03FFE19972E}"/>
          </ac:spMkLst>
        </pc:spChg>
      </pc:sldChg>
      <pc:sldChg chg="modSp add del mod ord">
        <pc:chgData name="RUFFET, Malcolm" userId="ef33cb5d-7c5f-44ea-8bd1-71f6d9da9dec" providerId="ADAL" clId="{42A6F1C5-53D2-4848-9E6F-5902AFD5EAD4}" dt="2024-03-07T16:08:50.736" v="15421" actId="47"/>
        <pc:sldMkLst>
          <pc:docMk/>
          <pc:sldMk cId="1173513112" sldId="2147481377"/>
        </pc:sldMkLst>
        <pc:spChg chg="mod">
          <ac:chgData name="RUFFET, Malcolm" userId="ef33cb5d-7c5f-44ea-8bd1-71f6d9da9dec" providerId="ADAL" clId="{42A6F1C5-53D2-4848-9E6F-5902AFD5EAD4}" dt="2024-02-15T13:59:04.920" v="7201" actId="20577"/>
          <ac:spMkLst>
            <pc:docMk/>
            <pc:sldMk cId="1173513112" sldId="2147481377"/>
            <ac:spMk id="3" creationId="{0B0CC262-3357-416C-8DBF-45ECC05CCA47}"/>
          </ac:spMkLst>
        </pc:spChg>
        <pc:spChg chg="mod">
          <ac:chgData name="RUFFET, Malcolm" userId="ef33cb5d-7c5f-44ea-8bd1-71f6d9da9dec" providerId="ADAL" clId="{42A6F1C5-53D2-4848-9E6F-5902AFD5EAD4}" dt="2024-02-15T14:00:56.995" v="7493" actId="20577"/>
          <ac:spMkLst>
            <pc:docMk/>
            <pc:sldMk cId="1173513112" sldId="2147481377"/>
            <ac:spMk id="28" creationId="{7DBC80FD-41EC-4B9D-B561-80A61FA69A85}"/>
          </ac:spMkLst>
        </pc:spChg>
        <pc:spChg chg="mod">
          <ac:chgData name="RUFFET, Malcolm" userId="ef33cb5d-7c5f-44ea-8bd1-71f6d9da9dec" providerId="ADAL" clId="{42A6F1C5-53D2-4848-9E6F-5902AFD5EAD4}" dt="2024-02-15T14:52:04.736" v="7502" actId="20577"/>
          <ac:spMkLst>
            <pc:docMk/>
            <pc:sldMk cId="1173513112" sldId="2147481377"/>
            <ac:spMk id="36" creationId="{B16CDAE0-D515-499F-9F9D-77149D638C7E}"/>
          </ac:spMkLst>
        </pc:spChg>
      </pc:sldChg>
      <pc:sldChg chg="addSp modSp add mod ord">
        <pc:chgData name="RUFFET, Malcolm" userId="ef33cb5d-7c5f-44ea-8bd1-71f6d9da9dec" providerId="ADAL" clId="{42A6F1C5-53D2-4848-9E6F-5902AFD5EAD4}" dt="2024-02-23T15:56:27.553" v="13888" actId="1076"/>
        <pc:sldMkLst>
          <pc:docMk/>
          <pc:sldMk cId="3240409323" sldId="2147481378"/>
        </pc:sldMkLst>
        <pc:spChg chg="add mod">
          <ac:chgData name="RUFFET, Malcolm" userId="ef33cb5d-7c5f-44ea-8bd1-71f6d9da9dec" providerId="ADAL" clId="{42A6F1C5-53D2-4848-9E6F-5902AFD5EAD4}" dt="2024-02-23T15:56:27.553" v="13888" actId="1076"/>
          <ac:spMkLst>
            <pc:docMk/>
            <pc:sldMk cId="3240409323" sldId="2147481378"/>
            <ac:spMk id="2" creationId="{8BD78252-0CC5-A072-39AA-1DF3EBDA1420}"/>
          </ac:spMkLst>
        </pc:spChg>
        <pc:spChg chg="mod">
          <ac:chgData name="RUFFET, Malcolm" userId="ef33cb5d-7c5f-44ea-8bd1-71f6d9da9dec" providerId="ADAL" clId="{42A6F1C5-53D2-4848-9E6F-5902AFD5EAD4}" dt="2024-02-23T15:54:23.296" v="13844" actId="20577"/>
          <ac:spMkLst>
            <pc:docMk/>
            <pc:sldMk cId="3240409323" sldId="2147481378"/>
            <ac:spMk id="46" creationId="{197056FA-5540-4B79-8C59-FE1ECA93B783}"/>
          </ac:spMkLst>
        </pc:spChg>
      </pc:sldChg>
      <pc:sldChg chg="addSp delSp modSp add mod ord">
        <pc:chgData name="RUFFET, Malcolm" userId="ef33cb5d-7c5f-44ea-8bd1-71f6d9da9dec" providerId="ADAL" clId="{42A6F1C5-53D2-4848-9E6F-5902AFD5EAD4}" dt="2024-02-21T10:27:39.307" v="12063" actId="20577"/>
        <pc:sldMkLst>
          <pc:docMk/>
          <pc:sldMk cId="536213464" sldId="2147481379"/>
        </pc:sldMkLst>
        <pc:spChg chg="add del mod ord">
          <ac:chgData name="RUFFET, Malcolm" userId="ef33cb5d-7c5f-44ea-8bd1-71f6d9da9dec" providerId="ADAL" clId="{42A6F1C5-53D2-4848-9E6F-5902AFD5EAD4}" dt="2024-02-21T10:27:22.469" v="12026" actId="478"/>
          <ac:spMkLst>
            <pc:docMk/>
            <pc:sldMk cId="536213464" sldId="2147481379"/>
            <ac:spMk id="3" creationId="{3BFAC0FC-002A-D15D-FA6F-F1D45BE49FCD}"/>
          </ac:spMkLst>
        </pc:spChg>
        <pc:spChg chg="add mod">
          <ac:chgData name="RUFFET, Malcolm" userId="ef33cb5d-7c5f-44ea-8bd1-71f6d9da9dec" providerId="ADAL" clId="{42A6F1C5-53D2-4848-9E6F-5902AFD5EAD4}" dt="2024-02-21T10:27:39.307" v="12063" actId="20577"/>
          <ac:spMkLst>
            <pc:docMk/>
            <pc:sldMk cId="536213464" sldId="2147481379"/>
            <ac:spMk id="4" creationId="{BD79BD9F-E088-2FA1-D09E-BD83608E3368}"/>
          </ac:spMkLst>
        </pc:spChg>
        <pc:spChg chg="mod">
          <ac:chgData name="RUFFET, Malcolm" userId="ef33cb5d-7c5f-44ea-8bd1-71f6d9da9dec" providerId="ADAL" clId="{42A6F1C5-53D2-4848-9E6F-5902AFD5EAD4}" dt="2024-02-20T10:35:41.853" v="10350" actId="2711"/>
          <ac:spMkLst>
            <pc:docMk/>
            <pc:sldMk cId="536213464" sldId="2147481379"/>
            <ac:spMk id="6" creationId="{E7F8CD4D-792C-4B0F-9563-9887324579F2}"/>
          </ac:spMkLst>
        </pc:spChg>
        <pc:spChg chg="mod">
          <ac:chgData name="RUFFET, Malcolm" userId="ef33cb5d-7c5f-44ea-8bd1-71f6d9da9dec" providerId="ADAL" clId="{42A6F1C5-53D2-4848-9E6F-5902AFD5EAD4}" dt="2024-02-20T10:35:52.283" v="10352" actId="14100"/>
          <ac:spMkLst>
            <pc:docMk/>
            <pc:sldMk cId="536213464" sldId="2147481379"/>
            <ac:spMk id="10" creationId="{B3ADF2ED-D0D9-4BBE-82CF-F29B88C87406}"/>
          </ac:spMkLst>
        </pc:spChg>
        <pc:spChg chg="mod">
          <ac:chgData name="RUFFET, Malcolm" userId="ef33cb5d-7c5f-44ea-8bd1-71f6d9da9dec" providerId="ADAL" clId="{42A6F1C5-53D2-4848-9E6F-5902AFD5EAD4}" dt="2024-02-15T15:40:05.296" v="8556" actId="20577"/>
          <ac:spMkLst>
            <pc:docMk/>
            <pc:sldMk cId="536213464" sldId="2147481379"/>
            <ac:spMk id="22" creationId="{92557DC4-B18F-4199-93D0-1D081E24520F}"/>
          </ac:spMkLst>
        </pc:spChg>
        <pc:spChg chg="mod">
          <ac:chgData name="RUFFET, Malcolm" userId="ef33cb5d-7c5f-44ea-8bd1-71f6d9da9dec" providerId="ADAL" clId="{42A6F1C5-53D2-4848-9E6F-5902AFD5EAD4}" dt="2024-02-20T10:35:28.237" v="10348" actId="2711"/>
          <ac:spMkLst>
            <pc:docMk/>
            <pc:sldMk cId="536213464" sldId="2147481379"/>
            <ac:spMk id="23" creationId="{829AF7EE-145B-4C4A-8CEB-F55DCBE6686C}"/>
          </ac:spMkLst>
        </pc:spChg>
        <pc:spChg chg="del">
          <ac:chgData name="RUFFET, Malcolm" userId="ef33cb5d-7c5f-44ea-8bd1-71f6d9da9dec" providerId="ADAL" clId="{42A6F1C5-53D2-4848-9E6F-5902AFD5EAD4}" dt="2024-02-20T10:31:46.057" v="9989" actId="478"/>
          <ac:spMkLst>
            <pc:docMk/>
            <pc:sldMk cId="536213464" sldId="2147481379"/>
            <ac:spMk id="26" creationId="{03C61382-5F82-43FB-ABD5-FFFC49E9DFF9}"/>
          </ac:spMkLst>
        </pc:spChg>
        <pc:spChg chg="del">
          <ac:chgData name="RUFFET, Malcolm" userId="ef33cb5d-7c5f-44ea-8bd1-71f6d9da9dec" providerId="ADAL" clId="{42A6F1C5-53D2-4848-9E6F-5902AFD5EAD4}" dt="2024-02-20T10:31:46.057" v="9989" actId="478"/>
          <ac:spMkLst>
            <pc:docMk/>
            <pc:sldMk cId="536213464" sldId="2147481379"/>
            <ac:spMk id="27" creationId="{A5A1BB8E-DC13-4F1C-9F04-73E259911A6E}"/>
          </ac:spMkLst>
        </pc:spChg>
        <pc:spChg chg="del">
          <ac:chgData name="RUFFET, Malcolm" userId="ef33cb5d-7c5f-44ea-8bd1-71f6d9da9dec" providerId="ADAL" clId="{42A6F1C5-53D2-4848-9E6F-5902AFD5EAD4}" dt="2024-02-20T10:31:46.057" v="9989" actId="478"/>
          <ac:spMkLst>
            <pc:docMk/>
            <pc:sldMk cId="536213464" sldId="2147481379"/>
            <ac:spMk id="30" creationId="{1AFE6425-7484-46E1-B2DD-F9012A8084B8}"/>
          </ac:spMkLst>
        </pc:spChg>
        <pc:spChg chg="del">
          <ac:chgData name="RUFFET, Malcolm" userId="ef33cb5d-7c5f-44ea-8bd1-71f6d9da9dec" providerId="ADAL" clId="{42A6F1C5-53D2-4848-9E6F-5902AFD5EAD4}" dt="2024-02-20T10:31:46.057" v="9989" actId="478"/>
          <ac:spMkLst>
            <pc:docMk/>
            <pc:sldMk cId="536213464" sldId="2147481379"/>
            <ac:spMk id="31" creationId="{63B56E63-C69F-474A-914B-467A3A0A89A9}"/>
          </ac:spMkLst>
        </pc:spChg>
        <pc:spChg chg="mod">
          <ac:chgData name="RUFFET, Malcolm" userId="ef33cb5d-7c5f-44ea-8bd1-71f6d9da9dec" providerId="ADAL" clId="{42A6F1C5-53D2-4848-9E6F-5902AFD5EAD4}" dt="2024-02-20T10:35:41.853" v="10350" actId="2711"/>
          <ac:spMkLst>
            <pc:docMk/>
            <pc:sldMk cId="536213464" sldId="2147481379"/>
            <ac:spMk id="36" creationId="{5BDD9626-1F78-410E-87F5-DC827B7CF808}"/>
          </ac:spMkLst>
        </pc:spChg>
        <pc:spChg chg="mod">
          <ac:chgData name="RUFFET, Malcolm" userId="ef33cb5d-7c5f-44ea-8bd1-71f6d9da9dec" providerId="ADAL" clId="{42A6F1C5-53D2-4848-9E6F-5902AFD5EAD4}" dt="2024-02-20T10:35:41.853" v="10350" actId="2711"/>
          <ac:spMkLst>
            <pc:docMk/>
            <pc:sldMk cId="536213464" sldId="2147481379"/>
            <ac:spMk id="39" creationId="{769EF24C-5F14-4054-B05E-2E7D31C112A6}"/>
          </ac:spMkLst>
        </pc:spChg>
        <pc:spChg chg="mod">
          <ac:chgData name="RUFFET, Malcolm" userId="ef33cb5d-7c5f-44ea-8bd1-71f6d9da9dec" providerId="ADAL" clId="{42A6F1C5-53D2-4848-9E6F-5902AFD5EAD4}" dt="2024-02-20T10:35:41.853" v="10350" actId="2711"/>
          <ac:spMkLst>
            <pc:docMk/>
            <pc:sldMk cId="536213464" sldId="2147481379"/>
            <ac:spMk id="40" creationId="{A9E4D656-F68E-4C2B-9C3C-FBEA76EA0F33}"/>
          </ac:spMkLst>
        </pc:spChg>
        <pc:spChg chg="mod">
          <ac:chgData name="RUFFET, Malcolm" userId="ef33cb5d-7c5f-44ea-8bd1-71f6d9da9dec" providerId="ADAL" clId="{42A6F1C5-53D2-4848-9E6F-5902AFD5EAD4}" dt="2024-02-20T10:35:41.853" v="10350" actId="2711"/>
          <ac:spMkLst>
            <pc:docMk/>
            <pc:sldMk cId="536213464" sldId="2147481379"/>
            <ac:spMk id="41" creationId="{94599740-86F9-490B-B27C-B058FAA948DC}"/>
          </ac:spMkLst>
        </pc:spChg>
        <pc:spChg chg="mod">
          <ac:chgData name="RUFFET, Malcolm" userId="ef33cb5d-7c5f-44ea-8bd1-71f6d9da9dec" providerId="ADAL" clId="{42A6F1C5-53D2-4848-9E6F-5902AFD5EAD4}" dt="2024-02-20T10:35:41.853" v="10350" actId="2711"/>
          <ac:spMkLst>
            <pc:docMk/>
            <pc:sldMk cId="536213464" sldId="2147481379"/>
            <ac:spMk id="42" creationId="{656B20E7-A641-4F08-A623-95C5B1B177B9}"/>
          </ac:spMkLst>
        </pc:spChg>
        <pc:spChg chg="mod">
          <ac:chgData name="RUFFET, Malcolm" userId="ef33cb5d-7c5f-44ea-8bd1-71f6d9da9dec" providerId="ADAL" clId="{42A6F1C5-53D2-4848-9E6F-5902AFD5EAD4}" dt="2024-02-20T10:35:41.853" v="10350" actId="2711"/>
          <ac:spMkLst>
            <pc:docMk/>
            <pc:sldMk cId="536213464" sldId="2147481379"/>
            <ac:spMk id="44" creationId="{F917085A-7D94-4E65-9704-05CF8DE953A1}"/>
          </ac:spMkLst>
        </pc:spChg>
        <pc:spChg chg="mod">
          <ac:chgData name="RUFFET, Malcolm" userId="ef33cb5d-7c5f-44ea-8bd1-71f6d9da9dec" providerId="ADAL" clId="{42A6F1C5-53D2-4848-9E6F-5902AFD5EAD4}" dt="2024-02-20T10:35:41.853" v="10350" actId="2711"/>
          <ac:spMkLst>
            <pc:docMk/>
            <pc:sldMk cId="536213464" sldId="2147481379"/>
            <ac:spMk id="45" creationId="{EC245D43-7713-4AE8-A89B-D880CCA7289C}"/>
          </ac:spMkLst>
        </pc:spChg>
        <pc:spChg chg="mod">
          <ac:chgData name="RUFFET, Malcolm" userId="ef33cb5d-7c5f-44ea-8bd1-71f6d9da9dec" providerId="ADAL" clId="{42A6F1C5-53D2-4848-9E6F-5902AFD5EAD4}" dt="2024-02-20T10:35:41.853" v="10350" actId="2711"/>
          <ac:spMkLst>
            <pc:docMk/>
            <pc:sldMk cId="536213464" sldId="2147481379"/>
            <ac:spMk id="48" creationId="{489F701D-A851-4E07-B8AE-10C5D8BF5CE4}"/>
          </ac:spMkLst>
        </pc:spChg>
        <pc:spChg chg="mod">
          <ac:chgData name="RUFFET, Malcolm" userId="ef33cb5d-7c5f-44ea-8bd1-71f6d9da9dec" providerId="ADAL" clId="{42A6F1C5-53D2-4848-9E6F-5902AFD5EAD4}" dt="2024-02-20T10:35:41.853" v="10350" actId="2711"/>
          <ac:spMkLst>
            <pc:docMk/>
            <pc:sldMk cId="536213464" sldId="2147481379"/>
            <ac:spMk id="55" creationId="{775BE92A-15C5-4749-93DE-F354B19996EB}"/>
          </ac:spMkLst>
        </pc:spChg>
        <pc:spChg chg="mod">
          <ac:chgData name="RUFFET, Malcolm" userId="ef33cb5d-7c5f-44ea-8bd1-71f6d9da9dec" providerId="ADAL" clId="{42A6F1C5-53D2-4848-9E6F-5902AFD5EAD4}" dt="2024-02-20T10:35:41.853" v="10350" actId="2711"/>
          <ac:spMkLst>
            <pc:docMk/>
            <pc:sldMk cId="536213464" sldId="2147481379"/>
            <ac:spMk id="68" creationId="{F530C8D5-2825-4806-9BAE-BB3E2C7D43D3}"/>
          </ac:spMkLst>
        </pc:spChg>
        <pc:picChg chg="del">
          <ac:chgData name="RUFFET, Malcolm" userId="ef33cb5d-7c5f-44ea-8bd1-71f6d9da9dec" providerId="ADAL" clId="{42A6F1C5-53D2-4848-9E6F-5902AFD5EAD4}" dt="2024-02-20T10:31:46.057" v="9989" actId="478"/>
          <ac:picMkLst>
            <pc:docMk/>
            <pc:sldMk cId="536213464" sldId="2147481379"/>
            <ac:picMk id="24" creationId="{694DAF5C-3E8D-4700-89A5-6C1B37D484D2}"/>
          </ac:picMkLst>
        </pc:picChg>
        <pc:cxnChg chg="del">
          <ac:chgData name="RUFFET, Malcolm" userId="ef33cb5d-7c5f-44ea-8bd1-71f6d9da9dec" providerId="ADAL" clId="{42A6F1C5-53D2-4848-9E6F-5902AFD5EAD4}" dt="2024-02-20T10:31:46.057" v="9989" actId="478"/>
          <ac:cxnSpMkLst>
            <pc:docMk/>
            <pc:sldMk cId="536213464" sldId="2147481379"/>
            <ac:cxnSpMk id="25" creationId="{59717E33-9BFF-4E06-A919-61188768EAB5}"/>
          </ac:cxnSpMkLst>
        </pc:cxnChg>
        <pc:cxnChg chg="del">
          <ac:chgData name="RUFFET, Malcolm" userId="ef33cb5d-7c5f-44ea-8bd1-71f6d9da9dec" providerId="ADAL" clId="{42A6F1C5-53D2-4848-9E6F-5902AFD5EAD4}" dt="2024-02-20T10:31:46.057" v="9989" actId="478"/>
          <ac:cxnSpMkLst>
            <pc:docMk/>
            <pc:sldMk cId="536213464" sldId="2147481379"/>
            <ac:cxnSpMk id="32" creationId="{D193CCF8-6F87-4870-8734-4E505700D7D8}"/>
          </ac:cxnSpMkLst>
        </pc:cxnChg>
      </pc:sldChg>
      <pc:sldChg chg="addSp delSp modSp new del mod modClrScheme chgLayout">
        <pc:chgData name="RUFFET, Malcolm" userId="ef33cb5d-7c5f-44ea-8bd1-71f6d9da9dec" providerId="ADAL" clId="{42A6F1C5-53D2-4848-9E6F-5902AFD5EAD4}" dt="2024-02-15T15:17:57.393" v="7894" actId="47"/>
        <pc:sldMkLst>
          <pc:docMk/>
          <pc:sldMk cId="2484011489" sldId="2147481380"/>
        </pc:sldMkLst>
        <pc:spChg chg="del mod ord">
          <ac:chgData name="RUFFET, Malcolm" userId="ef33cb5d-7c5f-44ea-8bd1-71f6d9da9dec" providerId="ADAL" clId="{42A6F1C5-53D2-4848-9E6F-5902AFD5EAD4}" dt="2024-02-15T09:30:09.525" v="7157" actId="700"/>
          <ac:spMkLst>
            <pc:docMk/>
            <pc:sldMk cId="2484011489" sldId="2147481380"/>
            <ac:spMk id="2" creationId="{EB06CCF4-886B-FF89-1C1C-C2680E2635F9}"/>
          </ac:spMkLst>
        </pc:spChg>
        <pc:spChg chg="del mod ord">
          <ac:chgData name="RUFFET, Malcolm" userId="ef33cb5d-7c5f-44ea-8bd1-71f6d9da9dec" providerId="ADAL" clId="{42A6F1C5-53D2-4848-9E6F-5902AFD5EAD4}" dt="2024-02-15T09:30:09.525" v="7157" actId="700"/>
          <ac:spMkLst>
            <pc:docMk/>
            <pc:sldMk cId="2484011489" sldId="2147481380"/>
            <ac:spMk id="3" creationId="{3233A956-2DC2-4266-D130-2F5AFBA30108}"/>
          </ac:spMkLst>
        </pc:spChg>
        <pc:spChg chg="add mod ord">
          <ac:chgData name="RUFFET, Malcolm" userId="ef33cb5d-7c5f-44ea-8bd1-71f6d9da9dec" providerId="ADAL" clId="{42A6F1C5-53D2-4848-9E6F-5902AFD5EAD4}" dt="2024-02-15T09:30:27.191" v="7185" actId="20577"/>
          <ac:spMkLst>
            <pc:docMk/>
            <pc:sldMk cId="2484011489" sldId="2147481380"/>
            <ac:spMk id="4" creationId="{791B83E8-F4A5-547B-AE2B-B91F3EE4E1C1}"/>
          </ac:spMkLst>
        </pc:spChg>
        <pc:spChg chg="add mod ord">
          <ac:chgData name="RUFFET, Malcolm" userId="ef33cb5d-7c5f-44ea-8bd1-71f6d9da9dec" providerId="ADAL" clId="{42A6F1C5-53D2-4848-9E6F-5902AFD5EAD4}" dt="2024-02-15T09:30:09.525" v="7157" actId="700"/>
          <ac:spMkLst>
            <pc:docMk/>
            <pc:sldMk cId="2484011489" sldId="2147481380"/>
            <ac:spMk id="5" creationId="{BB025DE4-E0BC-E81B-1D82-495D54886C5D}"/>
          </ac:spMkLst>
        </pc:spChg>
      </pc:sldChg>
      <pc:sldChg chg="ord">
        <pc:chgData name="RUFFET, Malcolm" userId="ef33cb5d-7c5f-44ea-8bd1-71f6d9da9dec" providerId="ADAL" clId="{42A6F1C5-53D2-4848-9E6F-5902AFD5EAD4}" dt="2024-02-21T10:02:19.577" v="11719"/>
        <pc:sldMkLst>
          <pc:docMk/>
          <pc:sldMk cId="2467275502" sldId="2147481381"/>
        </pc:sldMkLst>
      </pc:sldChg>
      <pc:sldChg chg="add del ord">
        <pc:chgData name="RUFFET, Malcolm" userId="ef33cb5d-7c5f-44ea-8bd1-71f6d9da9dec" providerId="ADAL" clId="{42A6F1C5-53D2-4848-9E6F-5902AFD5EAD4}" dt="2024-02-16T10:10:24.118" v="8593" actId="47"/>
        <pc:sldMkLst>
          <pc:docMk/>
          <pc:sldMk cId="3698260246" sldId="2147481382"/>
        </pc:sldMkLst>
      </pc:sldChg>
      <pc:sldChg chg="new del">
        <pc:chgData name="RUFFET, Malcolm" userId="ef33cb5d-7c5f-44ea-8bd1-71f6d9da9dec" providerId="ADAL" clId="{42A6F1C5-53D2-4848-9E6F-5902AFD5EAD4}" dt="2024-02-15T14:53:18.939" v="7512" actId="47"/>
        <pc:sldMkLst>
          <pc:docMk/>
          <pc:sldMk cId="2688217306" sldId="2147481383"/>
        </pc:sldMkLst>
      </pc:sldChg>
      <pc:sldChg chg="addSp delSp modSp new del mod modClrScheme chgLayout">
        <pc:chgData name="RUFFET, Malcolm" userId="ef33cb5d-7c5f-44ea-8bd1-71f6d9da9dec" providerId="ADAL" clId="{42A6F1C5-53D2-4848-9E6F-5902AFD5EAD4}" dt="2024-02-15T14:53:00.148" v="7509" actId="47"/>
        <pc:sldMkLst>
          <pc:docMk/>
          <pc:sldMk cId="3575108429" sldId="2147481383"/>
        </pc:sldMkLst>
        <pc:spChg chg="del">
          <ac:chgData name="RUFFET, Malcolm" userId="ef33cb5d-7c5f-44ea-8bd1-71f6d9da9dec" providerId="ADAL" clId="{42A6F1C5-53D2-4848-9E6F-5902AFD5EAD4}" dt="2024-02-15T14:52:40.743" v="7504" actId="700"/>
          <ac:spMkLst>
            <pc:docMk/>
            <pc:sldMk cId="3575108429" sldId="2147481383"/>
            <ac:spMk id="2" creationId="{07188D4E-67B8-1200-14FF-AD931B2F7DC3}"/>
          </ac:spMkLst>
        </pc:spChg>
        <pc:spChg chg="del mod ord">
          <ac:chgData name="RUFFET, Malcolm" userId="ef33cb5d-7c5f-44ea-8bd1-71f6d9da9dec" providerId="ADAL" clId="{42A6F1C5-53D2-4848-9E6F-5902AFD5EAD4}" dt="2024-02-15T14:52:40.743" v="7504" actId="700"/>
          <ac:spMkLst>
            <pc:docMk/>
            <pc:sldMk cId="3575108429" sldId="2147481383"/>
            <ac:spMk id="3" creationId="{F4F31B6F-72D2-DCB7-6E10-EAF2C069898D}"/>
          </ac:spMkLst>
        </pc:spChg>
        <pc:spChg chg="del">
          <ac:chgData name="RUFFET, Malcolm" userId="ef33cb5d-7c5f-44ea-8bd1-71f6d9da9dec" providerId="ADAL" clId="{42A6F1C5-53D2-4848-9E6F-5902AFD5EAD4}" dt="2024-02-15T14:52:40.743" v="7504" actId="700"/>
          <ac:spMkLst>
            <pc:docMk/>
            <pc:sldMk cId="3575108429" sldId="2147481383"/>
            <ac:spMk id="4" creationId="{2B1782FD-171C-FA9E-2883-657C0AF43F2B}"/>
          </ac:spMkLst>
        </pc:spChg>
        <pc:spChg chg="mod ord">
          <ac:chgData name="RUFFET, Malcolm" userId="ef33cb5d-7c5f-44ea-8bd1-71f6d9da9dec" providerId="ADAL" clId="{42A6F1C5-53D2-4848-9E6F-5902AFD5EAD4}" dt="2024-02-15T14:52:56.842" v="7507" actId="20577"/>
          <ac:spMkLst>
            <pc:docMk/>
            <pc:sldMk cId="3575108429" sldId="2147481383"/>
            <ac:spMk id="5" creationId="{4EDC0397-7D1C-866F-A1F0-7270F2171D41}"/>
          </ac:spMkLst>
        </pc:spChg>
        <pc:spChg chg="mod ord">
          <ac:chgData name="RUFFET, Malcolm" userId="ef33cb5d-7c5f-44ea-8bd1-71f6d9da9dec" providerId="ADAL" clId="{42A6F1C5-53D2-4848-9E6F-5902AFD5EAD4}" dt="2024-02-15T14:52:57.085" v="7508" actId="6549"/>
          <ac:spMkLst>
            <pc:docMk/>
            <pc:sldMk cId="3575108429" sldId="2147481383"/>
            <ac:spMk id="6" creationId="{1058CC8F-1FE1-BCDC-329E-411EACDFBDCF}"/>
          </ac:spMkLst>
        </pc:spChg>
        <pc:spChg chg="mod ord">
          <ac:chgData name="RUFFET, Malcolm" userId="ef33cb5d-7c5f-44ea-8bd1-71f6d9da9dec" providerId="ADAL" clId="{42A6F1C5-53D2-4848-9E6F-5902AFD5EAD4}" dt="2024-02-15T14:52:40.743" v="7504" actId="700"/>
          <ac:spMkLst>
            <pc:docMk/>
            <pc:sldMk cId="3575108429" sldId="2147481383"/>
            <ac:spMk id="7" creationId="{374A27AA-EA9E-4C42-BFD4-8410E5F968A4}"/>
          </ac:spMkLst>
        </pc:spChg>
        <pc:spChg chg="del">
          <ac:chgData name="RUFFET, Malcolm" userId="ef33cb5d-7c5f-44ea-8bd1-71f6d9da9dec" providerId="ADAL" clId="{42A6F1C5-53D2-4848-9E6F-5902AFD5EAD4}" dt="2024-02-15T14:52:40.743" v="7504" actId="700"/>
          <ac:spMkLst>
            <pc:docMk/>
            <pc:sldMk cId="3575108429" sldId="2147481383"/>
            <ac:spMk id="8" creationId="{9435B66D-24A2-67C8-674E-2D60EE3E1F42}"/>
          </ac:spMkLst>
        </pc:spChg>
        <pc:spChg chg="del">
          <ac:chgData name="RUFFET, Malcolm" userId="ef33cb5d-7c5f-44ea-8bd1-71f6d9da9dec" providerId="ADAL" clId="{42A6F1C5-53D2-4848-9E6F-5902AFD5EAD4}" dt="2024-02-15T14:52:40.743" v="7504" actId="700"/>
          <ac:spMkLst>
            <pc:docMk/>
            <pc:sldMk cId="3575108429" sldId="2147481383"/>
            <ac:spMk id="9" creationId="{2DC1530B-08F0-6CDF-2096-6A1D1B09C936}"/>
          </ac:spMkLst>
        </pc:spChg>
        <pc:spChg chg="del">
          <ac:chgData name="RUFFET, Malcolm" userId="ef33cb5d-7c5f-44ea-8bd1-71f6d9da9dec" providerId="ADAL" clId="{42A6F1C5-53D2-4848-9E6F-5902AFD5EAD4}" dt="2024-02-15T14:52:40.743" v="7504" actId="700"/>
          <ac:spMkLst>
            <pc:docMk/>
            <pc:sldMk cId="3575108429" sldId="2147481383"/>
            <ac:spMk id="10" creationId="{32084A83-B704-68CF-08C5-F9B33BADF57B}"/>
          </ac:spMkLst>
        </pc:spChg>
        <pc:spChg chg="add mod ord">
          <ac:chgData name="RUFFET, Malcolm" userId="ef33cb5d-7c5f-44ea-8bd1-71f6d9da9dec" providerId="ADAL" clId="{42A6F1C5-53D2-4848-9E6F-5902AFD5EAD4}" dt="2024-02-15T14:52:40.743" v="7504" actId="700"/>
          <ac:spMkLst>
            <pc:docMk/>
            <pc:sldMk cId="3575108429" sldId="2147481383"/>
            <ac:spMk id="11" creationId="{9AFD4711-F14F-0516-C1F4-F5BDFCC900AA}"/>
          </ac:spMkLst>
        </pc:spChg>
        <pc:spChg chg="add mod ord">
          <ac:chgData name="RUFFET, Malcolm" userId="ef33cb5d-7c5f-44ea-8bd1-71f6d9da9dec" providerId="ADAL" clId="{42A6F1C5-53D2-4848-9E6F-5902AFD5EAD4}" dt="2024-02-15T14:52:40.743" v="7504" actId="700"/>
          <ac:spMkLst>
            <pc:docMk/>
            <pc:sldMk cId="3575108429" sldId="2147481383"/>
            <ac:spMk id="12" creationId="{851AB3B4-B5BF-3C23-E9F3-0A6A7409A24A}"/>
          </ac:spMkLst>
        </pc:spChg>
      </pc:sldChg>
      <pc:sldChg chg="addSp delSp modSp add mod ord">
        <pc:chgData name="RUFFET, Malcolm" userId="ef33cb5d-7c5f-44ea-8bd1-71f6d9da9dec" providerId="ADAL" clId="{42A6F1C5-53D2-4848-9E6F-5902AFD5EAD4}" dt="2024-02-21T10:02:19.577" v="11719"/>
        <pc:sldMkLst>
          <pc:docMk/>
          <pc:sldMk cId="4080557187" sldId="2147481384"/>
        </pc:sldMkLst>
        <pc:spChg chg="add del mod">
          <ac:chgData name="RUFFET, Malcolm" userId="ef33cb5d-7c5f-44ea-8bd1-71f6d9da9dec" providerId="ADAL" clId="{42A6F1C5-53D2-4848-9E6F-5902AFD5EAD4}" dt="2024-02-19T09:22:25.797" v="9116" actId="478"/>
          <ac:spMkLst>
            <pc:docMk/>
            <pc:sldMk cId="4080557187" sldId="2147481384"/>
            <ac:spMk id="4" creationId="{7CB770B5-A816-F43E-04C7-5BE36D92CB13}"/>
          </ac:spMkLst>
        </pc:spChg>
        <pc:spChg chg="add mod">
          <ac:chgData name="RUFFET, Malcolm" userId="ef33cb5d-7c5f-44ea-8bd1-71f6d9da9dec" providerId="ADAL" clId="{42A6F1C5-53D2-4848-9E6F-5902AFD5EAD4}" dt="2024-02-19T09:23:20.178" v="9141" actId="113"/>
          <ac:spMkLst>
            <pc:docMk/>
            <pc:sldMk cId="4080557187" sldId="2147481384"/>
            <ac:spMk id="5" creationId="{842748CF-96A3-649D-CC2B-F85F52A56A24}"/>
          </ac:spMkLst>
        </pc:spChg>
        <pc:spChg chg="add mod">
          <ac:chgData name="RUFFET, Malcolm" userId="ef33cb5d-7c5f-44ea-8bd1-71f6d9da9dec" providerId="ADAL" clId="{42A6F1C5-53D2-4848-9E6F-5902AFD5EAD4}" dt="2024-02-19T09:23:18.642" v="9140" actId="113"/>
          <ac:spMkLst>
            <pc:docMk/>
            <pc:sldMk cId="4080557187" sldId="2147481384"/>
            <ac:spMk id="6" creationId="{F89608D4-628F-FC81-1BED-B3F1FD2ADDC8}"/>
          </ac:spMkLst>
        </pc:spChg>
        <pc:spChg chg="add del mod">
          <ac:chgData name="RUFFET, Malcolm" userId="ef33cb5d-7c5f-44ea-8bd1-71f6d9da9dec" providerId="ADAL" clId="{42A6F1C5-53D2-4848-9E6F-5902AFD5EAD4}" dt="2024-02-19T09:22:46.713" v="9126" actId="478"/>
          <ac:spMkLst>
            <pc:docMk/>
            <pc:sldMk cId="4080557187" sldId="2147481384"/>
            <ac:spMk id="7" creationId="{60CBBF1F-1862-3EEC-552C-4A535968C453}"/>
          </ac:spMkLst>
        </pc:spChg>
        <pc:spChg chg="add del mod">
          <ac:chgData name="RUFFET, Malcolm" userId="ef33cb5d-7c5f-44ea-8bd1-71f6d9da9dec" providerId="ADAL" clId="{42A6F1C5-53D2-4848-9E6F-5902AFD5EAD4}" dt="2024-02-19T09:22:50.533" v="9127" actId="478"/>
          <ac:spMkLst>
            <pc:docMk/>
            <pc:sldMk cId="4080557187" sldId="2147481384"/>
            <ac:spMk id="8" creationId="{44C30B72-44BA-90BF-41ED-886ED68D28EA}"/>
          </ac:spMkLst>
        </pc:spChg>
        <pc:spChg chg="add mod">
          <ac:chgData name="RUFFET, Malcolm" userId="ef33cb5d-7c5f-44ea-8bd1-71f6d9da9dec" providerId="ADAL" clId="{42A6F1C5-53D2-4848-9E6F-5902AFD5EAD4}" dt="2024-02-19T09:23:27.881" v="9144" actId="20577"/>
          <ac:spMkLst>
            <pc:docMk/>
            <pc:sldMk cId="4080557187" sldId="2147481384"/>
            <ac:spMk id="9" creationId="{832DAA52-9CA9-7534-75E1-26E1EAAAAE89}"/>
          </ac:spMkLst>
        </pc:spChg>
        <pc:spChg chg="add mod">
          <ac:chgData name="RUFFET, Malcolm" userId="ef33cb5d-7c5f-44ea-8bd1-71f6d9da9dec" providerId="ADAL" clId="{42A6F1C5-53D2-4848-9E6F-5902AFD5EAD4}" dt="2024-02-19T09:23:40.149" v="9147" actId="20577"/>
          <ac:spMkLst>
            <pc:docMk/>
            <pc:sldMk cId="4080557187" sldId="2147481384"/>
            <ac:spMk id="10" creationId="{49DA012A-CF49-ED59-3437-575FF13026D7}"/>
          </ac:spMkLst>
        </pc:spChg>
        <pc:spChg chg="del">
          <ac:chgData name="RUFFET, Malcolm" userId="ef33cb5d-7c5f-44ea-8bd1-71f6d9da9dec" providerId="ADAL" clId="{42A6F1C5-53D2-4848-9E6F-5902AFD5EAD4}" dt="2024-02-15T14:53:39.246" v="7530" actId="478"/>
          <ac:spMkLst>
            <pc:docMk/>
            <pc:sldMk cId="4080557187" sldId="2147481384"/>
            <ac:spMk id="10" creationId="{B3ADF2ED-D0D9-4BBE-82CF-F29B88C87406}"/>
          </ac:spMkLst>
        </pc:spChg>
        <pc:spChg chg="add del mod">
          <ac:chgData name="RUFFET, Malcolm" userId="ef33cb5d-7c5f-44ea-8bd1-71f6d9da9dec" providerId="ADAL" clId="{42A6F1C5-53D2-4848-9E6F-5902AFD5EAD4}" dt="2024-02-19T09:22:50.533" v="9127" actId="478"/>
          <ac:spMkLst>
            <pc:docMk/>
            <pc:sldMk cId="4080557187" sldId="2147481384"/>
            <ac:spMk id="11" creationId="{32182188-AEBC-2AA0-3002-965D9FDECE10}"/>
          </ac:spMkLst>
        </pc:spChg>
        <pc:spChg chg="add del mod">
          <ac:chgData name="RUFFET, Malcolm" userId="ef33cb5d-7c5f-44ea-8bd1-71f6d9da9dec" providerId="ADAL" clId="{42A6F1C5-53D2-4848-9E6F-5902AFD5EAD4}" dt="2024-02-19T09:22:50.533" v="9127" actId="478"/>
          <ac:spMkLst>
            <pc:docMk/>
            <pc:sldMk cId="4080557187" sldId="2147481384"/>
            <ac:spMk id="12" creationId="{BCB3B129-215B-80F0-73E9-A834BDC1B4F3}"/>
          </ac:spMkLst>
        </pc:spChg>
        <pc:spChg chg="add mod">
          <ac:chgData name="RUFFET, Malcolm" userId="ef33cb5d-7c5f-44ea-8bd1-71f6d9da9dec" providerId="ADAL" clId="{42A6F1C5-53D2-4848-9E6F-5902AFD5EAD4}" dt="2024-02-15T15:03:20.010" v="7892" actId="207"/>
          <ac:spMkLst>
            <pc:docMk/>
            <pc:sldMk cId="4080557187" sldId="2147481384"/>
            <ac:spMk id="13" creationId="{30647647-BC1A-0825-CF8A-41AD024BDAE8}"/>
          </ac:spMkLst>
        </pc:spChg>
        <pc:spChg chg="add del mod">
          <ac:chgData name="RUFFET, Malcolm" userId="ef33cb5d-7c5f-44ea-8bd1-71f6d9da9dec" providerId="ADAL" clId="{42A6F1C5-53D2-4848-9E6F-5902AFD5EAD4}" dt="2024-02-15T15:01:37.040" v="7828" actId="478"/>
          <ac:spMkLst>
            <pc:docMk/>
            <pc:sldMk cId="4080557187" sldId="2147481384"/>
            <ac:spMk id="14" creationId="{49CBEC29-833E-50AA-5309-669566F7F786}"/>
          </ac:spMkLst>
        </pc:spChg>
        <pc:spChg chg="add mod">
          <ac:chgData name="RUFFET, Malcolm" userId="ef33cb5d-7c5f-44ea-8bd1-71f6d9da9dec" providerId="ADAL" clId="{42A6F1C5-53D2-4848-9E6F-5902AFD5EAD4}" dt="2024-02-19T09:23:48.822" v="9149" actId="14100"/>
          <ac:spMkLst>
            <pc:docMk/>
            <pc:sldMk cId="4080557187" sldId="2147481384"/>
            <ac:spMk id="14" creationId="{F40E5E4D-FD0D-53B3-CAF9-9CE546BF43CF}"/>
          </ac:spMkLst>
        </pc:spChg>
        <pc:spChg chg="add mod">
          <ac:chgData name="RUFFET, Malcolm" userId="ef33cb5d-7c5f-44ea-8bd1-71f6d9da9dec" providerId="ADAL" clId="{42A6F1C5-53D2-4848-9E6F-5902AFD5EAD4}" dt="2024-02-15T15:03:29.435" v="7893" actId="465"/>
          <ac:spMkLst>
            <pc:docMk/>
            <pc:sldMk cId="4080557187" sldId="2147481384"/>
            <ac:spMk id="15" creationId="{613FAFC2-C839-D751-9FD9-5192CB4067CA}"/>
          </ac:spMkLst>
        </pc:spChg>
        <pc:spChg chg="add mod">
          <ac:chgData name="RUFFET, Malcolm" userId="ef33cb5d-7c5f-44ea-8bd1-71f6d9da9dec" providerId="ADAL" clId="{42A6F1C5-53D2-4848-9E6F-5902AFD5EAD4}" dt="2024-02-15T15:03:29.435" v="7893" actId="465"/>
          <ac:spMkLst>
            <pc:docMk/>
            <pc:sldMk cId="4080557187" sldId="2147481384"/>
            <ac:spMk id="16" creationId="{BAD20E7F-229A-8C30-6543-8D49F0E79371}"/>
          </ac:spMkLst>
        </pc:spChg>
        <pc:spChg chg="add mod">
          <ac:chgData name="RUFFET, Malcolm" userId="ef33cb5d-7c5f-44ea-8bd1-71f6d9da9dec" providerId="ADAL" clId="{42A6F1C5-53D2-4848-9E6F-5902AFD5EAD4}" dt="2024-02-15T15:03:29.435" v="7893" actId="465"/>
          <ac:spMkLst>
            <pc:docMk/>
            <pc:sldMk cId="4080557187" sldId="2147481384"/>
            <ac:spMk id="17" creationId="{2D53651A-E05D-5A3F-CF90-BC22AB40E019}"/>
          </ac:spMkLst>
        </pc:spChg>
        <pc:spChg chg="add mod">
          <ac:chgData name="RUFFET, Malcolm" userId="ef33cb5d-7c5f-44ea-8bd1-71f6d9da9dec" providerId="ADAL" clId="{42A6F1C5-53D2-4848-9E6F-5902AFD5EAD4}" dt="2024-02-15T15:03:29.435" v="7893" actId="465"/>
          <ac:spMkLst>
            <pc:docMk/>
            <pc:sldMk cId="4080557187" sldId="2147481384"/>
            <ac:spMk id="18" creationId="{5DB87774-8563-CAB9-81BD-6B5073C60EC8}"/>
          </ac:spMkLst>
        </pc:spChg>
        <pc:spChg chg="add mod">
          <ac:chgData name="RUFFET, Malcolm" userId="ef33cb5d-7c5f-44ea-8bd1-71f6d9da9dec" providerId="ADAL" clId="{42A6F1C5-53D2-4848-9E6F-5902AFD5EAD4}" dt="2024-02-15T15:03:29.435" v="7893" actId="465"/>
          <ac:spMkLst>
            <pc:docMk/>
            <pc:sldMk cId="4080557187" sldId="2147481384"/>
            <ac:spMk id="19" creationId="{55C122AD-6AC5-3FE2-6F67-782E32DB14B9}"/>
          </ac:spMkLst>
        </pc:spChg>
        <pc:spChg chg="add mod">
          <ac:chgData name="RUFFET, Malcolm" userId="ef33cb5d-7c5f-44ea-8bd1-71f6d9da9dec" providerId="ADAL" clId="{42A6F1C5-53D2-4848-9E6F-5902AFD5EAD4}" dt="2024-02-15T15:03:20.010" v="7892" actId="207"/>
          <ac:spMkLst>
            <pc:docMk/>
            <pc:sldMk cId="4080557187" sldId="2147481384"/>
            <ac:spMk id="20" creationId="{2DBD63B9-C49A-DDBE-F483-DF9D2E025BDF}"/>
          </ac:spMkLst>
        </pc:spChg>
        <pc:spChg chg="mod">
          <ac:chgData name="RUFFET, Malcolm" userId="ef33cb5d-7c5f-44ea-8bd1-71f6d9da9dec" providerId="ADAL" clId="{42A6F1C5-53D2-4848-9E6F-5902AFD5EAD4}" dt="2024-02-15T14:53:27.217" v="7528" actId="20577"/>
          <ac:spMkLst>
            <pc:docMk/>
            <pc:sldMk cId="4080557187" sldId="2147481384"/>
            <ac:spMk id="22" creationId="{92557DC4-B18F-4199-93D0-1D081E24520F}"/>
          </ac:spMkLst>
        </pc:spChg>
        <pc:spChg chg="mod">
          <ac:chgData name="RUFFET, Malcolm" userId="ef33cb5d-7c5f-44ea-8bd1-71f6d9da9dec" providerId="ADAL" clId="{42A6F1C5-53D2-4848-9E6F-5902AFD5EAD4}" dt="2024-02-15T15:03:07.223" v="7891" actId="1076"/>
          <ac:spMkLst>
            <pc:docMk/>
            <pc:sldMk cId="4080557187" sldId="2147481384"/>
            <ac:spMk id="23" creationId="{829AF7EE-145B-4C4A-8CEB-F55DCBE6686C}"/>
          </ac:spMkLst>
        </pc:spChg>
        <pc:spChg chg="del">
          <ac:chgData name="RUFFET, Malcolm" userId="ef33cb5d-7c5f-44ea-8bd1-71f6d9da9dec" providerId="ADAL" clId="{42A6F1C5-53D2-4848-9E6F-5902AFD5EAD4}" dt="2024-02-15T14:53:34.345" v="7529" actId="478"/>
          <ac:spMkLst>
            <pc:docMk/>
            <pc:sldMk cId="4080557187" sldId="2147481384"/>
            <ac:spMk id="26" creationId="{03C61382-5F82-43FB-ABD5-FFFC49E9DFF9}"/>
          </ac:spMkLst>
        </pc:spChg>
        <pc:spChg chg="del">
          <ac:chgData name="RUFFET, Malcolm" userId="ef33cb5d-7c5f-44ea-8bd1-71f6d9da9dec" providerId="ADAL" clId="{42A6F1C5-53D2-4848-9E6F-5902AFD5EAD4}" dt="2024-02-15T14:53:34.345" v="7529" actId="478"/>
          <ac:spMkLst>
            <pc:docMk/>
            <pc:sldMk cId="4080557187" sldId="2147481384"/>
            <ac:spMk id="27" creationId="{A5A1BB8E-DC13-4F1C-9F04-73E259911A6E}"/>
          </ac:spMkLst>
        </pc:spChg>
        <pc:spChg chg="del">
          <ac:chgData name="RUFFET, Malcolm" userId="ef33cb5d-7c5f-44ea-8bd1-71f6d9da9dec" providerId="ADAL" clId="{42A6F1C5-53D2-4848-9E6F-5902AFD5EAD4}" dt="2024-02-15T14:53:34.345" v="7529" actId="478"/>
          <ac:spMkLst>
            <pc:docMk/>
            <pc:sldMk cId="4080557187" sldId="2147481384"/>
            <ac:spMk id="30" creationId="{1AFE6425-7484-46E1-B2DD-F9012A8084B8}"/>
          </ac:spMkLst>
        </pc:spChg>
        <pc:spChg chg="del">
          <ac:chgData name="RUFFET, Malcolm" userId="ef33cb5d-7c5f-44ea-8bd1-71f6d9da9dec" providerId="ADAL" clId="{42A6F1C5-53D2-4848-9E6F-5902AFD5EAD4}" dt="2024-02-15T14:53:34.345" v="7529" actId="478"/>
          <ac:spMkLst>
            <pc:docMk/>
            <pc:sldMk cId="4080557187" sldId="2147481384"/>
            <ac:spMk id="31" creationId="{63B56E63-C69F-474A-914B-467A3A0A89A9}"/>
          </ac:spMkLst>
        </pc:spChg>
        <pc:grpChg chg="del">
          <ac:chgData name="RUFFET, Malcolm" userId="ef33cb5d-7c5f-44ea-8bd1-71f6d9da9dec" providerId="ADAL" clId="{42A6F1C5-53D2-4848-9E6F-5902AFD5EAD4}" dt="2024-02-15T14:53:39.246" v="7530" actId="478"/>
          <ac:grpSpMkLst>
            <pc:docMk/>
            <pc:sldMk cId="4080557187" sldId="2147481384"/>
            <ac:grpSpMk id="5" creationId="{78B1BBA8-665F-4B89-8C70-8FF8C64CA2C4}"/>
          </ac:grpSpMkLst>
        </pc:grpChg>
        <pc:graphicFrameChg chg="add mod modGraphic">
          <ac:chgData name="RUFFET, Malcolm" userId="ef33cb5d-7c5f-44ea-8bd1-71f6d9da9dec" providerId="ADAL" clId="{42A6F1C5-53D2-4848-9E6F-5902AFD5EAD4}" dt="2024-02-15T14:58:45.844" v="7788" actId="572"/>
          <ac:graphicFrameMkLst>
            <pc:docMk/>
            <pc:sldMk cId="4080557187" sldId="2147481384"/>
            <ac:graphicFrameMk id="3" creationId="{CA4CA62F-C8D4-6836-8CC8-4AA3F902AF26}"/>
          </ac:graphicFrameMkLst>
        </pc:graphicFrameChg>
        <pc:picChg chg="del">
          <ac:chgData name="RUFFET, Malcolm" userId="ef33cb5d-7c5f-44ea-8bd1-71f6d9da9dec" providerId="ADAL" clId="{42A6F1C5-53D2-4848-9E6F-5902AFD5EAD4}" dt="2024-02-15T14:53:34.345" v="7529" actId="478"/>
          <ac:picMkLst>
            <pc:docMk/>
            <pc:sldMk cId="4080557187" sldId="2147481384"/>
            <ac:picMk id="24" creationId="{694DAF5C-3E8D-4700-89A5-6C1B37D484D2}"/>
          </ac:picMkLst>
        </pc:picChg>
        <pc:cxnChg chg="del">
          <ac:chgData name="RUFFET, Malcolm" userId="ef33cb5d-7c5f-44ea-8bd1-71f6d9da9dec" providerId="ADAL" clId="{42A6F1C5-53D2-4848-9E6F-5902AFD5EAD4}" dt="2024-02-15T14:53:34.345" v="7529" actId="478"/>
          <ac:cxnSpMkLst>
            <pc:docMk/>
            <pc:sldMk cId="4080557187" sldId="2147481384"/>
            <ac:cxnSpMk id="25" creationId="{59717E33-9BFF-4E06-A919-61188768EAB5}"/>
          </ac:cxnSpMkLst>
        </pc:cxnChg>
        <pc:cxnChg chg="del">
          <ac:chgData name="RUFFET, Malcolm" userId="ef33cb5d-7c5f-44ea-8bd1-71f6d9da9dec" providerId="ADAL" clId="{42A6F1C5-53D2-4848-9E6F-5902AFD5EAD4}" dt="2024-02-15T14:53:34.345" v="7529" actId="478"/>
          <ac:cxnSpMkLst>
            <pc:docMk/>
            <pc:sldMk cId="4080557187" sldId="2147481384"/>
            <ac:cxnSpMk id="32" creationId="{D193CCF8-6F87-4870-8734-4E505700D7D8}"/>
          </ac:cxnSpMkLst>
        </pc:cxnChg>
      </pc:sldChg>
      <pc:sldChg chg="addSp delSp modSp add mod ord">
        <pc:chgData name="RUFFET, Malcolm" userId="ef33cb5d-7c5f-44ea-8bd1-71f6d9da9dec" providerId="ADAL" clId="{42A6F1C5-53D2-4848-9E6F-5902AFD5EAD4}" dt="2024-02-26T17:27:32.714" v="14554" actId="20577"/>
        <pc:sldMkLst>
          <pc:docMk/>
          <pc:sldMk cId="200085282" sldId="2147481385"/>
        </pc:sldMkLst>
        <pc:spChg chg="del">
          <ac:chgData name="RUFFET, Malcolm" userId="ef33cb5d-7c5f-44ea-8bd1-71f6d9da9dec" providerId="ADAL" clId="{42A6F1C5-53D2-4848-9E6F-5902AFD5EAD4}" dt="2024-02-15T15:19:47.442" v="8046" actId="478"/>
          <ac:spMkLst>
            <pc:docMk/>
            <pc:sldMk cId="200085282" sldId="2147481385"/>
            <ac:spMk id="4" creationId="{7CB770B5-A816-F43E-04C7-5BE36D92CB13}"/>
          </ac:spMkLst>
        </pc:spChg>
        <pc:spChg chg="add mod topLvl">
          <ac:chgData name="RUFFET, Malcolm" userId="ef33cb5d-7c5f-44ea-8bd1-71f6d9da9dec" providerId="ADAL" clId="{42A6F1C5-53D2-4848-9E6F-5902AFD5EAD4}" dt="2024-02-15T15:30:07.155" v="8397" actId="1076"/>
          <ac:spMkLst>
            <pc:docMk/>
            <pc:sldMk cId="200085282" sldId="2147481385"/>
            <ac:spMk id="5" creationId="{838FE5A2-E234-012F-35D2-7DCA13392607}"/>
          </ac:spMkLst>
        </pc:spChg>
        <pc:spChg chg="add mod topLvl">
          <ac:chgData name="RUFFET, Malcolm" userId="ef33cb5d-7c5f-44ea-8bd1-71f6d9da9dec" providerId="ADAL" clId="{42A6F1C5-53D2-4848-9E6F-5902AFD5EAD4}" dt="2024-02-15T15:30:07.155" v="8397" actId="1076"/>
          <ac:spMkLst>
            <pc:docMk/>
            <pc:sldMk cId="200085282" sldId="2147481385"/>
            <ac:spMk id="6" creationId="{BEFB9BF7-1882-0C79-7424-D4593910F14A}"/>
          </ac:spMkLst>
        </pc:spChg>
        <pc:spChg chg="del">
          <ac:chgData name="RUFFET, Malcolm" userId="ef33cb5d-7c5f-44ea-8bd1-71f6d9da9dec" providerId="ADAL" clId="{42A6F1C5-53D2-4848-9E6F-5902AFD5EAD4}" dt="2024-02-15T15:19:47.442" v="8046" actId="478"/>
          <ac:spMkLst>
            <pc:docMk/>
            <pc:sldMk cId="200085282" sldId="2147481385"/>
            <ac:spMk id="7" creationId="{60CBBF1F-1862-3EEC-552C-4A535968C453}"/>
          </ac:spMkLst>
        </pc:spChg>
        <pc:spChg chg="del">
          <ac:chgData name="RUFFET, Malcolm" userId="ef33cb5d-7c5f-44ea-8bd1-71f6d9da9dec" providerId="ADAL" clId="{42A6F1C5-53D2-4848-9E6F-5902AFD5EAD4}" dt="2024-02-15T15:19:47.442" v="8046" actId="478"/>
          <ac:spMkLst>
            <pc:docMk/>
            <pc:sldMk cId="200085282" sldId="2147481385"/>
            <ac:spMk id="8" creationId="{44C30B72-44BA-90BF-41ED-886ED68D28EA}"/>
          </ac:spMkLst>
        </pc:spChg>
        <pc:spChg chg="add mod topLvl">
          <ac:chgData name="RUFFET, Malcolm" userId="ef33cb5d-7c5f-44ea-8bd1-71f6d9da9dec" providerId="ADAL" clId="{42A6F1C5-53D2-4848-9E6F-5902AFD5EAD4}" dt="2024-02-15T15:30:07.155" v="8397" actId="1076"/>
          <ac:spMkLst>
            <pc:docMk/>
            <pc:sldMk cId="200085282" sldId="2147481385"/>
            <ac:spMk id="9" creationId="{2B0F8707-469C-F16C-9183-8D72812D5F8C}"/>
          </ac:spMkLst>
        </pc:spChg>
        <pc:spChg chg="add mod topLvl">
          <ac:chgData name="RUFFET, Malcolm" userId="ef33cb5d-7c5f-44ea-8bd1-71f6d9da9dec" providerId="ADAL" clId="{42A6F1C5-53D2-4848-9E6F-5902AFD5EAD4}" dt="2024-02-15T15:30:07.155" v="8397" actId="1076"/>
          <ac:spMkLst>
            <pc:docMk/>
            <pc:sldMk cId="200085282" sldId="2147481385"/>
            <ac:spMk id="10" creationId="{58019D62-D91C-9DF8-9086-CFA678959832}"/>
          </ac:spMkLst>
        </pc:spChg>
        <pc:spChg chg="del">
          <ac:chgData name="RUFFET, Malcolm" userId="ef33cb5d-7c5f-44ea-8bd1-71f6d9da9dec" providerId="ADAL" clId="{42A6F1C5-53D2-4848-9E6F-5902AFD5EAD4}" dt="2024-02-15T15:19:47.442" v="8046" actId="478"/>
          <ac:spMkLst>
            <pc:docMk/>
            <pc:sldMk cId="200085282" sldId="2147481385"/>
            <ac:spMk id="11" creationId="{32182188-AEBC-2AA0-3002-965D9FDECE10}"/>
          </ac:spMkLst>
        </pc:spChg>
        <pc:spChg chg="del">
          <ac:chgData name="RUFFET, Malcolm" userId="ef33cb5d-7c5f-44ea-8bd1-71f6d9da9dec" providerId="ADAL" clId="{42A6F1C5-53D2-4848-9E6F-5902AFD5EAD4}" dt="2024-02-15T15:19:47.442" v="8046" actId="478"/>
          <ac:spMkLst>
            <pc:docMk/>
            <pc:sldMk cId="200085282" sldId="2147481385"/>
            <ac:spMk id="12" creationId="{BCB3B129-215B-80F0-73E9-A834BDC1B4F3}"/>
          </ac:spMkLst>
        </pc:spChg>
        <pc:spChg chg="del">
          <ac:chgData name="RUFFET, Malcolm" userId="ef33cb5d-7c5f-44ea-8bd1-71f6d9da9dec" providerId="ADAL" clId="{42A6F1C5-53D2-4848-9E6F-5902AFD5EAD4}" dt="2024-02-15T15:19:47.442" v="8046" actId="478"/>
          <ac:spMkLst>
            <pc:docMk/>
            <pc:sldMk cId="200085282" sldId="2147481385"/>
            <ac:spMk id="13" creationId="{30647647-BC1A-0825-CF8A-41AD024BDAE8}"/>
          </ac:spMkLst>
        </pc:spChg>
        <pc:spChg chg="add mod topLvl">
          <ac:chgData name="RUFFET, Malcolm" userId="ef33cb5d-7c5f-44ea-8bd1-71f6d9da9dec" providerId="ADAL" clId="{42A6F1C5-53D2-4848-9E6F-5902AFD5EAD4}" dt="2024-02-15T15:30:07.155" v="8397" actId="1076"/>
          <ac:spMkLst>
            <pc:docMk/>
            <pc:sldMk cId="200085282" sldId="2147481385"/>
            <ac:spMk id="14" creationId="{1B384FF1-BC39-68EA-B296-CFFC72CDCAAB}"/>
          </ac:spMkLst>
        </pc:spChg>
        <pc:spChg chg="del">
          <ac:chgData name="RUFFET, Malcolm" userId="ef33cb5d-7c5f-44ea-8bd1-71f6d9da9dec" providerId="ADAL" clId="{42A6F1C5-53D2-4848-9E6F-5902AFD5EAD4}" dt="2024-02-15T15:19:47.442" v="8046" actId="478"/>
          <ac:spMkLst>
            <pc:docMk/>
            <pc:sldMk cId="200085282" sldId="2147481385"/>
            <ac:spMk id="15" creationId="{613FAFC2-C839-D751-9FD9-5192CB4067CA}"/>
          </ac:spMkLst>
        </pc:spChg>
        <pc:spChg chg="del">
          <ac:chgData name="RUFFET, Malcolm" userId="ef33cb5d-7c5f-44ea-8bd1-71f6d9da9dec" providerId="ADAL" clId="{42A6F1C5-53D2-4848-9E6F-5902AFD5EAD4}" dt="2024-02-15T15:19:47.442" v="8046" actId="478"/>
          <ac:spMkLst>
            <pc:docMk/>
            <pc:sldMk cId="200085282" sldId="2147481385"/>
            <ac:spMk id="16" creationId="{BAD20E7F-229A-8C30-6543-8D49F0E79371}"/>
          </ac:spMkLst>
        </pc:spChg>
        <pc:spChg chg="del">
          <ac:chgData name="RUFFET, Malcolm" userId="ef33cb5d-7c5f-44ea-8bd1-71f6d9da9dec" providerId="ADAL" clId="{42A6F1C5-53D2-4848-9E6F-5902AFD5EAD4}" dt="2024-02-15T15:19:47.442" v="8046" actId="478"/>
          <ac:spMkLst>
            <pc:docMk/>
            <pc:sldMk cId="200085282" sldId="2147481385"/>
            <ac:spMk id="17" creationId="{2D53651A-E05D-5A3F-CF90-BC22AB40E019}"/>
          </ac:spMkLst>
        </pc:spChg>
        <pc:spChg chg="del">
          <ac:chgData name="RUFFET, Malcolm" userId="ef33cb5d-7c5f-44ea-8bd1-71f6d9da9dec" providerId="ADAL" clId="{42A6F1C5-53D2-4848-9E6F-5902AFD5EAD4}" dt="2024-02-15T15:19:47.442" v="8046" actId="478"/>
          <ac:spMkLst>
            <pc:docMk/>
            <pc:sldMk cId="200085282" sldId="2147481385"/>
            <ac:spMk id="18" creationId="{5DB87774-8563-CAB9-81BD-6B5073C60EC8}"/>
          </ac:spMkLst>
        </pc:spChg>
        <pc:spChg chg="del">
          <ac:chgData name="RUFFET, Malcolm" userId="ef33cb5d-7c5f-44ea-8bd1-71f6d9da9dec" providerId="ADAL" clId="{42A6F1C5-53D2-4848-9E6F-5902AFD5EAD4}" dt="2024-02-15T15:19:47.442" v="8046" actId="478"/>
          <ac:spMkLst>
            <pc:docMk/>
            <pc:sldMk cId="200085282" sldId="2147481385"/>
            <ac:spMk id="19" creationId="{55C122AD-6AC5-3FE2-6F67-782E32DB14B9}"/>
          </ac:spMkLst>
        </pc:spChg>
        <pc:spChg chg="del">
          <ac:chgData name="RUFFET, Malcolm" userId="ef33cb5d-7c5f-44ea-8bd1-71f6d9da9dec" providerId="ADAL" clId="{42A6F1C5-53D2-4848-9E6F-5902AFD5EAD4}" dt="2024-02-15T15:19:47.442" v="8046" actId="478"/>
          <ac:spMkLst>
            <pc:docMk/>
            <pc:sldMk cId="200085282" sldId="2147481385"/>
            <ac:spMk id="20" creationId="{2DBD63B9-C49A-DDBE-F483-DF9D2E025BDF}"/>
          </ac:spMkLst>
        </pc:spChg>
        <pc:spChg chg="mod">
          <ac:chgData name="RUFFET, Malcolm" userId="ef33cb5d-7c5f-44ea-8bd1-71f6d9da9dec" providerId="ADAL" clId="{42A6F1C5-53D2-4848-9E6F-5902AFD5EAD4}" dt="2024-02-15T15:18:56.851" v="7923" actId="20577"/>
          <ac:spMkLst>
            <pc:docMk/>
            <pc:sldMk cId="200085282" sldId="2147481385"/>
            <ac:spMk id="22" creationId="{92557DC4-B18F-4199-93D0-1D081E24520F}"/>
          </ac:spMkLst>
        </pc:spChg>
        <pc:spChg chg="mod">
          <ac:chgData name="RUFFET, Malcolm" userId="ef33cb5d-7c5f-44ea-8bd1-71f6d9da9dec" providerId="ADAL" clId="{42A6F1C5-53D2-4848-9E6F-5902AFD5EAD4}" dt="2024-02-26T17:27:32.714" v="14554" actId="20577"/>
          <ac:spMkLst>
            <pc:docMk/>
            <pc:sldMk cId="200085282" sldId="2147481385"/>
            <ac:spMk id="23" creationId="{829AF7EE-145B-4C4A-8CEB-F55DCBE6686C}"/>
          </ac:spMkLst>
        </pc:spChg>
        <pc:spChg chg="add mod topLvl">
          <ac:chgData name="RUFFET, Malcolm" userId="ef33cb5d-7c5f-44ea-8bd1-71f6d9da9dec" providerId="ADAL" clId="{42A6F1C5-53D2-4848-9E6F-5902AFD5EAD4}" dt="2024-02-15T15:30:07.155" v="8397" actId="1076"/>
          <ac:spMkLst>
            <pc:docMk/>
            <pc:sldMk cId="200085282" sldId="2147481385"/>
            <ac:spMk id="26" creationId="{1E899CC4-EBDF-B6B0-C746-299BFE1E02B0}"/>
          </ac:spMkLst>
        </pc:spChg>
        <pc:spChg chg="add mod topLvl">
          <ac:chgData name="RUFFET, Malcolm" userId="ef33cb5d-7c5f-44ea-8bd1-71f6d9da9dec" providerId="ADAL" clId="{42A6F1C5-53D2-4848-9E6F-5902AFD5EAD4}" dt="2024-02-15T15:30:07.155" v="8397" actId="1076"/>
          <ac:spMkLst>
            <pc:docMk/>
            <pc:sldMk cId="200085282" sldId="2147481385"/>
            <ac:spMk id="27" creationId="{46D71C41-F411-5EFD-328E-45422E943171}"/>
          </ac:spMkLst>
        </pc:spChg>
        <pc:spChg chg="add mod topLvl">
          <ac:chgData name="RUFFET, Malcolm" userId="ef33cb5d-7c5f-44ea-8bd1-71f6d9da9dec" providerId="ADAL" clId="{42A6F1C5-53D2-4848-9E6F-5902AFD5EAD4}" dt="2024-02-15T15:30:07.155" v="8397" actId="1076"/>
          <ac:spMkLst>
            <pc:docMk/>
            <pc:sldMk cId="200085282" sldId="2147481385"/>
            <ac:spMk id="28" creationId="{D3087A46-8D49-261A-05FA-03EE786A9942}"/>
          </ac:spMkLst>
        </pc:spChg>
        <pc:spChg chg="add mod topLvl">
          <ac:chgData name="RUFFET, Malcolm" userId="ef33cb5d-7c5f-44ea-8bd1-71f6d9da9dec" providerId="ADAL" clId="{42A6F1C5-53D2-4848-9E6F-5902AFD5EAD4}" dt="2024-02-15T15:30:07.155" v="8397" actId="1076"/>
          <ac:spMkLst>
            <pc:docMk/>
            <pc:sldMk cId="200085282" sldId="2147481385"/>
            <ac:spMk id="29" creationId="{150A37F6-FB32-6195-27F0-BBB089BB4B96}"/>
          </ac:spMkLst>
        </pc:spChg>
        <pc:spChg chg="add mod topLvl">
          <ac:chgData name="RUFFET, Malcolm" userId="ef33cb5d-7c5f-44ea-8bd1-71f6d9da9dec" providerId="ADAL" clId="{42A6F1C5-53D2-4848-9E6F-5902AFD5EAD4}" dt="2024-02-15T15:30:07.155" v="8397" actId="1076"/>
          <ac:spMkLst>
            <pc:docMk/>
            <pc:sldMk cId="200085282" sldId="2147481385"/>
            <ac:spMk id="30" creationId="{FA72FB36-10B3-4CDE-8F96-5931CE180416}"/>
          </ac:spMkLst>
        </pc:spChg>
        <pc:spChg chg="add mod">
          <ac:chgData name="RUFFET, Malcolm" userId="ef33cb5d-7c5f-44ea-8bd1-71f6d9da9dec" providerId="ADAL" clId="{42A6F1C5-53D2-4848-9E6F-5902AFD5EAD4}" dt="2024-02-15T15:33:41.798" v="8508" actId="20577"/>
          <ac:spMkLst>
            <pc:docMk/>
            <pc:sldMk cId="200085282" sldId="2147481385"/>
            <ac:spMk id="33" creationId="{3506ADCC-0123-A700-E2A9-A2E3B6771BB9}"/>
          </ac:spMkLst>
        </pc:spChg>
        <pc:grpChg chg="add del mod">
          <ac:chgData name="RUFFET, Malcolm" userId="ef33cb5d-7c5f-44ea-8bd1-71f6d9da9dec" providerId="ADAL" clId="{42A6F1C5-53D2-4848-9E6F-5902AFD5EAD4}" dt="2024-02-15T15:22:36.953" v="8307" actId="165"/>
          <ac:grpSpMkLst>
            <pc:docMk/>
            <pc:sldMk cId="200085282" sldId="2147481385"/>
            <ac:grpSpMk id="21" creationId="{EFE4C51C-20A1-ADB1-D4E8-B04295986A71}"/>
          </ac:grpSpMkLst>
        </pc:grpChg>
        <pc:grpChg chg="add del mod">
          <ac:chgData name="RUFFET, Malcolm" userId="ef33cb5d-7c5f-44ea-8bd1-71f6d9da9dec" providerId="ADAL" clId="{42A6F1C5-53D2-4848-9E6F-5902AFD5EAD4}" dt="2024-02-15T15:22:36.953" v="8307" actId="165"/>
          <ac:grpSpMkLst>
            <pc:docMk/>
            <pc:sldMk cId="200085282" sldId="2147481385"/>
            <ac:grpSpMk id="24" creationId="{0EAB94CE-68A7-6E3B-CFC1-B7DAE7507A97}"/>
          </ac:grpSpMkLst>
        </pc:grpChg>
        <pc:grpChg chg="add del mod">
          <ac:chgData name="RUFFET, Malcolm" userId="ef33cb5d-7c5f-44ea-8bd1-71f6d9da9dec" providerId="ADAL" clId="{42A6F1C5-53D2-4848-9E6F-5902AFD5EAD4}" dt="2024-02-15T15:22:49.584" v="8310" actId="165"/>
          <ac:grpSpMkLst>
            <pc:docMk/>
            <pc:sldMk cId="200085282" sldId="2147481385"/>
            <ac:grpSpMk id="25" creationId="{A64FD7C0-2777-4362-487C-1C6C6A7A2385}"/>
          </ac:grpSpMkLst>
        </pc:grpChg>
        <pc:grpChg chg="add del mod">
          <ac:chgData name="RUFFET, Malcolm" userId="ef33cb5d-7c5f-44ea-8bd1-71f6d9da9dec" providerId="ADAL" clId="{42A6F1C5-53D2-4848-9E6F-5902AFD5EAD4}" dt="2024-02-15T15:30:07.155" v="8397" actId="1076"/>
          <ac:grpSpMkLst>
            <pc:docMk/>
            <pc:sldMk cId="200085282" sldId="2147481385"/>
            <ac:grpSpMk id="31" creationId="{BAF55CF1-86D1-AA14-B905-F1C4AA6DBEB0}"/>
          </ac:grpSpMkLst>
        </pc:grpChg>
        <pc:grpChg chg="add del mod">
          <ac:chgData name="RUFFET, Malcolm" userId="ef33cb5d-7c5f-44ea-8bd1-71f6d9da9dec" providerId="ADAL" clId="{42A6F1C5-53D2-4848-9E6F-5902AFD5EAD4}" dt="2024-02-15T15:30:07.155" v="8397" actId="1076"/>
          <ac:grpSpMkLst>
            <pc:docMk/>
            <pc:sldMk cId="200085282" sldId="2147481385"/>
            <ac:grpSpMk id="32" creationId="{8FC1BFF3-A8BE-CB31-1ED1-12B58B9BFE5A}"/>
          </ac:grpSpMkLst>
        </pc:grpChg>
        <pc:graphicFrameChg chg="del">
          <ac:chgData name="RUFFET, Malcolm" userId="ef33cb5d-7c5f-44ea-8bd1-71f6d9da9dec" providerId="ADAL" clId="{42A6F1C5-53D2-4848-9E6F-5902AFD5EAD4}" dt="2024-02-15T15:19:47.442" v="8046" actId="478"/>
          <ac:graphicFrameMkLst>
            <pc:docMk/>
            <pc:sldMk cId="200085282" sldId="2147481385"/>
            <ac:graphicFrameMk id="3" creationId="{CA4CA62F-C8D4-6836-8CC8-4AA3F902AF26}"/>
          </ac:graphicFrameMkLst>
        </pc:graphicFrameChg>
        <pc:picChg chg="add mod topLvl">
          <ac:chgData name="RUFFET, Malcolm" userId="ef33cb5d-7c5f-44ea-8bd1-71f6d9da9dec" providerId="ADAL" clId="{42A6F1C5-53D2-4848-9E6F-5902AFD5EAD4}" dt="2024-02-15T15:30:07.155" v="8397" actId="1076"/>
          <ac:picMkLst>
            <pc:docMk/>
            <pc:sldMk cId="200085282" sldId="2147481385"/>
            <ac:picMk id="5122" creationId="{83A3CE53-AC8B-11C3-EAF8-A1D3C7C2B922}"/>
          </ac:picMkLst>
        </pc:picChg>
        <pc:picChg chg="add mod topLvl">
          <ac:chgData name="RUFFET, Malcolm" userId="ef33cb5d-7c5f-44ea-8bd1-71f6d9da9dec" providerId="ADAL" clId="{42A6F1C5-53D2-4848-9E6F-5902AFD5EAD4}" dt="2024-02-15T15:30:07.155" v="8397" actId="1076"/>
          <ac:picMkLst>
            <pc:docMk/>
            <pc:sldMk cId="200085282" sldId="2147481385"/>
            <ac:picMk id="5124" creationId="{5ACEC331-E8A9-427B-B37F-270AD9F67E37}"/>
          </ac:picMkLst>
        </pc:picChg>
        <pc:picChg chg="add mod topLvl">
          <ac:chgData name="RUFFET, Malcolm" userId="ef33cb5d-7c5f-44ea-8bd1-71f6d9da9dec" providerId="ADAL" clId="{42A6F1C5-53D2-4848-9E6F-5902AFD5EAD4}" dt="2024-02-15T15:30:07.155" v="8397" actId="1076"/>
          <ac:picMkLst>
            <pc:docMk/>
            <pc:sldMk cId="200085282" sldId="2147481385"/>
            <ac:picMk id="5126" creationId="{04D337DC-F1EE-740A-67BE-3D1BC47225BA}"/>
          </ac:picMkLst>
        </pc:picChg>
        <pc:picChg chg="add mod topLvl">
          <ac:chgData name="RUFFET, Malcolm" userId="ef33cb5d-7c5f-44ea-8bd1-71f6d9da9dec" providerId="ADAL" clId="{42A6F1C5-53D2-4848-9E6F-5902AFD5EAD4}" dt="2024-02-15T15:30:07.155" v="8397" actId="1076"/>
          <ac:picMkLst>
            <pc:docMk/>
            <pc:sldMk cId="200085282" sldId="2147481385"/>
            <ac:picMk id="5128" creationId="{5B699F63-0AA8-8986-E0CC-F2CD6B038CAB}"/>
          </ac:picMkLst>
        </pc:picChg>
        <pc:picChg chg="add mod topLvl">
          <ac:chgData name="RUFFET, Malcolm" userId="ef33cb5d-7c5f-44ea-8bd1-71f6d9da9dec" providerId="ADAL" clId="{42A6F1C5-53D2-4848-9E6F-5902AFD5EAD4}" dt="2024-02-15T15:30:07.155" v="8397" actId="1076"/>
          <ac:picMkLst>
            <pc:docMk/>
            <pc:sldMk cId="200085282" sldId="2147481385"/>
            <ac:picMk id="5130" creationId="{8092DF6E-2B9D-0A15-DF21-D4F5F6BDFD02}"/>
          </ac:picMkLst>
        </pc:picChg>
      </pc:sldChg>
      <pc:sldChg chg="add del">
        <pc:chgData name="RUFFET, Malcolm" userId="ef33cb5d-7c5f-44ea-8bd1-71f6d9da9dec" providerId="ADAL" clId="{42A6F1C5-53D2-4848-9E6F-5902AFD5EAD4}" dt="2024-03-07T16:09:03.421" v="15424" actId="47"/>
        <pc:sldMkLst>
          <pc:docMk/>
          <pc:sldMk cId="2247224521" sldId="2147481386"/>
        </pc:sldMkLst>
      </pc:sldChg>
      <pc:sldChg chg="addSp delSp modSp add del mod">
        <pc:chgData name="RUFFET, Malcolm" userId="ef33cb5d-7c5f-44ea-8bd1-71f6d9da9dec" providerId="ADAL" clId="{42A6F1C5-53D2-4848-9E6F-5902AFD5EAD4}" dt="2024-03-07T16:09:02.464" v="15423" actId="47"/>
        <pc:sldMkLst>
          <pc:docMk/>
          <pc:sldMk cId="3781549610" sldId="2147481387"/>
        </pc:sldMkLst>
        <pc:spChg chg="mod topLvl">
          <ac:chgData name="RUFFET, Malcolm" userId="ef33cb5d-7c5f-44ea-8bd1-71f6d9da9dec" providerId="ADAL" clId="{42A6F1C5-53D2-4848-9E6F-5902AFD5EAD4}" dt="2024-02-27T10:43:18.340" v="14842" actId="165"/>
          <ac:spMkLst>
            <pc:docMk/>
            <pc:sldMk cId="3781549610" sldId="2147481387"/>
            <ac:spMk id="15" creationId="{5E6C5390-43A8-4CB0-B612-EDA38A5E4C92}"/>
          </ac:spMkLst>
        </pc:spChg>
        <pc:spChg chg="mod topLvl">
          <ac:chgData name="RUFFET, Malcolm" userId="ef33cb5d-7c5f-44ea-8bd1-71f6d9da9dec" providerId="ADAL" clId="{42A6F1C5-53D2-4848-9E6F-5902AFD5EAD4}" dt="2024-02-27T10:43:18.340" v="14842" actId="165"/>
          <ac:spMkLst>
            <pc:docMk/>
            <pc:sldMk cId="3781549610" sldId="2147481387"/>
            <ac:spMk id="16" creationId="{9BFADDB0-4957-4DF4-B899-0DBE4C0412F0}"/>
          </ac:spMkLst>
        </pc:spChg>
        <pc:spChg chg="mod topLvl">
          <ac:chgData name="RUFFET, Malcolm" userId="ef33cb5d-7c5f-44ea-8bd1-71f6d9da9dec" providerId="ADAL" clId="{42A6F1C5-53D2-4848-9E6F-5902AFD5EAD4}" dt="2024-02-27T10:43:56.793" v="14849" actId="164"/>
          <ac:spMkLst>
            <pc:docMk/>
            <pc:sldMk cId="3781549610" sldId="2147481387"/>
            <ac:spMk id="30" creationId="{721AAE5E-B17C-442B-A509-BE0390C7658B}"/>
          </ac:spMkLst>
        </pc:spChg>
        <pc:spChg chg="mod topLvl">
          <ac:chgData name="RUFFET, Malcolm" userId="ef33cb5d-7c5f-44ea-8bd1-71f6d9da9dec" providerId="ADAL" clId="{42A6F1C5-53D2-4848-9E6F-5902AFD5EAD4}" dt="2024-02-27T10:43:56.793" v="14849" actId="164"/>
          <ac:spMkLst>
            <pc:docMk/>
            <pc:sldMk cId="3781549610" sldId="2147481387"/>
            <ac:spMk id="31" creationId="{23C414D6-88D4-4852-86C5-00D9F8D96263}"/>
          </ac:spMkLst>
        </pc:spChg>
        <pc:spChg chg="mod topLvl">
          <ac:chgData name="RUFFET, Malcolm" userId="ef33cb5d-7c5f-44ea-8bd1-71f6d9da9dec" providerId="ADAL" clId="{42A6F1C5-53D2-4848-9E6F-5902AFD5EAD4}" dt="2024-02-27T10:43:56.793" v="14849" actId="164"/>
          <ac:spMkLst>
            <pc:docMk/>
            <pc:sldMk cId="3781549610" sldId="2147481387"/>
            <ac:spMk id="32" creationId="{8BCAC549-F11F-41AD-9445-3E50E9599FAB}"/>
          </ac:spMkLst>
        </pc:spChg>
        <pc:spChg chg="mod topLvl">
          <ac:chgData name="RUFFET, Malcolm" userId="ef33cb5d-7c5f-44ea-8bd1-71f6d9da9dec" providerId="ADAL" clId="{42A6F1C5-53D2-4848-9E6F-5902AFD5EAD4}" dt="2024-02-27T10:43:56.793" v="14849" actId="164"/>
          <ac:spMkLst>
            <pc:docMk/>
            <pc:sldMk cId="3781549610" sldId="2147481387"/>
            <ac:spMk id="36" creationId="{A7E947A8-DA8A-4EB2-8EDB-B5FD656FAB35}"/>
          </ac:spMkLst>
        </pc:spChg>
        <pc:spChg chg="mod topLvl">
          <ac:chgData name="RUFFET, Malcolm" userId="ef33cb5d-7c5f-44ea-8bd1-71f6d9da9dec" providerId="ADAL" clId="{42A6F1C5-53D2-4848-9E6F-5902AFD5EAD4}" dt="2024-02-27T10:43:56.793" v="14849" actId="164"/>
          <ac:spMkLst>
            <pc:docMk/>
            <pc:sldMk cId="3781549610" sldId="2147481387"/>
            <ac:spMk id="37" creationId="{D3089160-0DC8-4F45-8B56-D104729461D5}"/>
          </ac:spMkLst>
        </pc:spChg>
        <pc:spChg chg="mod topLvl">
          <ac:chgData name="RUFFET, Malcolm" userId="ef33cb5d-7c5f-44ea-8bd1-71f6d9da9dec" providerId="ADAL" clId="{42A6F1C5-53D2-4848-9E6F-5902AFD5EAD4}" dt="2024-02-27T10:43:56.793" v="14849" actId="164"/>
          <ac:spMkLst>
            <pc:docMk/>
            <pc:sldMk cId="3781549610" sldId="2147481387"/>
            <ac:spMk id="38" creationId="{36C2616F-8AC4-481A-82A1-534162F01541}"/>
          </ac:spMkLst>
        </pc:spChg>
        <pc:spChg chg="mod topLvl">
          <ac:chgData name="RUFFET, Malcolm" userId="ef33cb5d-7c5f-44ea-8bd1-71f6d9da9dec" providerId="ADAL" clId="{42A6F1C5-53D2-4848-9E6F-5902AFD5EAD4}" dt="2024-02-27T10:43:56.793" v="14849" actId="164"/>
          <ac:spMkLst>
            <pc:docMk/>
            <pc:sldMk cId="3781549610" sldId="2147481387"/>
            <ac:spMk id="39" creationId="{781C8424-C8B3-45AE-819A-CAFB5BEEFD87}"/>
          </ac:spMkLst>
        </pc:spChg>
        <pc:spChg chg="mod topLvl">
          <ac:chgData name="RUFFET, Malcolm" userId="ef33cb5d-7c5f-44ea-8bd1-71f6d9da9dec" providerId="ADAL" clId="{42A6F1C5-53D2-4848-9E6F-5902AFD5EAD4}" dt="2024-02-27T10:43:18.340" v="14842" actId="165"/>
          <ac:spMkLst>
            <pc:docMk/>
            <pc:sldMk cId="3781549610" sldId="2147481387"/>
            <ac:spMk id="45" creationId="{F408FC67-A24F-47D4-941B-1EB9CBAD83BF}"/>
          </ac:spMkLst>
        </pc:spChg>
        <pc:spChg chg="mod topLvl">
          <ac:chgData name="RUFFET, Malcolm" userId="ef33cb5d-7c5f-44ea-8bd1-71f6d9da9dec" providerId="ADAL" clId="{42A6F1C5-53D2-4848-9E6F-5902AFD5EAD4}" dt="2024-02-27T10:48:27.780" v="15082" actId="207"/>
          <ac:spMkLst>
            <pc:docMk/>
            <pc:sldMk cId="3781549610" sldId="2147481387"/>
            <ac:spMk id="46" creationId="{197056FA-5540-4B79-8C59-FE1ECA93B783}"/>
          </ac:spMkLst>
        </pc:spChg>
        <pc:spChg chg="mod topLvl">
          <ac:chgData name="RUFFET, Malcolm" userId="ef33cb5d-7c5f-44ea-8bd1-71f6d9da9dec" providerId="ADAL" clId="{42A6F1C5-53D2-4848-9E6F-5902AFD5EAD4}" dt="2024-02-27T10:43:18.340" v="14842" actId="165"/>
          <ac:spMkLst>
            <pc:docMk/>
            <pc:sldMk cId="3781549610" sldId="2147481387"/>
            <ac:spMk id="47" creationId="{3920B3C7-7398-4748-82C4-DC29BD597B6E}"/>
          </ac:spMkLst>
        </pc:spChg>
        <pc:spChg chg="mod topLvl">
          <ac:chgData name="RUFFET, Malcolm" userId="ef33cb5d-7c5f-44ea-8bd1-71f6d9da9dec" providerId="ADAL" clId="{42A6F1C5-53D2-4848-9E6F-5902AFD5EAD4}" dt="2024-02-27T10:43:18.340" v="14842" actId="165"/>
          <ac:spMkLst>
            <pc:docMk/>
            <pc:sldMk cId="3781549610" sldId="2147481387"/>
            <ac:spMk id="48" creationId="{70758E8A-BA7C-4E32-B755-D8F429F306D2}"/>
          </ac:spMkLst>
        </pc:spChg>
        <pc:spChg chg="mod topLvl">
          <ac:chgData name="RUFFET, Malcolm" userId="ef33cb5d-7c5f-44ea-8bd1-71f6d9da9dec" providerId="ADAL" clId="{42A6F1C5-53D2-4848-9E6F-5902AFD5EAD4}" dt="2024-02-27T10:43:18.340" v="14842" actId="165"/>
          <ac:spMkLst>
            <pc:docMk/>
            <pc:sldMk cId="3781549610" sldId="2147481387"/>
            <ac:spMk id="51" creationId="{97BE9A86-9D48-43CB-8DC0-1B411EA96617}"/>
          </ac:spMkLst>
        </pc:spChg>
        <pc:spChg chg="mod topLvl">
          <ac:chgData name="RUFFET, Malcolm" userId="ef33cb5d-7c5f-44ea-8bd1-71f6d9da9dec" providerId="ADAL" clId="{42A6F1C5-53D2-4848-9E6F-5902AFD5EAD4}" dt="2024-02-27T10:43:18.340" v="14842" actId="165"/>
          <ac:spMkLst>
            <pc:docMk/>
            <pc:sldMk cId="3781549610" sldId="2147481387"/>
            <ac:spMk id="52" creationId="{A23FC1E1-21AF-4560-BC75-2691EEADAF9C}"/>
          </ac:spMkLst>
        </pc:spChg>
        <pc:spChg chg="mod topLvl">
          <ac:chgData name="RUFFET, Malcolm" userId="ef33cb5d-7c5f-44ea-8bd1-71f6d9da9dec" providerId="ADAL" clId="{42A6F1C5-53D2-4848-9E6F-5902AFD5EAD4}" dt="2024-02-27T10:43:18.340" v="14842" actId="165"/>
          <ac:spMkLst>
            <pc:docMk/>
            <pc:sldMk cId="3781549610" sldId="2147481387"/>
            <ac:spMk id="53" creationId="{DF8458CF-0A65-48A9-BD06-07D26A605B15}"/>
          </ac:spMkLst>
        </pc:spChg>
        <pc:spChg chg="mod topLvl">
          <ac:chgData name="RUFFET, Malcolm" userId="ef33cb5d-7c5f-44ea-8bd1-71f6d9da9dec" providerId="ADAL" clId="{42A6F1C5-53D2-4848-9E6F-5902AFD5EAD4}" dt="2024-02-27T10:43:44.981" v="14848" actId="165"/>
          <ac:spMkLst>
            <pc:docMk/>
            <pc:sldMk cId="3781549610" sldId="2147481387"/>
            <ac:spMk id="57" creationId="{C9AD606F-9853-45AF-9524-05BDE18E86CD}"/>
          </ac:spMkLst>
        </pc:spChg>
        <pc:spChg chg="mod topLvl">
          <ac:chgData name="RUFFET, Malcolm" userId="ef33cb5d-7c5f-44ea-8bd1-71f6d9da9dec" providerId="ADAL" clId="{42A6F1C5-53D2-4848-9E6F-5902AFD5EAD4}" dt="2024-02-27T10:43:44.981" v="14848" actId="165"/>
          <ac:spMkLst>
            <pc:docMk/>
            <pc:sldMk cId="3781549610" sldId="2147481387"/>
            <ac:spMk id="58" creationId="{603A5828-B7C2-4662-A37D-5FF8020C0A00}"/>
          </ac:spMkLst>
        </pc:spChg>
        <pc:grpChg chg="add del mod">
          <ac:chgData name="RUFFET, Malcolm" userId="ef33cb5d-7c5f-44ea-8bd1-71f6d9da9dec" providerId="ADAL" clId="{42A6F1C5-53D2-4848-9E6F-5902AFD5EAD4}" dt="2024-02-27T10:43:44.981" v="14848" actId="165"/>
          <ac:grpSpMkLst>
            <pc:docMk/>
            <pc:sldMk cId="3781549610" sldId="2147481387"/>
            <ac:grpSpMk id="6" creationId="{9FEF054E-2E89-AF22-9294-A4F55EDBEC77}"/>
          </ac:grpSpMkLst>
        </pc:grpChg>
        <pc:grpChg chg="add mod">
          <ac:chgData name="RUFFET, Malcolm" userId="ef33cb5d-7c5f-44ea-8bd1-71f6d9da9dec" providerId="ADAL" clId="{42A6F1C5-53D2-4848-9E6F-5902AFD5EAD4}" dt="2024-02-27T10:44:01.865" v="14851" actId="14100"/>
          <ac:grpSpMkLst>
            <pc:docMk/>
            <pc:sldMk cId="3781549610" sldId="2147481387"/>
            <ac:grpSpMk id="7" creationId="{216DCFB4-1FD9-C8A7-91BC-912AFDE06088}"/>
          </ac:grpSpMkLst>
        </pc:grpChg>
        <pc:grpChg chg="del mod topLvl">
          <ac:chgData name="RUFFET, Malcolm" userId="ef33cb5d-7c5f-44ea-8bd1-71f6d9da9dec" providerId="ADAL" clId="{42A6F1C5-53D2-4848-9E6F-5902AFD5EAD4}" dt="2024-02-27T10:43:18.340" v="14842" actId="165"/>
          <ac:grpSpMkLst>
            <pc:docMk/>
            <pc:sldMk cId="3781549610" sldId="2147481387"/>
            <ac:grpSpMk id="27" creationId="{6975B31B-3171-43C5-9BEA-51BE71A26B6A}"/>
          </ac:grpSpMkLst>
        </pc:grpChg>
        <pc:grpChg chg="del mod topLvl">
          <ac:chgData name="RUFFET, Malcolm" userId="ef33cb5d-7c5f-44ea-8bd1-71f6d9da9dec" providerId="ADAL" clId="{42A6F1C5-53D2-4848-9E6F-5902AFD5EAD4}" dt="2024-02-27T10:43:18.340" v="14842" actId="165"/>
          <ac:grpSpMkLst>
            <pc:docMk/>
            <pc:sldMk cId="3781549610" sldId="2147481387"/>
            <ac:grpSpMk id="49" creationId="{43843829-FA57-43DF-8024-27A07F6E9A7E}"/>
          </ac:grpSpMkLst>
        </pc:grpChg>
        <pc:grpChg chg="del">
          <ac:chgData name="RUFFET, Malcolm" userId="ef33cb5d-7c5f-44ea-8bd1-71f6d9da9dec" providerId="ADAL" clId="{42A6F1C5-53D2-4848-9E6F-5902AFD5EAD4}" dt="2024-02-27T10:43:17.859" v="14841" actId="165"/>
          <ac:grpSpMkLst>
            <pc:docMk/>
            <pc:sldMk cId="3781549610" sldId="2147481387"/>
            <ac:grpSpMk id="54" creationId="{8212E60C-3BE4-4CC6-9098-16859D0012E6}"/>
          </ac:grpSpMkLst>
        </pc:grpChg>
        <pc:cxnChg chg="mod topLvl">
          <ac:chgData name="RUFFET, Malcolm" userId="ef33cb5d-7c5f-44ea-8bd1-71f6d9da9dec" providerId="ADAL" clId="{42A6F1C5-53D2-4848-9E6F-5902AFD5EAD4}" dt="2024-02-27T10:43:56.793" v="14849" actId="164"/>
          <ac:cxnSpMkLst>
            <pc:docMk/>
            <pc:sldMk cId="3781549610" sldId="2147481387"/>
            <ac:cxnSpMk id="28" creationId="{EC6FC15E-8460-415C-937E-9BFD241D9404}"/>
          </ac:cxnSpMkLst>
        </pc:cxnChg>
        <pc:cxnChg chg="mod topLvl">
          <ac:chgData name="RUFFET, Malcolm" userId="ef33cb5d-7c5f-44ea-8bd1-71f6d9da9dec" providerId="ADAL" clId="{42A6F1C5-53D2-4848-9E6F-5902AFD5EAD4}" dt="2024-02-27T10:43:56.793" v="14849" actId="164"/>
          <ac:cxnSpMkLst>
            <pc:docMk/>
            <pc:sldMk cId="3781549610" sldId="2147481387"/>
            <ac:cxnSpMk id="29" creationId="{6FB1F865-1352-44A4-A708-1B51D6BAC7BE}"/>
          </ac:cxnSpMkLst>
        </pc:cxnChg>
        <pc:cxnChg chg="mod topLvl">
          <ac:chgData name="RUFFET, Malcolm" userId="ef33cb5d-7c5f-44ea-8bd1-71f6d9da9dec" providerId="ADAL" clId="{42A6F1C5-53D2-4848-9E6F-5902AFD5EAD4}" dt="2024-02-27T10:43:56.793" v="14849" actId="164"/>
          <ac:cxnSpMkLst>
            <pc:docMk/>
            <pc:sldMk cId="3781549610" sldId="2147481387"/>
            <ac:cxnSpMk id="33" creationId="{DC4FB55E-11B6-487F-8EC1-FFEA3D37FF99}"/>
          </ac:cxnSpMkLst>
        </pc:cxnChg>
        <pc:cxnChg chg="mod topLvl">
          <ac:chgData name="RUFFET, Malcolm" userId="ef33cb5d-7c5f-44ea-8bd1-71f6d9da9dec" providerId="ADAL" clId="{42A6F1C5-53D2-4848-9E6F-5902AFD5EAD4}" dt="2024-02-27T10:43:56.793" v="14849" actId="164"/>
          <ac:cxnSpMkLst>
            <pc:docMk/>
            <pc:sldMk cId="3781549610" sldId="2147481387"/>
            <ac:cxnSpMk id="34" creationId="{7C055C46-2B53-4129-9596-EB0004882877}"/>
          </ac:cxnSpMkLst>
        </pc:cxnChg>
      </pc:sldChg>
      <pc:sldChg chg="add">
        <pc:chgData name="RUFFET, Malcolm" userId="ef33cb5d-7c5f-44ea-8bd1-71f6d9da9dec" providerId="ADAL" clId="{42A6F1C5-53D2-4848-9E6F-5902AFD5EAD4}" dt="2024-02-15T15:34:04.305" v="8509"/>
        <pc:sldMkLst>
          <pc:docMk/>
          <pc:sldMk cId="3797539443" sldId="2147481388"/>
        </pc:sldMkLst>
      </pc:sldChg>
      <pc:sldChg chg="add del">
        <pc:chgData name="RUFFET, Malcolm" userId="ef33cb5d-7c5f-44ea-8bd1-71f6d9da9dec" providerId="ADAL" clId="{42A6F1C5-53D2-4848-9E6F-5902AFD5EAD4}" dt="2024-02-21T10:33:13.744" v="12360" actId="47"/>
        <pc:sldMkLst>
          <pc:docMk/>
          <pc:sldMk cId="2495340378" sldId="2147481389"/>
        </pc:sldMkLst>
      </pc:sldChg>
      <pc:sldChg chg="modSp add mod">
        <pc:chgData name="RUFFET, Malcolm" userId="ef33cb5d-7c5f-44ea-8bd1-71f6d9da9dec" providerId="ADAL" clId="{42A6F1C5-53D2-4848-9E6F-5902AFD5EAD4}" dt="2024-02-15T15:39:51.933" v="8531" actId="20577"/>
        <pc:sldMkLst>
          <pc:docMk/>
          <pc:sldMk cId="1220370030" sldId="2147481390"/>
        </pc:sldMkLst>
        <pc:spChg chg="mod">
          <ac:chgData name="RUFFET, Malcolm" userId="ef33cb5d-7c5f-44ea-8bd1-71f6d9da9dec" providerId="ADAL" clId="{42A6F1C5-53D2-4848-9E6F-5902AFD5EAD4}" dt="2024-02-15T15:39:51.933" v="8531" actId="20577"/>
          <ac:spMkLst>
            <pc:docMk/>
            <pc:sldMk cId="1220370030" sldId="2147481390"/>
            <ac:spMk id="22" creationId="{92557DC4-B18F-4199-93D0-1D081E24520F}"/>
          </ac:spMkLst>
        </pc:spChg>
      </pc:sldChg>
      <pc:sldChg chg="add">
        <pc:chgData name="RUFFET, Malcolm" userId="ef33cb5d-7c5f-44ea-8bd1-71f6d9da9dec" providerId="ADAL" clId="{42A6F1C5-53D2-4848-9E6F-5902AFD5EAD4}" dt="2024-02-15T15:34:04.305" v="8509"/>
        <pc:sldMkLst>
          <pc:docMk/>
          <pc:sldMk cId="1165176535" sldId="2147481391"/>
        </pc:sldMkLst>
      </pc:sldChg>
      <pc:sldChg chg="add del">
        <pc:chgData name="RUFFET, Malcolm" userId="ef33cb5d-7c5f-44ea-8bd1-71f6d9da9dec" providerId="ADAL" clId="{42A6F1C5-53D2-4848-9E6F-5902AFD5EAD4}" dt="2024-02-19T09:24:08.180" v="9150" actId="47"/>
        <pc:sldMkLst>
          <pc:docMk/>
          <pc:sldMk cId="369758546" sldId="2147481392"/>
        </pc:sldMkLst>
      </pc:sldChg>
      <pc:sldChg chg="add del">
        <pc:chgData name="RUFFET, Malcolm" userId="ef33cb5d-7c5f-44ea-8bd1-71f6d9da9dec" providerId="ADAL" clId="{42A6F1C5-53D2-4848-9E6F-5902AFD5EAD4}" dt="2024-02-21T10:33:38.341" v="12363" actId="47"/>
        <pc:sldMkLst>
          <pc:docMk/>
          <pc:sldMk cId="3645955497" sldId="2147481393"/>
        </pc:sldMkLst>
      </pc:sldChg>
      <pc:sldChg chg="addSp delSp modSp add mod">
        <pc:chgData name="RUFFET, Malcolm" userId="ef33cb5d-7c5f-44ea-8bd1-71f6d9da9dec" providerId="ADAL" clId="{42A6F1C5-53D2-4848-9E6F-5902AFD5EAD4}" dt="2024-02-16T10:09:38.048" v="8592" actId="478"/>
        <pc:sldMkLst>
          <pc:docMk/>
          <pc:sldMk cId="3316868242" sldId="2147481394"/>
        </pc:sldMkLst>
        <pc:spChg chg="add mod">
          <ac:chgData name="RUFFET, Malcolm" userId="ef33cb5d-7c5f-44ea-8bd1-71f6d9da9dec" providerId="ADAL" clId="{42A6F1C5-53D2-4848-9E6F-5902AFD5EAD4}" dt="2024-02-16T10:09:36.876" v="8591" actId="1076"/>
          <ac:spMkLst>
            <pc:docMk/>
            <pc:sldMk cId="3316868242" sldId="2147481394"/>
            <ac:spMk id="3" creationId="{BFDB0266-02C4-9FF6-5626-B46286966E4B}"/>
          </ac:spMkLst>
        </pc:spChg>
        <pc:spChg chg="add mod">
          <ac:chgData name="RUFFET, Malcolm" userId="ef33cb5d-7c5f-44ea-8bd1-71f6d9da9dec" providerId="ADAL" clId="{42A6F1C5-53D2-4848-9E6F-5902AFD5EAD4}" dt="2024-02-16T10:09:36.876" v="8591" actId="1076"/>
          <ac:spMkLst>
            <pc:docMk/>
            <pc:sldMk cId="3316868242" sldId="2147481394"/>
            <ac:spMk id="4" creationId="{00939C0E-AE93-D0E2-BAA8-B2F0C4F07FEA}"/>
          </ac:spMkLst>
        </pc:spChg>
        <pc:spChg chg="mod">
          <ac:chgData name="RUFFET, Malcolm" userId="ef33cb5d-7c5f-44ea-8bd1-71f6d9da9dec" providerId="ADAL" clId="{42A6F1C5-53D2-4848-9E6F-5902AFD5EAD4}" dt="2024-02-16T10:07:24.167" v="8560" actId="20577"/>
          <ac:spMkLst>
            <pc:docMk/>
            <pc:sldMk cId="3316868242" sldId="2147481394"/>
            <ac:spMk id="23" creationId="{829AF7EE-145B-4C4A-8CEB-F55DCBE6686C}"/>
          </ac:spMkLst>
        </pc:spChg>
        <pc:spChg chg="mod">
          <ac:chgData name="RUFFET, Malcolm" userId="ef33cb5d-7c5f-44ea-8bd1-71f6d9da9dec" providerId="ADAL" clId="{42A6F1C5-53D2-4848-9E6F-5902AFD5EAD4}" dt="2024-02-16T10:07:43.004" v="8562" actId="20577"/>
          <ac:spMkLst>
            <pc:docMk/>
            <pc:sldMk cId="3316868242" sldId="2147481394"/>
            <ac:spMk id="33" creationId="{3506ADCC-0123-A700-E2A9-A2E3B6771BB9}"/>
          </ac:spMkLst>
        </pc:spChg>
        <pc:grpChg chg="add del mod">
          <ac:chgData name="RUFFET, Malcolm" userId="ef33cb5d-7c5f-44ea-8bd1-71f6d9da9dec" providerId="ADAL" clId="{42A6F1C5-53D2-4848-9E6F-5902AFD5EAD4}" dt="2024-02-16T10:09:38.048" v="8592" actId="478"/>
          <ac:grpSpMkLst>
            <pc:docMk/>
            <pc:sldMk cId="3316868242" sldId="2147481394"/>
            <ac:grpSpMk id="7" creationId="{B2DE78B5-3433-EE44-83A0-E45EF08FD40F}"/>
          </ac:grpSpMkLst>
        </pc:grpChg>
      </pc:sldChg>
      <pc:sldChg chg="modSp mod ord">
        <pc:chgData name="RUFFET, Malcolm" userId="ef33cb5d-7c5f-44ea-8bd1-71f6d9da9dec" providerId="ADAL" clId="{42A6F1C5-53D2-4848-9E6F-5902AFD5EAD4}" dt="2024-02-21T10:02:19.577" v="11719"/>
        <pc:sldMkLst>
          <pc:docMk/>
          <pc:sldMk cId="2343162873" sldId="2147481395"/>
        </pc:sldMkLst>
        <pc:spChg chg="mod">
          <ac:chgData name="RUFFET, Malcolm" userId="ef33cb5d-7c5f-44ea-8bd1-71f6d9da9dec" providerId="ADAL" clId="{42A6F1C5-53D2-4848-9E6F-5902AFD5EAD4}" dt="2024-02-19T08:44:08.579" v="9026" actId="2711"/>
          <ac:spMkLst>
            <pc:docMk/>
            <pc:sldMk cId="2343162873" sldId="2147481395"/>
            <ac:spMk id="7" creationId="{26EF2914-107A-4255-96D0-EB57A51F375D}"/>
          </ac:spMkLst>
        </pc:spChg>
      </pc:sldChg>
      <pc:sldChg chg="modSp mod">
        <pc:chgData name="RUFFET, Malcolm" userId="ef33cb5d-7c5f-44ea-8bd1-71f6d9da9dec" providerId="ADAL" clId="{42A6F1C5-53D2-4848-9E6F-5902AFD5EAD4}" dt="2024-02-19T08:51:36.956" v="9038" actId="2711"/>
        <pc:sldMkLst>
          <pc:docMk/>
          <pc:sldMk cId="2921129530" sldId="2147481396"/>
        </pc:sldMkLst>
        <pc:spChg chg="mod">
          <ac:chgData name="RUFFET, Malcolm" userId="ef33cb5d-7c5f-44ea-8bd1-71f6d9da9dec" providerId="ADAL" clId="{42A6F1C5-53D2-4848-9E6F-5902AFD5EAD4}" dt="2024-02-19T08:51:36.956" v="9038" actId="2711"/>
          <ac:spMkLst>
            <pc:docMk/>
            <pc:sldMk cId="2921129530" sldId="2147481396"/>
            <ac:spMk id="7" creationId="{26EF2914-107A-4255-96D0-EB57A51F375D}"/>
          </ac:spMkLst>
        </pc:spChg>
      </pc:sldChg>
      <pc:sldChg chg="modSp add del mod">
        <pc:chgData name="RUFFET, Malcolm" userId="ef33cb5d-7c5f-44ea-8bd1-71f6d9da9dec" providerId="ADAL" clId="{42A6F1C5-53D2-4848-9E6F-5902AFD5EAD4}" dt="2024-02-26T17:28:10.453" v="14559" actId="47"/>
        <pc:sldMkLst>
          <pc:docMk/>
          <pc:sldMk cId="3573707579" sldId="2147481397"/>
        </pc:sldMkLst>
        <pc:spChg chg="mod">
          <ac:chgData name="RUFFET, Malcolm" userId="ef33cb5d-7c5f-44ea-8bd1-71f6d9da9dec" providerId="ADAL" clId="{42A6F1C5-53D2-4848-9E6F-5902AFD5EAD4}" dt="2024-02-16T14:13:55.282" v="8693" actId="20577"/>
          <ac:spMkLst>
            <pc:docMk/>
            <pc:sldMk cId="3573707579" sldId="2147481397"/>
            <ac:spMk id="28" creationId="{7DBC80FD-41EC-4B9D-B561-80A61FA69A85}"/>
          </ac:spMkLst>
        </pc:spChg>
        <pc:spChg chg="mod">
          <ac:chgData name="RUFFET, Malcolm" userId="ef33cb5d-7c5f-44ea-8bd1-71f6d9da9dec" providerId="ADAL" clId="{42A6F1C5-53D2-4848-9E6F-5902AFD5EAD4}" dt="2024-02-16T14:15:21.844" v="8883" actId="20577"/>
          <ac:spMkLst>
            <pc:docMk/>
            <pc:sldMk cId="3573707579" sldId="2147481397"/>
            <ac:spMk id="37" creationId="{AC9A9FE5-0AC2-4A6B-A948-C3C2509B2433}"/>
          </ac:spMkLst>
        </pc:spChg>
      </pc:sldChg>
      <pc:sldChg chg="addSp delSp modSp add del mod">
        <pc:chgData name="RUFFET, Malcolm" userId="ef33cb5d-7c5f-44ea-8bd1-71f6d9da9dec" providerId="ADAL" clId="{42A6F1C5-53D2-4848-9E6F-5902AFD5EAD4}" dt="2024-02-26T17:30:10.597" v="14615" actId="47"/>
        <pc:sldMkLst>
          <pc:docMk/>
          <pc:sldMk cId="1737226352" sldId="2147481398"/>
        </pc:sldMkLst>
        <pc:spChg chg="add del mod">
          <ac:chgData name="RUFFET, Malcolm" userId="ef33cb5d-7c5f-44ea-8bd1-71f6d9da9dec" providerId="ADAL" clId="{42A6F1C5-53D2-4848-9E6F-5902AFD5EAD4}" dt="2024-02-26T17:27:51.904" v="14555" actId="478"/>
          <ac:spMkLst>
            <pc:docMk/>
            <pc:sldMk cId="1737226352" sldId="2147481398"/>
            <ac:spMk id="2" creationId="{1D0029B8-FBF3-AD5D-46F3-4BD7324842CE}"/>
          </ac:spMkLst>
        </pc:spChg>
        <pc:spChg chg="mod">
          <ac:chgData name="RUFFET, Malcolm" userId="ef33cb5d-7c5f-44ea-8bd1-71f6d9da9dec" providerId="ADAL" clId="{42A6F1C5-53D2-4848-9E6F-5902AFD5EAD4}" dt="2024-02-16T14:17:05.482" v="8983" actId="20577"/>
          <ac:spMkLst>
            <pc:docMk/>
            <pc:sldMk cId="1737226352" sldId="2147481398"/>
            <ac:spMk id="45" creationId="{F408FC67-A24F-47D4-941B-1EB9CBAD83BF}"/>
          </ac:spMkLst>
        </pc:spChg>
        <pc:spChg chg="mod">
          <ac:chgData name="RUFFET, Malcolm" userId="ef33cb5d-7c5f-44ea-8bd1-71f6d9da9dec" providerId="ADAL" clId="{42A6F1C5-53D2-4848-9E6F-5902AFD5EAD4}" dt="2024-02-16T14:16:25.918" v="8954" actId="20577"/>
          <ac:spMkLst>
            <pc:docMk/>
            <pc:sldMk cId="1737226352" sldId="2147481398"/>
            <ac:spMk id="47" creationId="{3920B3C7-7398-4748-82C4-DC29BD597B6E}"/>
          </ac:spMkLst>
        </pc:spChg>
        <pc:spChg chg="del">
          <ac:chgData name="RUFFET, Malcolm" userId="ef33cb5d-7c5f-44ea-8bd1-71f6d9da9dec" providerId="ADAL" clId="{42A6F1C5-53D2-4848-9E6F-5902AFD5EAD4}" dt="2024-02-16T14:16:47.348" v="8959" actId="478"/>
          <ac:spMkLst>
            <pc:docMk/>
            <pc:sldMk cId="1737226352" sldId="2147481398"/>
            <ac:spMk id="52" creationId="{A23FC1E1-21AF-4560-BC75-2691EEADAF9C}"/>
          </ac:spMkLst>
        </pc:spChg>
        <pc:spChg chg="del">
          <ac:chgData name="RUFFET, Malcolm" userId="ef33cb5d-7c5f-44ea-8bd1-71f6d9da9dec" providerId="ADAL" clId="{42A6F1C5-53D2-4848-9E6F-5902AFD5EAD4}" dt="2024-02-16T14:16:49.040" v="8960" actId="478"/>
          <ac:spMkLst>
            <pc:docMk/>
            <pc:sldMk cId="1737226352" sldId="2147481398"/>
            <ac:spMk id="53" creationId="{DF8458CF-0A65-48A9-BD06-07D26A605B15}"/>
          </ac:spMkLst>
        </pc:spChg>
        <pc:spChg chg="del">
          <ac:chgData name="RUFFET, Malcolm" userId="ef33cb5d-7c5f-44ea-8bd1-71f6d9da9dec" providerId="ADAL" clId="{42A6F1C5-53D2-4848-9E6F-5902AFD5EAD4}" dt="2024-02-16T14:16:43.649" v="8958" actId="478"/>
          <ac:spMkLst>
            <pc:docMk/>
            <pc:sldMk cId="1737226352" sldId="2147481398"/>
            <ac:spMk id="56" creationId="{3D519270-92F4-4EF1-A37E-E700E6A3B31F}"/>
          </ac:spMkLst>
        </pc:spChg>
        <pc:spChg chg="del">
          <ac:chgData name="RUFFET, Malcolm" userId="ef33cb5d-7c5f-44ea-8bd1-71f6d9da9dec" providerId="ADAL" clId="{42A6F1C5-53D2-4848-9E6F-5902AFD5EAD4}" dt="2024-02-16T14:16:43.649" v="8958" actId="478"/>
          <ac:spMkLst>
            <pc:docMk/>
            <pc:sldMk cId="1737226352" sldId="2147481398"/>
            <ac:spMk id="57" creationId="{C9AD606F-9853-45AF-9524-05BDE18E86CD}"/>
          </ac:spMkLst>
        </pc:spChg>
        <pc:spChg chg="del">
          <ac:chgData name="RUFFET, Malcolm" userId="ef33cb5d-7c5f-44ea-8bd1-71f6d9da9dec" providerId="ADAL" clId="{42A6F1C5-53D2-4848-9E6F-5902AFD5EAD4}" dt="2024-02-16T14:16:43.649" v="8958" actId="478"/>
          <ac:spMkLst>
            <pc:docMk/>
            <pc:sldMk cId="1737226352" sldId="2147481398"/>
            <ac:spMk id="58" creationId="{603A5828-B7C2-4662-A37D-5FF8020C0A00}"/>
          </ac:spMkLst>
        </pc:spChg>
        <pc:spChg chg="del">
          <ac:chgData name="RUFFET, Malcolm" userId="ef33cb5d-7c5f-44ea-8bd1-71f6d9da9dec" providerId="ADAL" clId="{42A6F1C5-53D2-4848-9E6F-5902AFD5EAD4}" dt="2024-02-16T14:16:30.720" v="8955" actId="478"/>
          <ac:spMkLst>
            <pc:docMk/>
            <pc:sldMk cId="1737226352" sldId="2147481398"/>
            <ac:spMk id="60" creationId="{81EA2BBA-0460-4624-9B71-48631AA8C8C0}"/>
          </ac:spMkLst>
        </pc:spChg>
        <pc:spChg chg="del">
          <ac:chgData name="RUFFET, Malcolm" userId="ef33cb5d-7c5f-44ea-8bd1-71f6d9da9dec" providerId="ADAL" clId="{42A6F1C5-53D2-4848-9E6F-5902AFD5EAD4}" dt="2024-02-16T14:16:43.649" v="8958" actId="478"/>
          <ac:spMkLst>
            <pc:docMk/>
            <pc:sldMk cId="1737226352" sldId="2147481398"/>
            <ac:spMk id="64" creationId="{ACD556B1-4526-422F-A9A0-BF342E572142}"/>
          </ac:spMkLst>
        </pc:spChg>
        <pc:spChg chg="del">
          <ac:chgData name="RUFFET, Malcolm" userId="ef33cb5d-7c5f-44ea-8bd1-71f6d9da9dec" providerId="ADAL" clId="{42A6F1C5-53D2-4848-9E6F-5902AFD5EAD4}" dt="2024-02-16T14:16:43.649" v="8958" actId="478"/>
          <ac:spMkLst>
            <pc:docMk/>
            <pc:sldMk cId="1737226352" sldId="2147481398"/>
            <ac:spMk id="65" creationId="{114E77D8-EDC6-4AE1-A00B-1F8E88A54089}"/>
          </ac:spMkLst>
        </pc:spChg>
        <pc:grpChg chg="add del">
          <ac:chgData name="RUFFET, Malcolm" userId="ef33cb5d-7c5f-44ea-8bd1-71f6d9da9dec" providerId="ADAL" clId="{42A6F1C5-53D2-4848-9E6F-5902AFD5EAD4}" dt="2024-02-26T17:27:58.795" v="14557" actId="478"/>
          <ac:grpSpMkLst>
            <pc:docMk/>
            <pc:sldMk cId="1737226352" sldId="2147481398"/>
            <ac:grpSpMk id="54" creationId="{8212E60C-3BE4-4CC6-9098-16859D0012E6}"/>
          </ac:grpSpMkLst>
        </pc:grpChg>
        <pc:cxnChg chg="del">
          <ac:chgData name="RUFFET, Malcolm" userId="ef33cb5d-7c5f-44ea-8bd1-71f6d9da9dec" providerId="ADAL" clId="{42A6F1C5-53D2-4848-9E6F-5902AFD5EAD4}" dt="2024-02-16T14:16:43.649" v="8958" actId="478"/>
          <ac:cxnSpMkLst>
            <pc:docMk/>
            <pc:sldMk cId="1737226352" sldId="2147481398"/>
            <ac:cxnSpMk id="67" creationId="{6C2B6C8D-96BC-4B81-902D-FD7A77B334CB}"/>
          </ac:cxnSpMkLst>
        </pc:cxnChg>
        <pc:cxnChg chg="del">
          <ac:chgData name="RUFFET, Malcolm" userId="ef33cb5d-7c5f-44ea-8bd1-71f6d9da9dec" providerId="ADAL" clId="{42A6F1C5-53D2-4848-9E6F-5902AFD5EAD4}" dt="2024-02-16T14:16:43.649" v="8958" actId="478"/>
          <ac:cxnSpMkLst>
            <pc:docMk/>
            <pc:sldMk cId="1737226352" sldId="2147481398"/>
            <ac:cxnSpMk id="68" creationId="{777D1DED-13E6-44F5-9F4F-CA4D5F6BB4EA}"/>
          </ac:cxnSpMkLst>
        </pc:cxnChg>
      </pc:sldChg>
      <pc:sldChg chg="add">
        <pc:chgData name="RUFFET, Malcolm" userId="ef33cb5d-7c5f-44ea-8bd1-71f6d9da9dec" providerId="ADAL" clId="{42A6F1C5-53D2-4848-9E6F-5902AFD5EAD4}" dt="2024-02-16T14:13:33.290" v="8654"/>
        <pc:sldMkLst>
          <pc:docMk/>
          <pc:sldMk cId="3959319687" sldId="2147481399"/>
        </pc:sldMkLst>
      </pc:sldChg>
      <pc:sldChg chg="add del">
        <pc:chgData name="RUFFET, Malcolm" userId="ef33cb5d-7c5f-44ea-8bd1-71f6d9da9dec" providerId="ADAL" clId="{42A6F1C5-53D2-4848-9E6F-5902AFD5EAD4}" dt="2024-02-21T10:36:43.217" v="12511" actId="47"/>
        <pc:sldMkLst>
          <pc:docMk/>
          <pc:sldMk cId="1489978336" sldId="2147481400"/>
        </pc:sldMkLst>
      </pc:sldChg>
      <pc:sldChg chg="addSp delSp modSp add del mod">
        <pc:chgData name="RUFFET, Malcolm" userId="ef33cb5d-7c5f-44ea-8bd1-71f6d9da9dec" providerId="ADAL" clId="{42A6F1C5-53D2-4848-9E6F-5902AFD5EAD4}" dt="2024-02-26T17:25:39.440" v="14470" actId="47"/>
        <pc:sldMkLst>
          <pc:docMk/>
          <pc:sldMk cId="2718247569" sldId="2147481401"/>
        </pc:sldMkLst>
        <pc:spChg chg="add del">
          <ac:chgData name="RUFFET, Malcolm" userId="ef33cb5d-7c5f-44ea-8bd1-71f6d9da9dec" providerId="ADAL" clId="{42A6F1C5-53D2-4848-9E6F-5902AFD5EAD4}" dt="2024-02-16T14:19:07.119" v="8986" actId="478"/>
          <ac:spMkLst>
            <pc:docMk/>
            <pc:sldMk cId="2718247569" sldId="2147481401"/>
            <ac:spMk id="3" creationId="{60780727-DCDE-9AC7-1D1A-74B917EBB392}"/>
          </ac:spMkLst>
        </pc:spChg>
        <pc:spChg chg="add mod">
          <ac:chgData name="RUFFET, Malcolm" userId="ef33cb5d-7c5f-44ea-8bd1-71f6d9da9dec" providerId="ADAL" clId="{42A6F1C5-53D2-4848-9E6F-5902AFD5EAD4}" dt="2024-02-16T14:19:29.750" v="9025" actId="1076"/>
          <ac:spMkLst>
            <pc:docMk/>
            <pc:sldMk cId="2718247569" sldId="2147481401"/>
            <ac:spMk id="4" creationId="{DAE16798-D8DF-1B41-F81F-FC82264B23D1}"/>
          </ac:spMkLst>
        </pc:spChg>
      </pc:sldChg>
      <pc:sldChg chg="modSp add mod">
        <pc:chgData name="RUFFET, Malcolm" userId="ef33cb5d-7c5f-44ea-8bd1-71f6d9da9dec" providerId="ADAL" clId="{42A6F1C5-53D2-4848-9E6F-5902AFD5EAD4}" dt="2024-02-26T17:27:03.568" v="14542" actId="1076"/>
        <pc:sldMkLst>
          <pc:docMk/>
          <pc:sldMk cId="931920928" sldId="2147481402"/>
        </pc:sldMkLst>
        <pc:spChg chg="mod">
          <ac:chgData name="RUFFET, Malcolm" userId="ef33cb5d-7c5f-44ea-8bd1-71f6d9da9dec" providerId="ADAL" clId="{42A6F1C5-53D2-4848-9E6F-5902AFD5EAD4}" dt="2024-02-26T17:27:03.568" v="14542" actId="1076"/>
          <ac:spMkLst>
            <pc:docMk/>
            <pc:sldMk cId="931920928" sldId="2147481402"/>
            <ac:spMk id="243" creationId="{1B1B4CBE-4F7F-D560-2D1C-826723DE210A}"/>
          </ac:spMkLst>
        </pc:spChg>
      </pc:sldChg>
      <pc:sldChg chg="add del">
        <pc:chgData name="RUFFET, Malcolm" userId="ef33cb5d-7c5f-44ea-8bd1-71f6d9da9dec" providerId="ADAL" clId="{42A6F1C5-53D2-4848-9E6F-5902AFD5EAD4}" dt="2024-02-16T14:18:40.759" v="8984" actId="47"/>
        <pc:sldMkLst>
          <pc:docMk/>
          <pc:sldMk cId="3723585069" sldId="2147481403"/>
        </pc:sldMkLst>
      </pc:sldChg>
      <pc:sldChg chg="add del">
        <pc:chgData name="RUFFET, Malcolm" userId="ef33cb5d-7c5f-44ea-8bd1-71f6d9da9dec" providerId="ADAL" clId="{42A6F1C5-53D2-4848-9E6F-5902AFD5EAD4}" dt="2024-02-21T10:40:22.408" v="12577" actId="47"/>
        <pc:sldMkLst>
          <pc:docMk/>
          <pc:sldMk cId="761955324" sldId="2147481404"/>
        </pc:sldMkLst>
      </pc:sldChg>
      <pc:sldChg chg="modSp add mod">
        <pc:chgData name="RUFFET, Malcolm" userId="ef33cb5d-7c5f-44ea-8bd1-71f6d9da9dec" providerId="ADAL" clId="{42A6F1C5-53D2-4848-9E6F-5902AFD5EAD4}" dt="2024-02-26T17:27:20.407" v="14550" actId="20577"/>
        <pc:sldMkLst>
          <pc:docMk/>
          <pc:sldMk cId="2960014723" sldId="2147481405"/>
        </pc:sldMkLst>
        <pc:spChg chg="mod">
          <ac:chgData name="RUFFET, Malcolm" userId="ef33cb5d-7c5f-44ea-8bd1-71f6d9da9dec" providerId="ADAL" clId="{42A6F1C5-53D2-4848-9E6F-5902AFD5EAD4}" dt="2024-02-26T17:27:20.407" v="14550" actId="20577"/>
          <ac:spMkLst>
            <pc:docMk/>
            <pc:sldMk cId="2960014723" sldId="2147481405"/>
            <ac:spMk id="23" creationId="{829AF7EE-145B-4C4A-8CEB-F55DCBE6686C}"/>
          </ac:spMkLst>
        </pc:spChg>
      </pc:sldChg>
      <pc:sldChg chg="addSp delSp modSp mod">
        <pc:chgData name="RUFFET, Malcolm" userId="ef33cb5d-7c5f-44ea-8bd1-71f6d9da9dec" providerId="ADAL" clId="{42A6F1C5-53D2-4848-9E6F-5902AFD5EAD4}" dt="2024-02-19T09:27:44.378" v="9318" actId="478"/>
        <pc:sldMkLst>
          <pc:docMk/>
          <pc:sldMk cId="3229574289" sldId="2147481407"/>
        </pc:sldMkLst>
        <pc:spChg chg="add mod">
          <ac:chgData name="RUFFET, Malcolm" userId="ef33cb5d-7c5f-44ea-8bd1-71f6d9da9dec" providerId="ADAL" clId="{42A6F1C5-53D2-4848-9E6F-5902AFD5EAD4}" dt="2024-02-19T09:26:39.483" v="9262" actId="404"/>
          <ac:spMkLst>
            <pc:docMk/>
            <pc:sldMk cId="3229574289" sldId="2147481407"/>
            <ac:spMk id="2" creationId="{068B457B-32C3-23DE-57EF-E03592C5B7C4}"/>
          </ac:spMkLst>
        </pc:spChg>
        <pc:spChg chg="add mod">
          <ac:chgData name="RUFFET, Malcolm" userId="ef33cb5d-7c5f-44ea-8bd1-71f6d9da9dec" providerId="ADAL" clId="{42A6F1C5-53D2-4848-9E6F-5902AFD5EAD4}" dt="2024-02-19T09:26:39.483" v="9262" actId="404"/>
          <ac:spMkLst>
            <pc:docMk/>
            <pc:sldMk cId="3229574289" sldId="2147481407"/>
            <ac:spMk id="4" creationId="{829AFBA3-872F-4B17-8E25-979E87F90CF3}"/>
          </ac:spMkLst>
        </pc:spChg>
        <pc:spChg chg="add mod">
          <ac:chgData name="RUFFET, Malcolm" userId="ef33cb5d-7c5f-44ea-8bd1-71f6d9da9dec" providerId="ADAL" clId="{42A6F1C5-53D2-4848-9E6F-5902AFD5EAD4}" dt="2024-02-19T09:27:15.910" v="9288" actId="20577"/>
          <ac:spMkLst>
            <pc:docMk/>
            <pc:sldMk cId="3229574289" sldId="2147481407"/>
            <ac:spMk id="6" creationId="{10C849CB-D8A0-CCE2-F926-2A4621529482}"/>
          </ac:spMkLst>
        </pc:spChg>
        <pc:spChg chg="add mod">
          <ac:chgData name="RUFFET, Malcolm" userId="ef33cb5d-7c5f-44ea-8bd1-71f6d9da9dec" providerId="ADAL" clId="{42A6F1C5-53D2-4848-9E6F-5902AFD5EAD4}" dt="2024-02-19T09:27:33.273" v="9315" actId="20577"/>
          <ac:spMkLst>
            <pc:docMk/>
            <pc:sldMk cId="3229574289" sldId="2147481407"/>
            <ac:spMk id="7" creationId="{EBC87BF7-0F83-E607-9BB7-8F749485B236}"/>
          </ac:spMkLst>
        </pc:spChg>
        <pc:spChg chg="add del mod">
          <ac:chgData name="RUFFET, Malcolm" userId="ef33cb5d-7c5f-44ea-8bd1-71f6d9da9dec" providerId="ADAL" clId="{42A6F1C5-53D2-4848-9E6F-5902AFD5EAD4}" dt="2024-02-19T09:27:39.361" v="9317" actId="478"/>
          <ac:spMkLst>
            <pc:docMk/>
            <pc:sldMk cId="3229574289" sldId="2147481407"/>
            <ac:spMk id="8" creationId="{A80B74C8-D1B9-A137-C171-3ADDA7A913E5}"/>
          </ac:spMkLst>
        </pc:spChg>
        <pc:spChg chg="mod">
          <ac:chgData name="RUFFET, Malcolm" userId="ef33cb5d-7c5f-44ea-8bd1-71f6d9da9dec" providerId="ADAL" clId="{42A6F1C5-53D2-4848-9E6F-5902AFD5EAD4}" dt="2024-02-19T09:26:31.982" v="9261" actId="1076"/>
          <ac:spMkLst>
            <pc:docMk/>
            <pc:sldMk cId="3229574289" sldId="2147481407"/>
            <ac:spMk id="11" creationId="{DFD60AA3-7163-8F8C-6930-CE2A340178CC}"/>
          </ac:spMkLst>
        </pc:spChg>
        <pc:spChg chg="mod">
          <ac:chgData name="RUFFET, Malcolm" userId="ef33cb5d-7c5f-44ea-8bd1-71f6d9da9dec" providerId="ADAL" clId="{42A6F1C5-53D2-4848-9E6F-5902AFD5EAD4}" dt="2024-02-19T09:26:31.982" v="9261" actId="1076"/>
          <ac:spMkLst>
            <pc:docMk/>
            <pc:sldMk cId="3229574289" sldId="2147481407"/>
            <ac:spMk id="12" creationId="{A2A67988-C4C0-0DF5-30A6-77D4D1C69A4A}"/>
          </ac:spMkLst>
        </pc:spChg>
        <pc:spChg chg="mod">
          <ac:chgData name="RUFFET, Malcolm" userId="ef33cb5d-7c5f-44ea-8bd1-71f6d9da9dec" providerId="ADAL" clId="{42A6F1C5-53D2-4848-9E6F-5902AFD5EAD4}" dt="2024-02-19T09:26:31.982" v="9261" actId="1076"/>
          <ac:spMkLst>
            <pc:docMk/>
            <pc:sldMk cId="3229574289" sldId="2147481407"/>
            <ac:spMk id="13" creationId="{51AFE131-101F-A2E3-C46F-A4A95232E73D}"/>
          </ac:spMkLst>
        </pc:spChg>
        <pc:spChg chg="del">
          <ac:chgData name="RUFFET, Malcolm" userId="ef33cb5d-7c5f-44ea-8bd1-71f6d9da9dec" providerId="ADAL" clId="{42A6F1C5-53D2-4848-9E6F-5902AFD5EAD4}" dt="2024-02-19T08:54:59.527" v="9070" actId="478"/>
          <ac:spMkLst>
            <pc:docMk/>
            <pc:sldMk cId="3229574289" sldId="2147481407"/>
            <ac:spMk id="14" creationId="{8DE9EA27-C51A-63FC-6AF0-86CFCB4D2260}"/>
          </ac:spMkLst>
        </pc:spChg>
        <pc:spChg chg="del">
          <ac:chgData name="RUFFET, Malcolm" userId="ef33cb5d-7c5f-44ea-8bd1-71f6d9da9dec" providerId="ADAL" clId="{42A6F1C5-53D2-4848-9E6F-5902AFD5EAD4}" dt="2024-02-19T08:54:53.751" v="9068" actId="478"/>
          <ac:spMkLst>
            <pc:docMk/>
            <pc:sldMk cId="3229574289" sldId="2147481407"/>
            <ac:spMk id="16" creationId="{BB73B6B9-465C-BC41-565B-6D6020B98A17}"/>
          </ac:spMkLst>
        </pc:spChg>
        <pc:spChg chg="del">
          <ac:chgData name="RUFFET, Malcolm" userId="ef33cb5d-7c5f-44ea-8bd1-71f6d9da9dec" providerId="ADAL" clId="{42A6F1C5-53D2-4848-9E6F-5902AFD5EAD4}" dt="2024-02-19T08:54:12.547" v="9058" actId="478"/>
          <ac:spMkLst>
            <pc:docMk/>
            <pc:sldMk cId="3229574289" sldId="2147481407"/>
            <ac:spMk id="17" creationId="{664AB034-D760-1685-B9BB-F3D325E1B114}"/>
          </ac:spMkLst>
        </pc:spChg>
        <pc:spChg chg="del mod">
          <ac:chgData name="RUFFET, Malcolm" userId="ef33cb5d-7c5f-44ea-8bd1-71f6d9da9dec" providerId="ADAL" clId="{42A6F1C5-53D2-4848-9E6F-5902AFD5EAD4}" dt="2024-02-19T08:54:04.195" v="9056" actId="478"/>
          <ac:spMkLst>
            <pc:docMk/>
            <pc:sldMk cId="3229574289" sldId="2147481407"/>
            <ac:spMk id="18" creationId="{FBCBA0FC-9991-AC0D-720B-AE92108ECB8E}"/>
          </ac:spMkLst>
        </pc:spChg>
        <pc:spChg chg="mod">
          <ac:chgData name="RUFFET, Malcolm" userId="ef33cb5d-7c5f-44ea-8bd1-71f6d9da9dec" providerId="ADAL" clId="{42A6F1C5-53D2-4848-9E6F-5902AFD5EAD4}" dt="2024-02-19T09:26:31.982" v="9261" actId="1076"/>
          <ac:spMkLst>
            <pc:docMk/>
            <pc:sldMk cId="3229574289" sldId="2147481407"/>
            <ac:spMk id="19" creationId="{15E06606-FBC5-C64B-98C3-4DA94D73001B}"/>
          </ac:spMkLst>
        </pc:spChg>
        <pc:spChg chg="add del">
          <ac:chgData name="RUFFET, Malcolm" userId="ef33cb5d-7c5f-44ea-8bd1-71f6d9da9dec" providerId="ADAL" clId="{42A6F1C5-53D2-4848-9E6F-5902AFD5EAD4}" dt="2024-02-19T09:27:44.378" v="9318" actId="478"/>
          <ac:spMkLst>
            <pc:docMk/>
            <pc:sldMk cId="3229574289" sldId="2147481407"/>
            <ac:spMk id="21" creationId="{AC08AE0D-EB32-5E39-23A9-3FAC5C926E69}"/>
          </ac:spMkLst>
        </pc:spChg>
        <pc:spChg chg="mod">
          <ac:chgData name="RUFFET, Malcolm" userId="ef33cb5d-7c5f-44ea-8bd1-71f6d9da9dec" providerId="ADAL" clId="{42A6F1C5-53D2-4848-9E6F-5902AFD5EAD4}" dt="2024-02-19T09:26:31.982" v="9261" actId="1076"/>
          <ac:spMkLst>
            <pc:docMk/>
            <pc:sldMk cId="3229574289" sldId="2147481407"/>
            <ac:spMk id="22" creationId="{FF1D96E4-F743-88F7-CADF-D76D19C3CC69}"/>
          </ac:spMkLst>
        </pc:spChg>
        <pc:spChg chg="mod">
          <ac:chgData name="RUFFET, Malcolm" userId="ef33cb5d-7c5f-44ea-8bd1-71f6d9da9dec" providerId="ADAL" clId="{42A6F1C5-53D2-4848-9E6F-5902AFD5EAD4}" dt="2024-02-19T09:26:31.982" v="9261" actId="1076"/>
          <ac:spMkLst>
            <pc:docMk/>
            <pc:sldMk cId="3229574289" sldId="2147481407"/>
            <ac:spMk id="23" creationId="{F0F33C1E-E2FB-BF7B-1D34-9716E86E9431}"/>
          </ac:spMkLst>
        </pc:spChg>
        <pc:spChg chg="mod">
          <ac:chgData name="RUFFET, Malcolm" userId="ef33cb5d-7c5f-44ea-8bd1-71f6d9da9dec" providerId="ADAL" clId="{42A6F1C5-53D2-4848-9E6F-5902AFD5EAD4}" dt="2024-02-19T09:26:31.982" v="9261" actId="1076"/>
          <ac:spMkLst>
            <pc:docMk/>
            <pc:sldMk cId="3229574289" sldId="2147481407"/>
            <ac:spMk id="24" creationId="{D497DED2-593C-8454-75D7-40BEA43C5458}"/>
          </ac:spMkLst>
        </pc:spChg>
        <pc:spChg chg="mod">
          <ac:chgData name="RUFFET, Malcolm" userId="ef33cb5d-7c5f-44ea-8bd1-71f6d9da9dec" providerId="ADAL" clId="{42A6F1C5-53D2-4848-9E6F-5902AFD5EAD4}" dt="2024-02-19T09:26:31.982" v="9261" actId="1076"/>
          <ac:spMkLst>
            <pc:docMk/>
            <pc:sldMk cId="3229574289" sldId="2147481407"/>
            <ac:spMk id="25" creationId="{A3112CCC-B059-F132-AD32-54E657C3C6EF}"/>
          </ac:spMkLst>
        </pc:spChg>
        <pc:spChg chg="del">
          <ac:chgData name="RUFFET, Malcolm" userId="ef33cb5d-7c5f-44ea-8bd1-71f6d9da9dec" providerId="ADAL" clId="{42A6F1C5-53D2-4848-9E6F-5902AFD5EAD4}" dt="2024-02-19T08:54:45.583" v="9066" actId="478"/>
          <ac:spMkLst>
            <pc:docMk/>
            <pc:sldMk cId="3229574289" sldId="2147481407"/>
            <ac:spMk id="26" creationId="{3441102E-8C1F-8145-63C7-0EB0770925B2}"/>
          </ac:spMkLst>
        </pc:spChg>
        <pc:spChg chg="del">
          <ac:chgData name="RUFFET, Malcolm" userId="ef33cb5d-7c5f-44ea-8bd1-71f6d9da9dec" providerId="ADAL" clId="{42A6F1C5-53D2-4848-9E6F-5902AFD5EAD4}" dt="2024-02-19T08:54:43.071" v="9065" actId="478"/>
          <ac:spMkLst>
            <pc:docMk/>
            <pc:sldMk cId="3229574289" sldId="2147481407"/>
            <ac:spMk id="27" creationId="{4730F30A-294A-267F-8736-1F4DE2368CFD}"/>
          </ac:spMkLst>
        </pc:spChg>
        <pc:spChg chg="del">
          <ac:chgData name="RUFFET, Malcolm" userId="ef33cb5d-7c5f-44ea-8bd1-71f6d9da9dec" providerId="ADAL" clId="{42A6F1C5-53D2-4848-9E6F-5902AFD5EAD4}" dt="2024-02-19T08:54:15.015" v="9059" actId="478"/>
          <ac:spMkLst>
            <pc:docMk/>
            <pc:sldMk cId="3229574289" sldId="2147481407"/>
            <ac:spMk id="28" creationId="{B6A040AE-1902-0F6C-0CE3-B206E9F12B15}"/>
          </ac:spMkLst>
        </pc:spChg>
        <pc:picChg chg="del mod">
          <ac:chgData name="RUFFET, Malcolm" userId="ef33cb5d-7c5f-44ea-8bd1-71f6d9da9dec" providerId="ADAL" clId="{42A6F1C5-53D2-4848-9E6F-5902AFD5EAD4}" dt="2024-02-19T09:24:21.768" v="9155" actId="478"/>
          <ac:picMkLst>
            <pc:docMk/>
            <pc:sldMk cId="3229574289" sldId="2147481407"/>
            <ac:picMk id="20" creationId="{CA4DB497-8A61-AC97-0117-BA8EB5F3E3D7}"/>
          </ac:picMkLst>
        </pc:picChg>
      </pc:sldChg>
      <pc:sldChg chg="modSp mod">
        <pc:chgData name="RUFFET, Malcolm" userId="ef33cb5d-7c5f-44ea-8bd1-71f6d9da9dec" providerId="ADAL" clId="{42A6F1C5-53D2-4848-9E6F-5902AFD5EAD4}" dt="2024-02-23T15:58:42.463" v="13889" actId="20577"/>
        <pc:sldMkLst>
          <pc:docMk/>
          <pc:sldMk cId="332520229" sldId="2147481408"/>
        </pc:sldMkLst>
        <pc:spChg chg="mod">
          <ac:chgData name="RUFFET, Malcolm" userId="ef33cb5d-7c5f-44ea-8bd1-71f6d9da9dec" providerId="ADAL" clId="{42A6F1C5-53D2-4848-9E6F-5902AFD5EAD4}" dt="2024-02-23T15:58:42.463" v="13889" actId="20577"/>
          <ac:spMkLst>
            <pc:docMk/>
            <pc:sldMk cId="332520229" sldId="2147481408"/>
            <ac:spMk id="13" creationId="{8A087B72-1431-9F94-6268-5AACA0369442}"/>
          </ac:spMkLst>
        </pc:spChg>
      </pc:sldChg>
      <pc:sldChg chg="add del ord">
        <pc:chgData name="RUFFET, Malcolm" userId="ef33cb5d-7c5f-44ea-8bd1-71f6d9da9dec" providerId="ADAL" clId="{42A6F1C5-53D2-4848-9E6F-5902AFD5EAD4}" dt="2024-02-29T10:04:17.109" v="15084" actId="47"/>
        <pc:sldMkLst>
          <pc:docMk/>
          <pc:sldMk cId="752513075" sldId="2147481410"/>
        </pc:sldMkLst>
      </pc:sldChg>
      <pc:sldChg chg="add ord">
        <pc:chgData name="RUFFET, Malcolm" userId="ef33cb5d-7c5f-44ea-8bd1-71f6d9da9dec" providerId="ADAL" clId="{42A6F1C5-53D2-4848-9E6F-5902AFD5EAD4}" dt="2024-02-19T09:24:11.587" v="9153"/>
        <pc:sldMkLst>
          <pc:docMk/>
          <pc:sldMk cId="2026483094" sldId="2147481411"/>
        </pc:sldMkLst>
      </pc:sldChg>
      <pc:sldChg chg="add">
        <pc:chgData name="RUFFET, Malcolm" userId="ef33cb5d-7c5f-44ea-8bd1-71f6d9da9dec" providerId="ADAL" clId="{42A6F1C5-53D2-4848-9E6F-5902AFD5EAD4}" dt="2024-02-19T09:24:16.493" v="9154"/>
        <pc:sldMkLst>
          <pc:docMk/>
          <pc:sldMk cId="327943054" sldId="2147481412"/>
        </pc:sldMkLst>
      </pc:sldChg>
      <pc:sldChg chg="addSp modSp new del mod">
        <pc:chgData name="RUFFET, Malcolm" userId="ef33cb5d-7c5f-44ea-8bd1-71f6d9da9dec" providerId="ADAL" clId="{42A6F1C5-53D2-4848-9E6F-5902AFD5EAD4}" dt="2024-02-22T13:55:53.247" v="12637" actId="47"/>
        <pc:sldMkLst>
          <pc:docMk/>
          <pc:sldMk cId="2462120984" sldId="2147481413"/>
        </pc:sldMkLst>
        <pc:spChg chg="mod">
          <ac:chgData name="RUFFET, Malcolm" userId="ef33cb5d-7c5f-44ea-8bd1-71f6d9da9dec" providerId="ADAL" clId="{42A6F1C5-53D2-4848-9E6F-5902AFD5EAD4}" dt="2024-02-19T09:37:09.744" v="9368" actId="20577"/>
          <ac:spMkLst>
            <pc:docMk/>
            <pc:sldMk cId="2462120984" sldId="2147481413"/>
            <ac:spMk id="2" creationId="{12E786D0-B86A-C9E1-CA58-0927E0A857B7}"/>
          </ac:spMkLst>
        </pc:spChg>
        <pc:spChg chg="mod">
          <ac:chgData name="RUFFET, Malcolm" userId="ef33cb5d-7c5f-44ea-8bd1-71f6d9da9dec" providerId="ADAL" clId="{42A6F1C5-53D2-4848-9E6F-5902AFD5EAD4}" dt="2024-02-19T09:37:21.458" v="9387" actId="20577"/>
          <ac:spMkLst>
            <pc:docMk/>
            <pc:sldMk cId="2462120984" sldId="2147481413"/>
            <ac:spMk id="3" creationId="{438BC4E9-48B7-776A-A30A-1C50A135458D}"/>
          </ac:spMkLst>
        </pc:spChg>
        <pc:spChg chg="add mod">
          <ac:chgData name="RUFFET, Malcolm" userId="ef33cb5d-7c5f-44ea-8bd1-71f6d9da9dec" providerId="ADAL" clId="{42A6F1C5-53D2-4848-9E6F-5902AFD5EAD4}" dt="2024-02-22T13:51:29.686" v="12626" actId="20577"/>
          <ac:spMkLst>
            <pc:docMk/>
            <pc:sldMk cId="2462120984" sldId="2147481413"/>
            <ac:spMk id="4" creationId="{F1C7EB36-B64B-D464-9F71-75B31BE08325}"/>
          </ac:spMkLst>
        </pc:spChg>
      </pc:sldChg>
      <pc:sldChg chg="addSp delSp modSp new mod">
        <pc:chgData name="RUFFET, Malcolm" userId="ef33cb5d-7c5f-44ea-8bd1-71f6d9da9dec" providerId="ADAL" clId="{42A6F1C5-53D2-4848-9E6F-5902AFD5EAD4}" dt="2024-02-27T10:44:22.598" v="14855" actId="478"/>
        <pc:sldMkLst>
          <pc:docMk/>
          <pc:sldMk cId="2523852459" sldId="2147481414"/>
        </pc:sldMkLst>
        <pc:spChg chg="add mod">
          <ac:chgData name="RUFFET, Malcolm" userId="ef33cb5d-7c5f-44ea-8bd1-71f6d9da9dec" providerId="ADAL" clId="{42A6F1C5-53D2-4848-9E6F-5902AFD5EAD4}" dt="2024-02-20T14:06:47.107" v="10416" actId="12789"/>
          <ac:spMkLst>
            <pc:docMk/>
            <pc:sldMk cId="2523852459" sldId="2147481414"/>
            <ac:spMk id="3" creationId="{798DF0C1-754F-A51D-6282-B21ABFB6397D}"/>
          </ac:spMkLst>
        </pc:spChg>
        <pc:picChg chg="add del">
          <ac:chgData name="RUFFET, Malcolm" userId="ef33cb5d-7c5f-44ea-8bd1-71f6d9da9dec" providerId="ADAL" clId="{42A6F1C5-53D2-4848-9E6F-5902AFD5EAD4}" dt="2024-02-27T10:44:22.598" v="14855" actId="478"/>
          <ac:picMkLst>
            <pc:docMk/>
            <pc:sldMk cId="2523852459" sldId="2147481414"/>
            <ac:picMk id="4" creationId="{9AF288D9-F7A8-73B6-6D09-999A7F3F6F91}"/>
          </ac:picMkLst>
        </pc:picChg>
      </pc:sldChg>
      <pc:sldChg chg="addSp delSp modSp mod ord">
        <pc:chgData name="RUFFET, Malcolm" userId="ef33cb5d-7c5f-44ea-8bd1-71f6d9da9dec" providerId="ADAL" clId="{42A6F1C5-53D2-4848-9E6F-5902AFD5EAD4}" dt="2024-02-21T10:16:42.097" v="12015" actId="20577"/>
        <pc:sldMkLst>
          <pc:docMk/>
          <pc:sldMk cId="3928444635" sldId="2147481415"/>
        </pc:sldMkLst>
        <pc:spChg chg="mod topLvl">
          <ac:chgData name="RUFFET, Malcolm" userId="ef33cb5d-7c5f-44ea-8bd1-71f6d9da9dec" providerId="ADAL" clId="{42A6F1C5-53D2-4848-9E6F-5902AFD5EAD4}" dt="2024-02-21T10:14:24.110" v="11917" actId="12788"/>
          <ac:spMkLst>
            <pc:docMk/>
            <pc:sldMk cId="3928444635" sldId="2147481415"/>
            <ac:spMk id="5" creationId="{BD28F52F-29FF-ED93-C9E8-1776150C6014}"/>
          </ac:spMkLst>
        </pc:spChg>
        <pc:spChg chg="add mod topLvl">
          <ac:chgData name="RUFFET, Malcolm" userId="ef33cb5d-7c5f-44ea-8bd1-71f6d9da9dec" providerId="ADAL" clId="{42A6F1C5-53D2-4848-9E6F-5902AFD5EAD4}" dt="2024-02-21T10:13:49.087" v="11910" actId="165"/>
          <ac:spMkLst>
            <pc:docMk/>
            <pc:sldMk cId="3928444635" sldId="2147481415"/>
            <ac:spMk id="8" creationId="{9CED62D4-9277-2C50-D7D6-2BB88BB05A3D}"/>
          </ac:spMkLst>
        </pc:spChg>
        <pc:spChg chg="add mod topLvl">
          <ac:chgData name="RUFFET, Malcolm" userId="ef33cb5d-7c5f-44ea-8bd1-71f6d9da9dec" providerId="ADAL" clId="{42A6F1C5-53D2-4848-9E6F-5902AFD5EAD4}" dt="2024-02-21T10:13:49.087" v="11910" actId="165"/>
          <ac:spMkLst>
            <pc:docMk/>
            <pc:sldMk cId="3928444635" sldId="2147481415"/>
            <ac:spMk id="11" creationId="{5BD25EEA-443D-58B9-4FE4-1AA9F3A2813A}"/>
          </ac:spMkLst>
        </pc:spChg>
        <pc:spChg chg="add mod">
          <ac:chgData name="RUFFET, Malcolm" userId="ef33cb5d-7c5f-44ea-8bd1-71f6d9da9dec" providerId="ADAL" clId="{42A6F1C5-53D2-4848-9E6F-5902AFD5EAD4}" dt="2024-02-21T10:14:45.731" v="11931" actId="20577"/>
          <ac:spMkLst>
            <pc:docMk/>
            <pc:sldMk cId="3928444635" sldId="2147481415"/>
            <ac:spMk id="15" creationId="{D4B29489-EFA3-468C-76E6-AFFF7F95B5D5}"/>
          </ac:spMkLst>
        </pc:spChg>
        <pc:spChg chg="add mod">
          <ac:chgData name="RUFFET, Malcolm" userId="ef33cb5d-7c5f-44ea-8bd1-71f6d9da9dec" providerId="ADAL" clId="{42A6F1C5-53D2-4848-9E6F-5902AFD5EAD4}" dt="2024-02-21T10:15:35.418" v="11962" actId="20577"/>
          <ac:spMkLst>
            <pc:docMk/>
            <pc:sldMk cId="3928444635" sldId="2147481415"/>
            <ac:spMk id="18" creationId="{463DB791-8203-0003-9E0D-858B62AF40AB}"/>
          </ac:spMkLst>
        </pc:spChg>
        <pc:spChg chg="add mod">
          <ac:chgData name="RUFFET, Malcolm" userId="ef33cb5d-7c5f-44ea-8bd1-71f6d9da9dec" providerId="ADAL" clId="{42A6F1C5-53D2-4848-9E6F-5902AFD5EAD4}" dt="2024-02-21T10:16:42.097" v="12015" actId="20577"/>
          <ac:spMkLst>
            <pc:docMk/>
            <pc:sldMk cId="3928444635" sldId="2147481415"/>
            <ac:spMk id="21" creationId="{6B8B3FD3-CA64-4D66-FFD3-D75CCDE7F097}"/>
          </ac:spMkLst>
        </pc:spChg>
        <pc:grpChg chg="add del mod">
          <ac:chgData name="RUFFET, Malcolm" userId="ef33cb5d-7c5f-44ea-8bd1-71f6d9da9dec" providerId="ADAL" clId="{42A6F1C5-53D2-4848-9E6F-5902AFD5EAD4}" dt="2024-02-21T10:13:49.087" v="11910" actId="165"/>
          <ac:grpSpMkLst>
            <pc:docMk/>
            <pc:sldMk cId="3928444635" sldId="2147481415"/>
            <ac:grpSpMk id="12" creationId="{084FBBA4-6D4B-0A2B-47D7-90F78D705CBD}"/>
          </ac:grpSpMkLst>
        </pc:grpChg>
        <pc:picChg chg="mod topLvl">
          <ac:chgData name="RUFFET, Malcolm" userId="ef33cb5d-7c5f-44ea-8bd1-71f6d9da9dec" providerId="ADAL" clId="{42A6F1C5-53D2-4848-9E6F-5902AFD5EAD4}" dt="2024-02-21T10:14:24.110" v="11917" actId="12788"/>
          <ac:picMkLst>
            <pc:docMk/>
            <pc:sldMk cId="3928444635" sldId="2147481415"/>
            <ac:picMk id="4" creationId="{895243AE-1E29-A262-C367-0CA611FCEA1C}"/>
          </ac:picMkLst>
        </pc:picChg>
        <pc:picChg chg="add mod topLvl">
          <ac:chgData name="RUFFET, Malcolm" userId="ef33cb5d-7c5f-44ea-8bd1-71f6d9da9dec" providerId="ADAL" clId="{42A6F1C5-53D2-4848-9E6F-5902AFD5EAD4}" dt="2024-02-21T10:13:49.087" v="11910" actId="165"/>
          <ac:picMkLst>
            <pc:docMk/>
            <pc:sldMk cId="3928444635" sldId="2147481415"/>
            <ac:picMk id="7" creationId="{103CA0EA-6C92-A1B3-930C-3B11A3B54083}"/>
          </ac:picMkLst>
        </pc:picChg>
        <pc:picChg chg="add mod topLvl">
          <ac:chgData name="RUFFET, Malcolm" userId="ef33cb5d-7c5f-44ea-8bd1-71f6d9da9dec" providerId="ADAL" clId="{42A6F1C5-53D2-4848-9E6F-5902AFD5EAD4}" dt="2024-02-21T10:13:49.087" v="11910" actId="165"/>
          <ac:picMkLst>
            <pc:docMk/>
            <pc:sldMk cId="3928444635" sldId="2147481415"/>
            <ac:picMk id="10" creationId="{C53E58E4-7E9F-265F-DD66-BAB4F0B97513}"/>
          </ac:picMkLst>
        </pc:picChg>
        <pc:picChg chg="add mod">
          <ac:chgData name="RUFFET, Malcolm" userId="ef33cb5d-7c5f-44ea-8bd1-71f6d9da9dec" providerId="ADAL" clId="{42A6F1C5-53D2-4848-9E6F-5902AFD5EAD4}" dt="2024-02-21T10:14:24.110" v="11917" actId="12788"/>
          <ac:picMkLst>
            <pc:docMk/>
            <pc:sldMk cId="3928444635" sldId="2147481415"/>
            <ac:picMk id="14" creationId="{18E0062C-385B-02C9-115E-1E3269F4A850}"/>
          </ac:picMkLst>
        </pc:picChg>
        <pc:picChg chg="add mod">
          <ac:chgData name="RUFFET, Malcolm" userId="ef33cb5d-7c5f-44ea-8bd1-71f6d9da9dec" providerId="ADAL" clId="{42A6F1C5-53D2-4848-9E6F-5902AFD5EAD4}" dt="2024-02-21T10:15:24.849" v="11936" actId="1076"/>
          <ac:picMkLst>
            <pc:docMk/>
            <pc:sldMk cId="3928444635" sldId="2147481415"/>
            <ac:picMk id="17" creationId="{9F313335-A36D-AB7C-AAAF-866B8677F919}"/>
          </ac:picMkLst>
        </pc:picChg>
        <pc:picChg chg="add mod">
          <ac:chgData name="RUFFET, Malcolm" userId="ef33cb5d-7c5f-44ea-8bd1-71f6d9da9dec" providerId="ADAL" clId="{42A6F1C5-53D2-4848-9E6F-5902AFD5EAD4}" dt="2024-02-21T10:16:24.781" v="11966" actId="14100"/>
          <ac:picMkLst>
            <pc:docMk/>
            <pc:sldMk cId="3928444635" sldId="2147481415"/>
            <ac:picMk id="20" creationId="{D6394DF4-B89A-4D7A-D973-F5EEF7DEB9A2}"/>
          </ac:picMkLst>
        </pc:picChg>
      </pc:sldChg>
      <pc:sldChg chg="addSp delSp modSp new mod">
        <pc:chgData name="RUFFET, Malcolm" userId="ef33cb5d-7c5f-44ea-8bd1-71f6d9da9dec" providerId="ADAL" clId="{42A6F1C5-53D2-4848-9E6F-5902AFD5EAD4}" dt="2024-02-21T09:38:43.898" v="11388" actId="14100"/>
        <pc:sldMkLst>
          <pc:docMk/>
          <pc:sldMk cId="1732532695" sldId="2147481416"/>
        </pc:sldMkLst>
        <pc:spChg chg="del">
          <ac:chgData name="RUFFET, Malcolm" userId="ef33cb5d-7c5f-44ea-8bd1-71f6d9da9dec" providerId="ADAL" clId="{42A6F1C5-53D2-4848-9E6F-5902AFD5EAD4}" dt="2024-02-21T08:27:30.206" v="10515" actId="478"/>
          <ac:spMkLst>
            <pc:docMk/>
            <pc:sldMk cId="1732532695" sldId="2147481416"/>
            <ac:spMk id="2" creationId="{4D4503B6-1FEA-0535-0A6E-CDD3D34CC17F}"/>
          </ac:spMkLst>
        </pc:spChg>
        <pc:spChg chg="mod">
          <ac:chgData name="RUFFET, Malcolm" userId="ef33cb5d-7c5f-44ea-8bd1-71f6d9da9dec" providerId="ADAL" clId="{42A6F1C5-53D2-4848-9E6F-5902AFD5EAD4}" dt="2024-02-21T09:35:18.503" v="11380" actId="20577"/>
          <ac:spMkLst>
            <pc:docMk/>
            <pc:sldMk cId="1732532695" sldId="2147481416"/>
            <ac:spMk id="3" creationId="{C62AE81E-3DD0-C0EF-F08A-1DFA186EBC4E}"/>
          </ac:spMkLst>
        </pc:spChg>
        <pc:spChg chg="add del mod ord">
          <ac:chgData name="RUFFET, Malcolm" userId="ef33cb5d-7c5f-44ea-8bd1-71f6d9da9dec" providerId="ADAL" clId="{42A6F1C5-53D2-4848-9E6F-5902AFD5EAD4}" dt="2024-02-21T09:10:49.953" v="10891" actId="478"/>
          <ac:spMkLst>
            <pc:docMk/>
            <pc:sldMk cId="1732532695" sldId="2147481416"/>
            <ac:spMk id="4" creationId="{02BF67BE-6E16-4ABA-3EF8-1311A66A602B}"/>
          </ac:spMkLst>
        </pc:spChg>
        <pc:spChg chg="add del">
          <ac:chgData name="RUFFET, Malcolm" userId="ef33cb5d-7c5f-44ea-8bd1-71f6d9da9dec" providerId="ADAL" clId="{42A6F1C5-53D2-4848-9E6F-5902AFD5EAD4}" dt="2024-02-21T09:10:06.589" v="10884" actId="478"/>
          <ac:spMkLst>
            <pc:docMk/>
            <pc:sldMk cId="1732532695" sldId="2147481416"/>
            <ac:spMk id="5" creationId="{ECC45942-54B0-B155-8EE7-B5A2A9616F3A}"/>
          </ac:spMkLst>
        </pc:spChg>
        <pc:spChg chg="add mod ord">
          <ac:chgData name="RUFFET, Malcolm" userId="ef33cb5d-7c5f-44ea-8bd1-71f6d9da9dec" providerId="ADAL" clId="{42A6F1C5-53D2-4848-9E6F-5902AFD5EAD4}" dt="2024-02-21T09:27:36.105" v="11160" actId="12788"/>
          <ac:spMkLst>
            <pc:docMk/>
            <pc:sldMk cId="1732532695" sldId="2147481416"/>
            <ac:spMk id="6" creationId="{E56BB84D-BF1A-27BE-70F0-2745B07B07F2}"/>
          </ac:spMkLst>
        </pc:spChg>
        <pc:spChg chg="add del">
          <ac:chgData name="RUFFET, Malcolm" userId="ef33cb5d-7c5f-44ea-8bd1-71f6d9da9dec" providerId="ADAL" clId="{42A6F1C5-53D2-4848-9E6F-5902AFD5EAD4}" dt="2024-02-21T09:14:23.211" v="10971" actId="478"/>
          <ac:spMkLst>
            <pc:docMk/>
            <pc:sldMk cId="1732532695" sldId="2147481416"/>
            <ac:spMk id="15" creationId="{52994CD4-CA97-C848-F216-8EA4C3A0C867}"/>
          </ac:spMkLst>
        </pc:spChg>
        <pc:spChg chg="add del mod">
          <ac:chgData name="RUFFET, Malcolm" userId="ef33cb5d-7c5f-44ea-8bd1-71f6d9da9dec" providerId="ADAL" clId="{42A6F1C5-53D2-4848-9E6F-5902AFD5EAD4}" dt="2024-02-21T09:20:51.026" v="11071" actId="478"/>
          <ac:spMkLst>
            <pc:docMk/>
            <pc:sldMk cId="1732532695" sldId="2147481416"/>
            <ac:spMk id="16" creationId="{DC9FDF00-5760-66E0-BC0D-28F346D3DBD3}"/>
          </ac:spMkLst>
        </pc:spChg>
        <pc:spChg chg="add del mod">
          <ac:chgData name="RUFFET, Malcolm" userId="ef33cb5d-7c5f-44ea-8bd1-71f6d9da9dec" providerId="ADAL" clId="{42A6F1C5-53D2-4848-9E6F-5902AFD5EAD4}" dt="2024-02-21T09:20:51.928" v="11072" actId="478"/>
          <ac:spMkLst>
            <pc:docMk/>
            <pc:sldMk cId="1732532695" sldId="2147481416"/>
            <ac:spMk id="17" creationId="{AB494C3F-AE6D-9C14-9D14-41AF04831CE4}"/>
          </ac:spMkLst>
        </pc:spChg>
        <pc:spChg chg="add mod">
          <ac:chgData name="RUFFET, Malcolm" userId="ef33cb5d-7c5f-44ea-8bd1-71f6d9da9dec" providerId="ADAL" clId="{42A6F1C5-53D2-4848-9E6F-5902AFD5EAD4}" dt="2024-02-21T09:25:45.968" v="11145" actId="207"/>
          <ac:spMkLst>
            <pc:docMk/>
            <pc:sldMk cId="1732532695" sldId="2147481416"/>
            <ac:spMk id="19" creationId="{17E2CCA3-0364-380E-292A-8F28F0F4ED6E}"/>
          </ac:spMkLst>
        </pc:spChg>
        <pc:spChg chg="add mod">
          <ac:chgData name="RUFFET, Malcolm" userId="ef33cb5d-7c5f-44ea-8bd1-71f6d9da9dec" providerId="ADAL" clId="{42A6F1C5-53D2-4848-9E6F-5902AFD5EAD4}" dt="2024-02-21T09:25:45.968" v="11145" actId="207"/>
          <ac:spMkLst>
            <pc:docMk/>
            <pc:sldMk cId="1732532695" sldId="2147481416"/>
            <ac:spMk id="20" creationId="{308B57EF-03DE-8087-E687-63733FE4B9D3}"/>
          </ac:spMkLst>
        </pc:spChg>
        <pc:spChg chg="add mod ord">
          <ac:chgData name="RUFFET, Malcolm" userId="ef33cb5d-7c5f-44ea-8bd1-71f6d9da9dec" providerId="ADAL" clId="{42A6F1C5-53D2-4848-9E6F-5902AFD5EAD4}" dt="2024-02-21T09:25:37.204" v="11143" actId="207"/>
          <ac:spMkLst>
            <pc:docMk/>
            <pc:sldMk cId="1732532695" sldId="2147481416"/>
            <ac:spMk id="21" creationId="{8E983B6E-F80A-F1ED-886C-7BDDA0817AC7}"/>
          </ac:spMkLst>
        </pc:spChg>
        <pc:spChg chg="add del mod">
          <ac:chgData name="RUFFET, Malcolm" userId="ef33cb5d-7c5f-44ea-8bd1-71f6d9da9dec" providerId="ADAL" clId="{42A6F1C5-53D2-4848-9E6F-5902AFD5EAD4}" dt="2024-02-21T09:26:15.853" v="11147" actId="478"/>
          <ac:spMkLst>
            <pc:docMk/>
            <pc:sldMk cId="1732532695" sldId="2147481416"/>
            <ac:spMk id="24" creationId="{8F8C9BF1-7D89-820D-0593-D8FB35A82F9E}"/>
          </ac:spMkLst>
        </pc:spChg>
        <pc:spChg chg="add mod">
          <ac:chgData name="RUFFET, Malcolm" userId="ef33cb5d-7c5f-44ea-8bd1-71f6d9da9dec" providerId="ADAL" clId="{42A6F1C5-53D2-4848-9E6F-5902AFD5EAD4}" dt="2024-02-21T09:33:09.342" v="11317" actId="113"/>
          <ac:spMkLst>
            <pc:docMk/>
            <pc:sldMk cId="1732532695" sldId="2147481416"/>
            <ac:spMk id="1027" creationId="{F20AD3C4-69DC-32E7-514E-12D54DA4A423}"/>
          </ac:spMkLst>
        </pc:spChg>
        <pc:spChg chg="add mod">
          <ac:chgData name="RUFFET, Malcolm" userId="ef33cb5d-7c5f-44ea-8bd1-71f6d9da9dec" providerId="ADAL" clId="{42A6F1C5-53D2-4848-9E6F-5902AFD5EAD4}" dt="2024-02-21T09:33:05.093" v="11314" actId="113"/>
          <ac:spMkLst>
            <pc:docMk/>
            <pc:sldMk cId="1732532695" sldId="2147481416"/>
            <ac:spMk id="1035" creationId="{3B68DC65-CEC0-1942-DFBD-4856D7EEBCAB}"/>
          </ac:spMkLst>
        </pc:spChg>
        <pc:spChg chg="add mod">
          <ac:chgData name="RUFFET, Malcolm" userId="ef33cb5d-7c5f-44ea-8bd1-71f6d9da9dec" providerId="ADAL" clId="{42A6F1C5-53D2-4848-9E6F-5902AFD5EAD4}" dt="2024-02-21T09:37:54.628" v="11383" actId="20577"/>
          <ac:spMkLst>
            <pc:docMk/>
            <pc:sldMk cId="1732532695" sldId="2147481416"/>
            <ac:spMk id="1043" creationId="{29BACFF1-CA0E-38D6-4B7D-361E074A5A54}"/>
          </ac:spMkLst>
        </pc:spChg>
        <pc:grpChg chg="add del mod">
          <ac:chgData name="RUFFET, Malcolm" userId="ef33cb5d-7c5f-44ea-8bd1-71f6d9da9dec" providerId="ADAL" clId="{42A6F1C5-53D2-4848-9E6F-5902AFD5EAD4}" dt="2024-02-21T09:15:14.708" v="10985" actId="165"/>
          <ac:grpSpMkLst>
            <pc:docMk/>
            <pc:sldMk cId="1732532695" sldId="2147481416"/>
            <ac:grpSpMk id="18" creationId="{7FDDF205-341E-7769-1A2F-5533F03244F8}"/>
          </ac:grpSpMkLst>
        </pc:grpChg>
        <pc:picChg chg="add del mod">
          <ac:chgData name="RUFFET, Malcolm" userId="ef33cb5d-7c5f-44ea-8bd1-71f6d9da9dec" providerId="ADAL" clId="{42A6F1C5-53D2-4848-9E6F-5902AFD5EAD4}" dt="2024-02-21T09:13:11.848" v="10961" actId="478"/>
          <ac:picMkLst>
            <pc:docMk/>
            <pc:sldMk cId="1732532695" sldId="2147481416"/>
            <ac:picMk id="7" creationId="{07453DB3-6B38-84C3-8487-0837C6C36CEB}"/>
          </ac:picMkLst>
        </pc:picChg>
        <pc:picChg chg="add del mod">
          <ac:chgData name="RUFFET, Malcolm" userId="ef33cb5d-7c5f-44ea-8bd1-71f6d9da9dec" providerId="ADAL" clId="{42A6F1C5-53D2-4848-9E6F-5902AFD5EAD4}" dt="2024-02-21T09:13:11.848" v="10961" actId="478"/>
          <ac:picMkLst>
            <pc:docMk/>
            <pc:sldMk cId="1732532695" sldId="2147481416"/>
            <ac:picMk id="8" creationId="{ED441876-E5C5-17F0-46F9-C2A53A35DFE6}"/>
          </ac:picMkLst>
        </pc:picChg>
        <pc:picChg chg="add del mod">
          <ac:chgData name="RUFFET, Malcolm" userId="ef33cb5d-7c5f-44ea-8bd1-71f6d9da9dec" providerId="ADAL" clId="{42A6F1C5-53D2-4848-9E6F-5902AFD5EAD4}" dt="2024-02-21T09:13:11.848" v="10961" actId="478"/>
          <ac:picMkLst>
            <pc:docMk/>
            <pc:sldMk cId="1732532695" sldId="2147481416"/>
            <ac:picMk id="9" creationId="{E5F0EDD0-F516-42CB-DDC3-8FB9078AFC7B}"/>
          </ac:picMkLst>
        </pc:picChg>
        <pc:picChg chg="add del mod">
          <ac:chgData name="RUFFET, Malcolm" userId="ef33cb5d-7c5f-44ea-8bd1-71f6d9da9dec" providerId="ADAL" clId="{42A6F1C5-53D2-4848-9E6F-5902AFD5EAD4}" dt="2024-02-21T09:06:24.820" v="10871" actId="478"/>
          <ac:picMkLst>
            <pc:docMk/>
            <pc:sldMk cId="1732532695" sldId="2147481416"/>
            <ac:picMk id="1026" creationId="{49E923A7-7990-D2F5-7AE8-B94B64439AEA}"/>
          </ac:picMkLst>
        </pc:picChg>
        <pc:picChg chg="add del mod">
          <ac:chgData name="RUFFET, Malcolm" userId="ef33cb5d-7c5f-44ea-8bd1-71f6d9da9dec" providerId="ADAL" clId="{42A6F1C5-53D2-4848-9E6F-5902AFD5EAD4}" dt="2024-02-21T09:06:26.501" v="10872" actId="478"/>
          <ac:picMkLst>
            <pc:docMk/>
            <pc:sldMk cId="1732532695" sldId="2147481416"/>
            <ac:picMk id="1028" creationId="{669D8D49-3844-E7F8-6D94-CB41753DE3FD}"/>
          </ac:picMkLst>
        </pc:picChg>
        <pc:picChg chg="add del mod">
          <ac:chgData name="RUFFET, Malcolm" userId="ef33cb5d-7c5f-44ea-8bd1-71f6d9da9dec" providerId="ADAL" clId="{42A6F1C5-53D2-4848-9E6F-5902AFD5EAD4}" dt="2024-02-21T09:06:28.090" v="10873" actId="478"/>
          <ac:picMkLst>
            <pc:docMk/>
            <pc:sldMk cId="1732532695" sldId="2147481416"/>
            <ac:picMk id="1030" creationId="{772B87C9-75A8-3692-6411-506182CD6965}"/>
          </ac:picMkLst>
        </pc:picChg>
        <pc:picChg chg="add del mod topLvl">
          <ac:chgData name="RUFFET, Malcolm" userId="ef33cb5d-7c5f-44ea-8bd1-71f6d9da9dec" providerId="ADAL" clId="{42A6F1C5-53D2-4848-9E6F-5902AFD5EAD4}" dt="2024-02-21T09:22:06.434" v="11111" actId="478"/>
          <ac:picMkLst>
            <pc:docMk/>
            <pc:sldMk cId="1732532695" sldId="2147481416"/>
            <ac:picMk id="1032" creationId="{19A0F406-2DDE-73DB-038F-2E41B5C536A6}"/>
          </ac:picMkLst>
        </pc:picChg>
        <pc:picChg chg="add del mod topLvl">
          <ac:chgData name="RUFFET, Malcolm" userId="ef33cb5d-7c5f-44ea-8bd1-71f6d9da9dec" providerId="ADAL" clId="{42A6F1C5-53D2-4848-9E6F-5902AFD5EAD4}" dt="2024-02-21T09:22:04.810" v="11109" actId="478"/>
          <ac:picMkLst>
            <pc:docMk/>
            <pc:sldMk cId="1732532695" sldId="2147481416"/>
            <ac:picMk id="1034" creationId="{1E72825E-2AC4-869B-ED20-48591763CF1E}"/>
          </ac:picMkLst>
        </pc:picChg>
        <pc:picChg chg="add del mod topLvl">
          <ac:chgData name="RUFFET, Malcolm" userId="ef33cb5d-7c5f-44ea-8bd1-71f6d9da9dec" providerId="ADAL" clId="{42A6F1C5-53D2-4848-9E6F-5902AFD5EAD4}" dt="2024-02-21T09:22:05.304" v="11110" actId="478"/>
          <ac:picMkLst>
            <pc:docMk/>
            <pc:sldMk cId="1732532695" sldId="2147481416"/>
            <ac:picMk id="1036" creationId="{110809BB-BE6F-5E88-AF87-5F5DE3D5321C}"/>
          </ac:picMkLst>
        </pc:picChg>
        <pc:picChg chg="add mod">
          <ac:chgData name="RUFFET, Malcolm" userId="ef33cb5d-7c5f-44ea-8bd1-71f6d9da9dec" providerId="ADAL" clId="{42A6F1C5-53D2-4848-9E6F-5902AFD5EAD4}" dt="2024-02-21T09:20:45.821" v="11070" actId="12788"/>
          <ac:picMkLst>
            <pc:docMk/>
            <pc:sldMk cId="1732532695" sldId="2147481416"/>
            <ac:picMk id="1038" creationId="{01469ED4-CEB8-4F4E-6299-96119B3FE7A6}"/>
          </ac:picMkLst>
        </pc:picChg>
        <pc:picChg chg="add mod">
          <ac:chgData name="RUFFET, Malcolm" userId="ef33cb5d-7c5f-44ea-8bd1-71f6d9da9dec" providerId="ADAL" clId="{42A6F1C5-53D2-4848-9E6F-5902AFD5EAD4}" dt="2024-02-21T09:27:36.105" v="11160" actId="12788"/>
          <ac:picMkLst>
            <pc:docMk/>
            <pc:sldMk cId="1732532695" sldId="2147481416"/>
            <ac:picMk id="1040" creationId="{5D573DEC-CE0D-9A23-415C-F1CB91338FBC}"/>
          </ac:picMkLst>
        </pc:picChg>
        <pc:picChg chg="add mod">
          <ac:chgData name="RUFFET, Malcolm" userId="ef33cb5d-7c5f-44ea-8bd1-71f6d9da9dec" providerId="ADAL" clId="{42A6F1C5-53D2-4848-9E6F-5902AFD5EAD4}" dt="2024-02-21T09:24:00.529" v="11132" actId="14100"/>
          <ac:picMkLst>
            <pc:docMk/>
            <pc:sldMk cId="1732532695" sldId="2147481416"/>
            <ac:picMk id="1042" creationId="{694D956B-00C1-8B83-B199-F018F81C17D6}"/>
          </ac:picMkLst>
        </pc:picChg>
        <pc:picChg chg="add mod">
          <ac:chgData name="RUFFET, Malcolm" userId="ef33cb5d-7c5f-44ea-8bd1-71f6d9da9dec" providerId="ADAL" clId="{42A6F1C5-53D2-4848-9E6F-5902AFD5EAD4}" dt="2024-02-21T09:23:57.360" v="11131" actId="14100"/>
          <ac:picMkLst>
            <pc:docMk/>
            <pc:sldMk cId="1732532695" sldId="2147481416"/>
            <ac:picMk id="1044" creationId="{01A3656B-7B4E-8D36-C9B6-6E5B14D03298}"/>
          </ac:picMkLst>
        </pc:picChg>
        <pc:cxnChg chg="add del mod">
          <ac:chgData name="RUFFET, Malcolm" userId="ef33cb5d-7c5f-44ea-8bd1-71f6d9da9dec" providerId="ADAL" clId="{42A6F1C5-53D2-4848-9E6F-5902AFD5EAD4}" dt="2024-02-21T09:14:24.587" v="10972" actId="478"/>
          <ac:cxnSpMkLst>
            <pc:docMk/>
            <pc:sldMk cId="1732532695" sldId="2147481416"/>
            <ac:cxnSpMk id="11" creationId="{75CC811E-269F-5826-D911-9EA2CD0EB581}"/>
          </ac:cxnSpMkLst>
        </pc:cxnChg>
        <pc:cxnChg chg="add del mod">
          <ac:chgData name="RUFFET, Malcolm" userId="ef33cb5d-7c5f-44ea-8bd1-71f6d9da9dec" providerId="ADAL" clId="{42A6F1C5-53D2-4848-9E6F-5902AFD5EAD4}" dt="2024-02-21T09:26:16.651" v="11148" actId="478"/>
          <ac:cxnSpMkLst>
            <pc:docMk/>
            <pc:sldMk cId="1732532695" sldId="2147481416"/>
            <ac:cxnSpMk id="23" creationId="{0F135C70-66CE-9097-49B3-4EBD41B69960}"/>
          </ac:cxnSpMkLst>
        </pc:cxnChg>
        <pc:cxnChg chg="add del mod ord">
          <ac:chgData name="RUFFET, Malcolm" userId="ef33cb5d-7c5f-44ea-8bd1-71f6d9da9dec" providerId="ADAL" clId="{42A6F1C5-53D2-4848-9E6F-5902AFD5EAD4}" dt="2024-02-21T09:27:11.174" v="11158" actId="478"/>
          <ac:cxnSpMkLst>
            <pc:docMk/>
            <pc:sldMk cId="1732532695" sldId="2147481416"/>
            <ac:cxnSpMk id="27" creationId="{9E382649-46BC-C9CF-EC33-C5E8E686BE42}"/>
          </ac:cxnSpMkLst>
        </pc:cxnChg>
        <pc:cxnChg chg="add del mod">
          <ac:chgData name="RUFFET, Malcolm" userId="ef33cb5d-7c5f-44ea-8bd1-71f6d9da9dec" providerId="ADAL" clId="{42A6F1C5-53D2-4848-9E6F-5902AFD5EAD4}" dt="2024-02-21T09:27:10.237" v="11157" actId="478"/>
          <ac:cxnSpMkLst>
            <pc:docMk/>
            <pc:sldMk cId="1732532695" sldId="2147481416"/>
            <ac:cxnSpMk id="29" creationId="{89D48E55-0BD9-D5D9-F248-1A9360F18C4A}"/>
          </ac:cxnSpMkLst>
        </pc:cxnChg>
        <pc:cxnChg chg="add mod">
          <ac:chgData name="RUFFET, Malcolm" userId="ef33cb5d-7c5f-44ea-8bd1-71f6d9da9dec" providerId="ADAL" clId="{42A6F1C5-53D2-4848-9E6F-5902AFD5EAD4}" dt="2024-02-21T09:31:11.240" v="11163" actId="1582"/>
          <ac:cxnSpMkLst>
            <pc:docMk/>
            <pc:sldMk cId="1732532695" sldId="2147481416"/>
            <ac:cxnSpMk id="1025" creationId="{58E21308-D16C-28CE-2624-8A0B5D1CE1B2}"/>
          </ac:cxnSpMkLst>
        </pc:cxnChg>
        <pc:cxnChg chg="add mod">
          <ac:chgData name="RUFFET, Malcolm" userId="ef33cb5d-7c5f-44ea-8bd1-71f6d9da9dec" providerId="ADAL" clId="{42A6F1C5-53D2-4848-9E6F-5902AFD5EAD4}" dt="2024-02-21T09:32:23.951" v="11255" actId="14100"/>
          <ac:cxnSpMkLst>
            <pc:docMk/>
            <pc:sldMk cId="1732532695" sldId="2147481416"/>
            <ac:cxnSpMk id="1029" creationId="{0700A912-0E0E-F2CA-6AA3-C3AF51420626}"/>
          </ac:cxnSpMkLst>
        </pc:cxnChg>
        <pc:cxnChg chg="add del mod">
          <ac:chgData name="RUFFET, Malcolm" userId="ef33cb5d-7c5f-44ea-8bd1-71f6d9da9dec" providerId="ADAL" clId="{42A6F1C5-53D2-4848-9E6F-5902AFD5EAD4}" dt="2024-02-21T09:38:18.125" v="11384" actId="478"/>
          <ac:cxnSpMkLst>
            <pc:docMk/>
            <pc:sldMk cId="1732532695" sldId="2147481416"/>
            <ac:cxnSpMk id="1037" creationId="{2A4B8DB6-A38D-45C9-A0BD-046FFD605EA0}"/>
          </ac:cxnSpMkLst>
        </pc:cxnChg>
        <pc:cxnChg chg="add mod">
          <ac:chgData name="RUFFET, Malcolm" userId="ef33cb5d-7c5f-44ea-8bd1-71f6d9da9dec" providerId="ADAL" clId="{42A6F1C5-53D2-4848-9E6F-5902AFD5EAD4}" dt="2024-02-21T09:38:43.898" v="11388" actId="14100"/>
          <ac:cxnSpMkLst>
            <pc:docMk/>
            <pc:sldMk cId="1732532695" sldId="2147481416"/>
            <ac:cxnSpMk id="1046" creationId="{E2D46BF3-22B7-07F5-12CC-6ECF7960E3C7}"/>
          </ac:cxnSpMkLst>
        </pc:cxnChg>
      </pc:sldChg>
      <pc:sldChg chg="addSp delSp modSp new mod">
        <pc:chgData name="RUFFET, Malcolm" userId="ef33cb5d-7c5f-44ea-8bd1-71f6d9da9dec" providerId="ADAL" clId="{42A6F1C5-53D2-4848-9E6F-5902AFD5EAD4}" dt="2024-02-21T08:45:36.318" v="10789" actId="20577"/>
        <pc:sldMkLst>
          <pc:docMk/>
          <pc:sldMk cId="3824454684" sldId="2147481417"/>
        </pc:sldMkLst>
        <pc:spChg chg="add del mod">
          <ac:chgData name="RUFFET, Malcolm" userId="ef33cb5d-7c5f-44ea-8bd1-71f6d9da9dec" providerId="ADAL" clId="{42A6F1C5-53D2-4848-9E6F-5902AFD5EAD4}" dt="2024-02-21T08:45:36.318" v="10789" actId="20577"/>
          <ac:spMkLst>
            <pc:docMk/>
            <pc:sldMk cId="3824454684" sldId="2147481417"/>
            <ac:spMk id="2" creationId="{09153CF7-2EF0-4034-FABB-EF69E193CC6A}"/>
          </ac:spMkLst>
        </pc:spChg>
        <pc:spChg chg="mod">
          <ac:chgData name="RUFFET, Malcolm" userId="ef33cb5d-7c5f-44ea-8bd1-71f6d9da9dec" providerId="ADAL" clId="{42A6F1C5-53D2-4848-9E6F-5902AFD5EAD4}" dt="2024-02-21T08:33:30.534" v="10570" actId="20577"/>
          <ac:spMkLst>
            <pc:docMk/>
            <pc:sldMk cId="3824454684" sldId="2147481417"/>
            <ac:spMk id="3" creationId="{9BD07E78-EFE6-2006-4C55-E5D11673B8E3}"/>
          </ac:spMkLst>
        </pc:spChg>
        <pc:picChg chg="add del mod">
          <ac:chgData name="RUFFET, Malcolm" userId="ef33cb5d-7c5f-44ea-8bd1-71f6d9da9dec" providerId="ADAL" clId="{42A6F1C5-53D2-4848-9E6F-5902AFD5EAD4}" dt="2024-02-21T08:39:22.715" v="10683" actId="478"/>
          <ac:picMkLst>
            <pc:docMk/>
            <pc:sldMk cId="3824454684" sldId="2147481417"/>
            <ac:picMk id="4" creationId="{924E9EC8-D183-96E4-B032-2137A54903AD}"/>
          </ac:picMkLst>
        </pc:picChg>
        <pc:picChg chg="add mod">
          <ac:chgData name="RUFFET, Malcolm" userId="ef33cb5d-7c5f-44ea-8bd1-71f6d9da9dec" providerId="ADAL" clId="{42A6F1C5-53D2-4848-9E6F-5902AFD5EAD4}" dt="2024-02-21T08:45:00.727" v="10755" actId="1076"/>
          <ac:picMkLst>
            <pc:docMk/>
            <pc:sldMk cId="3824454684" sldId="2147481417"/>
            <ac:picMk id="2050" creationId="{9F7A6597-1D0D-45E3-8712-AF3F7E36C16F}"/>
          </ac:picMkLst>
        </pc:picChg>
      </pc:sldChg>
      <pc:sldChg chg="addSp delSp modSp add mod">
        <pc:chgData name="RUFFET, Malcolm" userId="ef33cb5d-7c5f-44ea-8bd1-71f6d9da9dec" providerId="ADAL" clId="{42A6F1C5-53D2-4848-9E6F-5902AFD5EAD4}" dt="2024-02-23T13:49:12.231" v="12769" actId="1076"/>
        <pc:sldMkLst>
          <pc:docMk/>
          <pc:sldMk cId="4101049482" sldId="2147481418"/>
        </pc:sldMkLst>
        <pc:spChg chg="mod">
          <ac:chgData name="RUFFET, Malcolm" userId="ef33cb5d-7c5f-44ea-8bd1-71f6d9da9dec" providerId="ADAL" clId="{42A6F1C5-53D2-4848-9E6F-5902AFD5EAD4}" dt="2024-02-23T13:49:08.609" v="12768" actId="1076"/>
          <ac:spMkLst>
            <pc:docMk/>
            <pc:sldMk cId="4101049482" sldId="2147481418"/>
            <ac:spMk id="2" creationId="{09153CF7-2EF0-4034-FABB-EF69E193CC6A}"/>
          </ac:spMkLst>
        </pc:spChg>
        <pc:spChg chg="mod">
          <ac:chgData name="RUFFET, Malcolm" userId="ef33cb5d-7c5f-44ea-8bd1-71f6d9da9dec" providerId="ADAL" clId="{42A6F1C5-53D2-4848-9E6F-5902AFD5EAD4}" dt="2024-02-21T08:41:53.609" v="10725" actId="20577"/>
          <ac:spMkLst>
            <pc:docMk/>
            <pc:sldMk cId="4101049482" sldId="2147481418"/>
            <ac:spMk id="3" creationId="{9BD07E78-EFE6-2006-4C55-E5D11673B8E3}"/>
          </ac:spMkLst>
        </pc:spChg>
        <pc:picChg chg="add mod">
          <ac:chgData name="RUFFET, Malcolm" userId="ef33cb5d-7c5f-44ea-8bd1-71f6d9da9dec" providerId="ADAL" clId="{42A6F1C5-53D2-4848-9E6F-5902AFD5EAD4}" dt="2024-02-23T13:49:12.231" v="12769" actId="1076"/>
          <ac:picMkLst>
            <pc:docMk/>
            <pc:sldMk cId="4101049482" sldId="2147481418"/>
            <ac:picMk id="4" creationId="{FE0DD6C2-39D9-1ED4-B8DF-B5C007EDA73F}"/>
          </ac:picMkLst>
        </pc:picChg>
        <pc:picChg chg="del">
          <ac:chgData name="RUFFET, Malcolm" userId="ef33cb5d-7c5f-44ea-8bd1-71f6d9da9dec" providerId="ADAL" clId="{42A6F1C5-53D2-4848-9E6F-5902AFD5EAD4}" dt="2024-02-21T08:42:41.595" v="10732" actId="478"/>
          <ac:picMkLst>
            <pc:docMk/>
            <pc:sldMk cId="4101049482" sldId="2147481418"/>
            <ac:picMk id="2050" creationId="{9F7A6597-1D0D-45E3-8712-AF3F7E36C16F}"/>
          </ac:picMkLst>
        </pc:picChg>
      </pc:sldChg>
      <pc:sldChg chg="addSp delSp modSp add mod">
        <pc:chgData name="RUFFET, Malcolm" userId="ef33cb5d-7c5f-44ea-8bd1-71f6d9da9dec" providerId="ADAL" clId="{42A6F1C5-53D2-4848-9E6F-5902AFD5EAD4}" dt="2024-02-21T08:52:14.610" v="10869" actId="20577"/>
        <pc:sldMkLst>
          <pc:docMk/>
          <pc:sldMk cId="2657418220" sldId="2147481419"/>
        </pc:sldMkLst>
        <pc:spChg chg="mod">
          <ac:chgData name="RUFFET, Malcolm" userId="ef33cb5d-7c5f-44ea-8bd1-71f6d9da9dec" providerId="ADAL" clId="{42A6F1C5-53D2-4848-9E6F-5902AFD5EAD4}" dt="2024-02-21T08:52:14.610" v="10869" actId="20577"/>
          <ac:spMkLst>
            <pc:docMk/>
            <pc:sldMk cId="2657418220" sldId="2147481419"/>
            <ac:spMk id="2" creationId="{09153CF7-2EF0-4034-FABB-EF69E193CC6A}"/>
          </ac:spMkLst>
        </pc:spChg>
        <pc:spChg chg="mod">
          <ac:chgData name="RUFFET, Malcolm" userId="ef33cb5d-7c5f-44ea-8bd1-71f6d9da9dec" providerId="ADAL" clId="{42A6F1C5-53D2-4848-9E6F-5902AFD5EAD4}" dt="2024-02-21T08:48:39.851" v="10804" actId="20577"/>
          <ac:spMkLst>
            <pc:docMk/>
            <pc:sldMk cId="2657418220" sldId="2147481419"/>
            <ac:spMk id="3" creationId="{9BD07E78-EFE6-2006-4C55-E5D11673B8E3}"/>
          </ac:spMkLst>
        </pc:spChg>
        <pc:picChg chg="del">
          <ac:chgData name="RUFFET, Malcolm" userId="ef33cb5d-7c5f-44ea-8bd1-71f6d9da9dec" providerId="ADAL" clId="{42A6F1C5-53D2-4848-9E6F-5902AFD5EAD4}" dt="2024-02-21T08:49:33.451" v="10813" actId="478"/>
          <ac:picMkLst>
            <pc:docMk/>
            <pc:sldMk cId="2657418220" sldId="2147481419"/>
            <ac:picMk id="4" creationId="{FE0DD6C2-39D9-1ED4-B8DF-B5C007EDA73F}"/>
          </ac:picMkLst>
        </pc:picChg>
        <pc:picChg chg="add mod">
          <ac:chgData name="RUFFET, Malcolm" userId="ef33cb5d-7c5f-44ea-8bd1-71f6d9da9dec" providerId="ADAL" clId="{42A6F1C5-53D2-4848-9E6F-5902AFD5EAD4}" dt="2024-02-21T08:49:44.226" v="10816"/>
          <ac:picMkLst>
            <pc:docMk/>
            <pc:sldMk cId="2657418220" sldId="2147481419"/>
            <ac:picMk id="5" creationId="{82A322DF-496E-EDCE-99DB-44E738A4C911}"/>
          </ac:picMkLst>
        </pc:picChg>
      </pc:sldChg>
      <pc:sldChg chg="addSp delSp modSp new mod">
        <pc:chgData name="RUFFET, Malcolm" userId="ef33cb5d-7c5f-44ea-8bd1-71f6d9da9dec" providerId="ADAL" clId="{42A6F1C5-53D2-4848-9E6F-5902AFD5EAD4}" dt="2024-02-23T13:50:51.585" v="12783" actId="20577"/>
        <pc:sldMkLst>
          <pc:docMk/>
          <pc:sldMk cId="1701558007" sldId="2147481420"/>
        </pc:sldMkLst>
        <pc:spChg chg="mod">
          <ac:chgData name="RUFFET, Malcolm" userId="ef33cb5d-7c5f-44ea-8bd1-71f6d9da9dec" providerId="ADAL" clId="{42A6F1C5-53D2-4848-9E6F-5902AFD5EAD4}" dt="2024-02-21T09:45:28.470" v="11509" actId="14100"/>
          <ac:spMkLst>
            <pc:docMk/>
            <pc:sldMk cId="1701558007" sldId="2147481420"/>
            <ac:spMk id="2" creationId="{14BE02CB-9BE7-A9E8-0862-DA5BD4088617}"/>
          </ac:spMkLst>
        </pc:spChg>
        <pc:spChg chg="mod">
          <ac:chgData name="RUFFET, Malcolm" userId="ef33cb5d-7c5f-44ea-8bd1-71f6d9da9dec" providerId="ADAL" clId="{42A6F1C5-53D2-4848-9E6F-5902AFD5EAD4}" dt="2024-02-21T09:58:14.873" v="11656" actId="20577"/>
          <ac:spMkLst>
            <pc:docMk/>
            <pc:sldMk cId="1701558007" sldId="2147481420"/>
            <ac:spMk id="3" creationId="{39D09E37-21CC-8B53-9B1B-4F299919F965}"/>
          </ac:spMkLst>
        </pc:spChg>
        <pc:spChg chg="add mod ord">
          <ac:chgData name="RUFFET, Malcolm" userId="ef33cb5d-7c5f-44ea-8bd1-71f6d9da9dec" providerId="ADAL" clId="{42A6F1C5-53D2-4848-9E6F-5902AFD5EAD4}" dt="2024-02-21T09:56:41.819" v="11602" actId="12788"/>
          <ac:spMkLst>
            <pc:docMk/>
            <pc:sldMk cId="1701558007" sldId="2147481420"/>
            <ac:spMk id="5" creationId="{DB9CB6D8-CBFE-22F3-6152-4DAC3AF78B31}"/>
          </ac:spMkLst>
        </pc:spChg>
        <pc:spChg chg="add del mod">
          <ac:chgData name="RUFFET, Malcolm" userId="ef33cb5d-7c5f-44ea-8bd1-71f6d9da9dec" providerId="ADAL" clId="{42A6F1C5-53D2-4848-9E6F-5902AFD5EAD4}" dt="2024-02-21T09:51:46.278" v="11539" actId="478"/>
          <ac:spMkLst>
            <pc:docMk/>
            <pc:sldMk cId="1701558007" sldId="2147481420"/>
            <ac:spMk id="6" creationId="{E73C07CC-3661-3DA8-C1C9-105C1E14B56A}"/>
          </ac:spMkLst>
        </pc:spChg>
        <pc:spChg chg="add mod ord topLvl">
          <ac:chgData name="RUFFET, Malcolm" userId="ef33cb5d-7c5f-44ea-8bd1-71f6d9da9dec" providerId="ADAL" clId="{42A6F1C5-53D2-4848-9E6F-5902AFD5EAD4}" dt="2024-02-23T13:50:51.585" v="12783" actId="20577"/>
          <ac:spMkLst>
            <pc:docMk/>
            <pc:sldMk cId="1701558007" sldId="2147481420"/>
            <ac:spMk id="7" creationId="{59CB0A72-452A-C09E-7D4E-A1548DC21D70}"/>
          </ac:spMkLst>
        </pc:spChg>
        <pc:spChg chg="add mod ord">
          <ac:chgData name="RUFFET, Malcolm" userId="ef33cb5d-7c5f-44ea-8bd1-71f6d9da9dec" providerId="ADAL" clId="{42A6F1C5-53D2-4848-9E6F-5902AFD5EAD4}" dt="2024-02-21T09:53:29.554" v="11557" actId="1076"/>
          <ac:spMkLst>
            <pc:docMk/>
            <pc:sldMk cId="1701558007" sldId="2147481420"/>
            <ac:spMk id="9" creationId="{64232B07-7D67-8822-9442-3C9FBDFCF2E6}"/>
          </ac:spMkLst>
        </pc:spChg>
        <pc:spChg chg="add mod ord">
          <ac:chgData name="RUFFET, Malcolm" userId="ef33cb5d-7c5f-44ea-8bd1-71f6d9da9dec" providerId="ADAL" clId="{42A6F1C5-53D2-4848-9E6F-5902AFD5EAD4}" dt="2024-02-21T09:53:43.924" v="11562" actId="12788"/>
          <ac:spMkLst>
            <pc:docMk/>
            <pc:sldMk cId="1701558007" sldId="2147481420"/>
            <ac:spMk id="10" creationId="{7F737C0D-C72E-B3D6-706E-8E41F390D069}"/>
          </ac:spMkLst>
        </pc:spChg>
        <pc:spChg chg="add mod ord">
          <ac:chgData name="RUFFET, Malcolm" userId="ef33cb5d-7c5f-44ea-8bd1-71f6d9da9dec" providerId="ADAL" clId="{42A6F1C5-53D2-4848-9E6F-5902AFD5EAD4}" dt="2024-02-21T09:55:48.551" v="11583" actId="20577"/>
          <ac:spMkLst>
            <pc:docMk/>
            <pc:sldMk cId="1701558007" sldId="2147481420"/>
            <ac:spMk id="11" creationId="{1F6938A4-1724-5516-25C4-63D0F8296721}"/>
          </ac:spMkLst>
        </pc:spChg>
        <pc:spChg chg="add mod ord">
          <ac:chgData name="RUFFET, Malcolm" userId="ef33cb5d-7c5f-44ea-8bd1-71f6d9da9dec" providerId="ADAL" clId="{42A6F1C5-53D2-4848-9E6F-5902AFD5EAD4}" dt="2024-02-21T09:55:04.420" v="11576" actId="167"/>
          <ac:spMkLst>
            <pc:docMk/>
            <pc:sldMk cId="1701558007" sldId="2147481420"/>
            <ac:spMk id="12" creationId="{D53C1B12-887A-39ED-41FB-C75116758701}"/>
          </ac:spMkLst>
        </pc:spChg>
        <pc:spChg chg="add mod">
          <ac:chgData name="RUFFET, Malcolm" userId="ef33cb5d-7c5f-44ea-8bd1-71f6d9da9dec" providerId="ADAL" clId="{42A6F1C5-53D2-4848-9E6F-5902AFD5EAD4}" dt="2024-02-21T09:57:33.201" v="11611" actId="1076"/>
          <ac:spMkLst>
            <pc:docMk/>
            <pc:sldMk cId="1701558007" sldId="2147481420"/>
            <ac:spMk id="13" creationId="{7E8A45BB-6DBF-0064-4297-691F5C461647}"/>
          </ac:spMkLst>
        </pc:spChg>
        <pc:spChg chg="add mod">
          <ac:chgData name="RUFFET, Malcolm" userId="ef33cb5d-7c5f-44ea-8bd1-71f6d9da9dec" providerId="ADAL" clId="{42A6F1C5-53D2-4848-9E6F-5902AFD5EAD4}" dt="2024-02-21T09:57:27.154" v="11610" actId="1076"/>
          <ac:spMkLst>
            <pc:docMk/>
            <pc:sldMk cId="1701558007" sldId="2147481420"/>
            <ac:spMk id="14" creationId="{84C6521A-A8B5-330F-F58C-902CBFB4B7D5}"/>
          </ac:spMkLst>
        </pc:spChg>
        <pc:spChg chg="add mod">
          <ac:chgData name="RUFFET, Malcolm" userId="ef33cb5d-7c5f-44ea-8bd1-71f6d9da9dec" providerId="ADAL" clId="{42A6F1C5-53D2-4848-9E6F-5902AFD5EAD4}" dt="2024-02-21T09:57:15.899" v="11608" actId="1076"/>
          <ac:spMkLst>
            <pc:docMk/>
            <pc:sldMk cId="1701558007" sldId="2147481420"/>
            <ac:spMk id="15" creationId="{FA09C5C0-4A95-84C4-9A51-0C3B623D3190}"/>
          </ac:spMkLst>
        </pc:spChg>
        <pc:grpChg chg="add del mod">
          <ac:chgData name="RUFFET, Malcolm" userId="ef33cb5d-7c5f-44ea-8bd1-71f6d9da9dec" providerId="ADAL" clId="{42A6F1C5-53D2-4848-9E6F-5902AFD5EAD4}" dt="2024-02-21T09:48:17.718" v="11521" actId="165"/>
          <ac:grpSpMkLst>
            <pc:docMk/>
            <pc:sldMk cId="1701558007" sldId="2147481420"/>
            <ac:grpSpMk id="4" creationId="{4846A235-BDA5-699B-CAEE-3AD37F45F418}"/>
          </ac:grpSpMkLst>
        </pc:grpChg>
        <pc:grpChg chg="add del mod">
          <ac:chgData name="RUFFET, Malcolm" userId="ef33cb5d-7c5f-44ea-8bd1-71f6d9da9dec" providerId="ADAL" clId="{42A6F1C5-53D2-4848-9E6F-5902AFD5EAD4}" dt="2024-02-21T09:52:15.949" v="11545" actId="165"/>
          <ac:grpSpMkLst>
            <pc:docMk/>
            <pc:sldMk cId="1701558007" sldId="2147481420"/>
            <ac:grpSpMk id="8" creationId="{123B7B6C-0FDA-C13D-1DFE-21B26DDAABD6}"/>
          </ac:grpSpMkLst>
        </pc:grpChg>
        <pc:picChg chg="add del mod">
          <ac:chgData name="RUFFET, Malcolm" userId="ef33cb5d-7c5f-44ea-8bd1-71f6d9da9dec" providerId="ADAL" clId="{42A6F1C5-53D2-4848-9E6F-5902AFD5EAD4}" dt="2024-02-21T09:48:01.101" v="11516" actId="478"/>
          <ac:picMkLst>
            <pc:docMk/>
            <pc:sldMk cId="1701558007" sldId="2147481420"/>
            <ac:picMk id="5122" creationId="{10AE4873-6950-A557-A7A6-8C42743F218B}"/>
          </ac:picMkLst>
        </pc:picChg>
        <pc:picChg chg="add mod topLvl">
          <ac:chgData name="RUFFET, Malcolm" userId="ef33cb5d-7c5f-44ea-8bd1-71f6d9da9dec" providerId="ADAL" clId="{42A6F1C5-53D2-4848-9E6F-5902AFD5EAD4}" dt="2024-02-21T09:53:43.924" v="11562" actId="12788"/>
          <ac:picMkLst>
            <pc:docMk/>
            <pc:sldMk cId="1701558007" sldId="2147481420"/>
            <ac:picMk id="5124" creationId="{B126742E-3C3B-EABD-D858-6EF60806EE87}"/>
          </ac:picMkLst>
        </pc:picChg>
        <pc:picChg chg="add mod topLvl">
          <ac:chgData name="RUFFET, Malcolm" userId="ef33cb5d-7c5f-44ea-8bd1-71f6d9da9dec" providerId="ADAL" clId="{42A6F1C5-53D2-4848-9E6F-5902AFD5EAD4}" dt="2024-02-21T09:54:58.341" v="11574" actId="166"/>
          <ac:picMkLst>
            <pc:docMk/>
            <pc:sldMk cId="1701558007" sldId="2147481420"/>
            <ac:picMk id="5126" creationId="{C7ADC4F4-5299-E57D-04D9-E3CB59F1383E}"/>
          </ac:picMkLst>
        </pc:picChg>
        <pc:picChg chg="add mod topLvl">
          <ac:chgData name="RUFFET, Malcolm" userId="ef33cb5d-7c5f-44ea-8bd1-71f6d9da9dec" providerId="ADAL" clId="{42A6F1C5-53D2-4848-9E6F-5902AFD5EAD4}" dt="2024-02-21T09:56:41.819" v="11602" actId="12788"/>
          <ac:picMkLst>
            <pc:docMk/>
            <pc:sldMk cId="1701558007" sldId="2147481420"/>
            <ac:picMk id="5128" creationId="{3239A4F0-7CF2-4D18-6F2A-4B16622E6503}"/>
          </ac:picMkLst>
        </pc:picChg>
      </pc:sldChg>
      <pc:sldChg chg="modSp new del mod">
        <pc:chgData name="RUFFET, Malcolm" userId="ef33cb5d-7c5f-44ea-8bd1-71f6d9da9dec" providerId="ADAL" clId="{42A6F1C5-53D2-4848-9E6F-5902AFD5EAD4}" dt="2024-02-21T10:01:31.775" v="11709" actId="47"/>
        <pc:sldMkLst>
          <pc:docMk/>
          <pc:sldMk cId="245401700" sldId="2147481421"/>
        </pc:sldMkLst>
        <pc:spChg chg="mod">
          <ac:chgData name="RUFFET, Malcolm" userId="ef33cb5d-7c5f-44ea-8bd1-71f6d9da9dec" providerId="ADAL" clId="{42A6F1C5-53D2-4848-9E6F-5902AFD5EAD4}" dt="2024-02-21T09:59:26.349" v="11663" actId="20577"/>
          <ac:spMkLst>
            <pc:docMk/>
            <pc:sldMk cId="245401700" sldId="2147481421"/>
            <ac:spMk id="3" creationId="{8B7DC5E5-D16D-3D78-46F0-C69057CE38FE}"/>
          </ac:spMkLst>
        </pc:spChg>
      </pc:sldChg>
      <pc:sldChg chg="addSp delSp modSp add del mod">
        <pc:chgData name="RUFFET, Malcolm" userId="ef33cb5d-7c5f-44ea-8bd1-71f6d9da9dec" providerId="ADAL" clId="{42A6F1C5-53D2-4848-9E6F-5902AFD5EAD4}" dt="2024-02-23T13:46:57.888" v="12747" actId="47"/>
        <pc:sldMkLst>
          <pc:docMk/>
          <pc:sldMk cId="3643303332" sldId="2147481422"/>
        </pc:sldMkLst>
        <pc:spChg chg="add mod ord">
          <ac:chgData name="RUFFET, Malcolm" userId="ef33cb5d-7c5f-44ea-8bd1-71f6d9da9dec" providerId="ADAL" clId="{42A6F1C5-53D2-4848-9E6F-5902AFD5EAD4}" dt="2024-02-21T10:00:55.194" v="11702" actId="167"/>
          <ac:spMkLst>
            <pc:docMk/>
            <pc:sldMk cId="3643303332" sldId="2147481422"/>
            <ac:spMk id="3" creationId="{B538C440-C49C-0B9B-F70C-1D41E6BD0CCF}"/>
          </ac:spMkLst>
        </pc:spChg>
        <pc:spChg chg="del">
          <ac:chgData name="RUFFET, Malcolm" userId="ef33cb5d-7c5f-44ea-8bd1-71f6d9da9dec" providerId="ADAL" clId="{42A6F1C5-53D2-4848-9E6F-5902AFD5EAD4}" dt="2024-02-21T10:01:16.355" v="11707" actId="478"/>
          <ac:spMkLst>
            <pc:docMk/>
            <pc:sldMk cId="3643303332" sldId="2147481422"/>
            <ac:spMk id="7" creationId="{130F58C5-2976-4846-A915-64CB73CFBA97}"/>
          </ac:spMkLst>
        </pc:spChg>
        <pc:spChg chg="mod">
          <ac:chgData name="RUFFET, Malcolm" userId="ef33cb5d-7c5f-44ea-8bd1-71f6d9da9dec" providerId="ADAL" clId="{42A6F1C5-53D2-4848-9E6F-5902AFD5EAD4}" dt="2024-02-21T10:01:14.236" v="11706" actId="404"/>
          <ac:spMkLst>
            <pc:docMk/>
            <pc:sldMk cId="3643303332" sldId="2147481422"/>
            <ac:spMk id="9" creationId="{9AD8FA80-D5E3-4090-937C-AA9F9330F5A6}"/>
          </ac:spMkLst>
        </pc:spChg>
        <pc:spChg chg="mod">
          <ac:chgData name="RUFFET, Malcolm" userId="ef33cb5d-7c5f-44ea-8bd1-71f6d9da9dec" providerId="ADAL" clId="{42A6F1C5-53D2-4848-9E6F-5902AFD5EAD4}" dt="2024-02-21T10:01:14.236" v="11706" actId="404"/>
          <ac:spMkLst>
            <pc:docMk/>
            <pc:sldMk cId="3643303332" sldId="2147481422"/>
            <ac:spMk id="10" creationId="{72D77523-56F9-4DB0-B3F4-BCD046E94FF1}"/>
          </ac:spMkLst>
        </pc:spChg>
        <pc:spChg chg="mod">
          <ac:chgData name="RUFFET, Malcolm" userId="ef33cb5d-7c5f-44ea-8bd1-71f6d9da9dec" providerId="ADAL" clId="{42A6F1C5-53D2-4848-9E6F-5902AFD5EAD4}" dt="2024-02-21T10:01:01.681" v="11704" actId="403"/>
          <ac:spMkLst>
            <pc:docMk/>
            <pc:sldMk cId="3643303332" sldId="2147481422"/>
            <ac:spMk id="11" creationId="{8B14E531-C1B7-41F2-88A2-8F7570051567}"/>
          </ac:spMkLst>
        </pc:spChg>
        <pc:spChg chg="mod">
          <ac:chgData name="RUFFET, Malcolm" userId="ef33cb5d-7c5f-44ea-8bd1-71f6d9da9dec" providerId="ADAL" clId="{42A6F1C5-53D2-4848-9E6F-5902AFD5EAD4}" dt="2024-02-21T10:01:01.681" v="11704" actId="403"/>
          <ac:spMkLst>
            <pc:docMk/>
            <pc:sldMk cId="3643303332" sldId="2147481422"/>
            <ac:spMk id="12" creationId="{4AEAA726-51D1-4E3F-A196-B2E10D9A8CE0}"/>
          </ac:spMkLst>
        </pc:spChg>
      </pc:sldChg>
      <pc:sldChg chg="delSp modSp add del mod">
        <pc:chgData name="RUFFET, Malcolm" userId="ef33cb5d-7c5f-44ea-8bd1-71f6d9da9dec" providerId="ADAL" clId="{42A6F1C5-53D2-4848-9E6F-5902AFD5EAD4}" dt="2024-02-23T13:48:03.609" v="12760" actId="47"/>
        <pc:sldMkLst>
          <pc:docMk/>
          <pc:sldMk cId="933244364" sldId="2147481423"/>
        </pc:sldMkLst>
        <pc:spChg chg="del">
          <ac:chgData name="RUFFET, Malcolm" userId="ef33cb5d-7c5f-44ea-8bd1-71f6d9da9dec" providerId="ADAL" clId="{42A6F1C5-53D2-4848-9E6F-5902AFD5EAD4}" dt="2024-02-21T10:02:16.203" v="11717" actId="478"/>
          <ac:spMkLst>
            <pc:docMk/>
            <pc:sldMk cId="933244364" sldId="2147481423"/>
            <ac:spMk id="2" creationId="{1EA10718-7C5E-6219-B68F-A23A4B749385}"/>
          </ac:spMkLst>
        </pc:spChg>
        <pc:spChg chg="mod">
          <ac:chgData name="RUFFET, Malcolm" userId="ef33cb5d-7c5f-44ea-8bd1-71f6d9da9dec" providerId="ADAL" clId="{42A6F1C5-53D2-4848-9E6F-5902AFD5EAD4}" dt="2024-02-21T10:01:50.713" v="11710" actId="1076"/>
          <ac:spMkLst>
            <pc:docMk/>
            <pc:sldMk cId="933244364" sldId="2147481423"/>
            <ac:spMk id="3" creationId="{B538C440-C49C-0B9B-F70C-1D41E6BD0CCF}"/>
          </ac:spMkLst>
        </pc:spChg>
        <pc:spChg chg="mod">
          <ac:chgData name="RUFFET, Malcolm" userId="ef33cb5d-7c5f-44ea-8bd1-71f6d9da9dec" providerId="ADAL" clId="{42A6F1C5-53D2-4848-9E6F-5902AFD5EAD4}" dt="2024-02-21T10:02:03.188" v="11716" actId="404"/>
          <ac:spMkLst>
            <pc:docMk/>
            <pc:sldMk cId="933244364" sldId="2147481423"/>
            <ac:spMk id="11" creationId="{8B14E531-C1B7-41F2-88A2-8F7570051567}"/>
          </ac:spMkLst>
        </pc:spChg>
        <pc:spChg chg="mod">
          <ac:chgData name="RUFFET, Malcolm" userId="ef33cb5d-7c5f-44ea-8bd1-71f6d9da9dec" providerId="ADAL" clId="{42A6F1C5-53D2-4848-9E6F-5902AFD5EAD4}" dt="2024-02-21T10:02:03.188" v="11716" actId="404"/>
          <ac:spMkLst>
            <pc:docMk/>
            <pc:sldMk cId="933244364" sldId="2147481423"/>
            <ac:spMk id="12" creationId="{4AEAA726-51D1-4E3F-A196-B2E10D9A8CE0}"/>
          </ac:spMkLst>
        </pc:spChg>
        <pc:spChg chg="mod">
          <ac:chgData name="RUFFET, Malcolm" userId="ef33cb5d-7c5f-44ea-8bd1-71f6d9da9dec" providerId="ADAL" clId="{42A6F1C5-53D2-4848-9E6F-5902AFD5EAD4}" dt="2024-02-21T10:01:56.929" v="11714" actId="403"/>
          <ac:spMkLst>
            <pc:docMk/>
            <pc:sldMk cId="933244364" sldId="2147481423"/>
            <ac:spMk id="13" creationId="{14D4E5A5-9B4A-4417-8C3F-DBDA645918ED}"/>
          </ac:spMkLst>
        </pc:spChg>
        <pc:spChg chg="mod">
          <ac:chgData name="RUFFET, Malcolm" userId="ef33cb5d-7c5f-44ea-8bd1-71f6d9da9dec" providerId="ADAL" clId="{42A6F1C5-53D2-4848-9E6F-5902AFD5EAD4}" dt="2024-02-21T10:01:56.929" v="11714" actId="403"/>
          <ac:spMkLst>
            <pc:docMk/>
            <pc:sldMk cId="933244364" sldId="2147481423"/>
            <ac:spMk id="14" creationId="{340FCAD7-B6E4-4B6B-8698-EC77417F54FB}"/>
          </ac:spMkLst>
        </pc:spChg>
      </pc:sldChg>
      <pc:sldChg chg="modSp add mod">
        <pc:chgData name="RUFFET, Malcolm" userId="ef33cb5d-7c5f-44ea-8bd1-71f6d9da9dec" providerId="ADAL" clId="{42A6F1C5-53D2-4848-9E6F-5902AFD5EAD4}" dt="2024-02-22T14:17:18.556" v="12745" actId="207"/>
        <pc:sldMkLst>
          <pc:docMk/>
          <pc:sldMk cId="857632846" sldId="2147481424"/>
        </pc:sldMkLst>
        <pc:spChg chg="mod">
          <ac:chgData name="RUFFET, Malcolm" userId="ef33cb5d-7c5f-44ea-8bd1-71f6d9da9dec" providerId="ADAL" clId="{42A6F1C5-53D2-4848-9E6F-5902AFD5EAD4}" dt="2024-02-22T14:17:18.556" v="12745" actId="207"/>
          <ac:spMkLst>
            <pc:docMk/>
            <pc:sldMk cId="857632846" sldId="2147481424"/>
            <ac:spMk id="8" creationId="{A8741D12-6817-404C-B9DE-65BA88D46907}"/>
          </ac:spMkLst>
        </pc:spChg>
        <pc:picChg chg="mod">
          <ac:chgData name="RUFFET, Malcolm" userId="ef33cb5d-7c5f-44ea-8bd1-71f6d9da9dec" providerId="ADAL" clId="{42A6F1C5-53D2-4848-9E6F-5902AFD5EAD4}" dt="2024-02-21T10:08:40.274" v="11787"/>
          <ac:picMkLst>
            <pc:docMk/>
            <pc:sldMk cId="857632846" sldId="2147481424"/>
            <ac:picMk id="6146" creationId="{C079166E-73C2-BF08-FE09-DA918FCC593E}"/>
          </ac:picMkLst>
        </pc:picChg>
      </pc:sldChg>
      <pc:sldChg chg="modSp add mod">
        <pc:chgData name="RUFFET, Malcolm" userId="ef33cb5d-7c5f-44ea-8bd1-71f6d9da9dec" providerId="ADAL" clId="{42A6F1C5-53D2-4848-9E6F-5902AFD5EAD4}" dt="2024-03-05T07:45:06.406" v="15296" actId="14100"/>
        <pc:sldMkLst>
          <pc:docMk/>
          <pc:sldMk cId="3743531163" sldId="2147481425"/>
        </pc:sldMkLst>
        <pc:spChg chg="mod">
          <ac:chgData name="RUFFET, Malcolm" userId="ef33cb5d-7c5f-44ea-8bd1-71f6d9da9dec" providerId="ADAL" clId="{42A6F1C5-53D2-4848-9E6F-5902AFD5EAD4}" dt="2024-02-21T10:09:07.933" v="11799" actId="14100"/>
          <ac:spMkLst>
            <pc:docMk/>
            <pc:sldMk cId="3743531163" sldId="2147481425"/>
            <ac:spMk id="8" creationId="{A8741D12-6817-404C-B9DE-65BA88D46907}"/>
          </ac:spMkLst>
        </pc:spChg>
        <pc:spChg chg="mod">
          <ac:chgData name="RUFFET, Malcolm" userId="ef33cb5d-7c5f-44ea-8bd1-71f6d9da9dec" providerId="ADAL" clId="{42A6F1C5-53D2-4848-9E6F-5902AFD5EAD4}" dt="2024-03-05T07:45:06.406" v="15296" actId="14100"/>
          <ac:spMkLst>
            <pc:docMk/>
            <pc:sldMk cId="3743531163" sldId="2147481425"/>
            <ac:spMk id="11" creationId="{B892C281-C13A-3C66-AD74-0B668E6384FA}"/>
          </ac:spMkLst>
        </pc:spChg>
        <pc:picChg chg="mod">
          <ac:chgData name="RUFFET, Malcolm" userId="ef33cb5d-7c5f-44ea-8bd1-71f6d9da9dec" providerId="ADAL" clId="{42A6F1C5-53D2-4848-9E6F-5902AFD5EAD4}" dt="2024-02-21T10:09:51.328" v="11801"/>
          <ac:picMkLst>
            <pc:docMk/>
            <pc:sldMk cId="3743531163" sldId="2147481425"/>
            <ac:picMk id="6146" creationId="{C079166E-73C2-BF08-FE09-DA918FCC593E}"/>
          </ac:picMkLst>
        </pc:picChg>
      </pc:sldChg>
      <pc:sldChg chg="add del">
        <pc:chgData name="RUFFET, Malcolm" userId="ef33cb5d-7c5f-44ea-8bd1-71f6d9da9dec" providerId="ADAL" clId="{42A6F1C5-53D2-4848-9E6F-5902AFD5EAD4}" dt="2024-02-21T10:13:04.795" v="11874"/>
        <pc:sldMkLst>
          <pc:docMk/>
          <pc:sldMk cId="1194671747" sldId="2147481426"/>
        </pc:sldMkLst>
      </pc:sldChg>
      <pc:sldChg chg="delSp modSp add mod">
        <pc:chgData name="RUFFET, Malcolm" userId="ef33cb5d-7c5f-44ea-8bd1-71f6d9da9dec" providerId="ADAL" clId="{42A6F1C5-53D2-4848-9E6F-5902AFD5EAD4}" dt="2024-02-21T10:29:16.638" v="12190" actId="20577"/>
        <pc:sldMkLst>
          <pc:docMk/>
          <pc:sldMk cId="1486632925" sldId="2147481426"/>
        </pc:sldMkLst>
        <pc:spChg chg="mod">
          <ac:chgData name="RUFFET, Malcolm" userId="ef33cb5d-7c5f-44ea-8bd1-71f6d9da9dec" providerId="ADAL" clId="{42A6F1C5-53D2-4848-9E6F-5902AFD5EAD4}" dt="2024-02-21T10:27:15.876" v="12025" actId="20577"/>
          <ac:spMkLst>
            <pc:docMk/>
            <pc:sldMk cId="1486632925" sldId="2147481426"/>
            <ac:spMk id="3" creationId="{82C18E46-EEBD-D6DE-E6A3-7F5A27B8BA41}"/>
          </ac:spMkLst>
        </pc:spChg>
        <pc:spChg chg="mod">
          <ac:chgData name="RUFFET, Malcolm" userId="ef33cb5d-7c5f-44ea-8bd1-71f6d9da9dec" providerId="ADAL" clId="{42A6F1C5-53D2-4848-9E6F-5902AFD5EAD4}" dt="2024-02-21T10:28:43.502" v="12093" actId="20577"/>
          <ac:spMkLst>
            <pc:docMk/>
            <pc:sldMk cId="1486632925" sldId="2147481426"/>
            <ac:spMk id="5" creationId="{BD28F52F-29FF-ED93-C9E8-1776150C6014}"/>
          </ac:spMkLst>
        </pc:spChg>
        <pc:spChg chg="mod">
          <ac:chgData name="RUFFET, Malcolm" userId="ef33cb5d-7c5f-44ea-8bd1-71f6d9da9dec" providerId="ADAL" clId="{42A6F1C5-53D2-4848-9E6F-5902AFD5EAD4}" dt="2024-02-21T10:28:52.846" v="12127" actId="20577"/>
          <ac:spMkLst>
            <pc:docMk/>
            <pc:sldMk cId="1486632925" sldId="2147481426"/>
            <ac:spMk id="8" creationId="{9CED62D4-9277-2C50-D7D6-2BB88BB05A3D}"/>
          </ac:spMkLst>
        </pc:spChg>
        <pc:spChg chg="mod">
          <ac:chgData name="RUFFET, Malcolm" userId="ef33cb5d-7c5f-44ea-8bd1-71f6d9da9dec" providerId="ADAL" clId="{42A6F1C5-53D2-4848-9E6F-5902AFD5EAD4}" dt="2024-02-21T10:29:16.638" v="12190" actId="20577"/>
          <ac:spMkLst>
            <pc:docMk/>
            <pc:sldMk cId="1486632925" sldId="2147481426"/>
            <ac:spMk id="11" creationId="{5BD25EEA-443D-58B9-4FE4-1AA9F3A2813A}"/>
          </ac:spMkLst>
        </pc:spChg>
        <pc:spChg chg="del">
          <ac:chgData name="RUFFET, Malcolm" userId="ef33cb5d-7c5f-44ea-8bd1-71f6d9da9dec" providerId="ADAL" clId="{42A6F1C5-53D2-4848-9E6F-5902AFD5EAD4}" dt="2024-02-21T10:27:50.802" v="12064" actId="478"/>
          <ac:spMkLst>
            <pc:docMk/>
            <pc:sldMk cId="1486632925" sldId="2147481426"/>
            <ac:spMk id="15" creationId="{D4B29489-EFA3-468C-76E6-AFFF7F95B5D5}"/>
          </ac:spMkLst>
        </pc:spChg>
        <pc:spChg chg="del">
          <ac:chgData name="RUFFET, Malcolm" userId="ef33cb5d-7c5f-44ea-8bd1-71f6d9da9dec" providerId="ADAL" clId="{42A6F1C5-53D2-4848-9E6F-5902AFD5EAD4}" dt="2024-02-21T10:27:50.802" v="12064" actId="478"/>
          <ac:spMkLst>
            <pc:docMk/>
            <pc:sldMk cId="1486632925" sldId="2147481426"/>
            <ac:spMk id="18" creationId="{463DB791-8203-0003-9E0D-858B62AF40AB}"/>
          </ac:spMkLst>
        </pc:spChg>
        <pc:spChg chg="del">
          <ac:chgData name="RUFFET, Malcolm" userId="ef33cb5d-7c5f-44ea-8bd1-71f6d9da9dec" providerId="ADAL" clId="{42A6F1C5-53D2-4848-9E6F-5902AFD5EAD4}" dt="2024-02-21T10:27:50.802" v="12064" actId="478"/>
          <ac:spMkLst>
            <pc:docMk/>
            <pc:sldMk cId="1486632925" sldId="2147481426"/>
            <ac:spMk id="21" creationId="{6B8B3FD3-CA64-4D66-FFD3-D75CCDE7F097}"/>
          </ac:spMkLst>
        </pc:spChg>
        <pc:picChg chg="mod">
          <ac:chgData name="RUFFET, Malcolm" userId="ef33cb5d-7c5f-44ea-8bd1-71f6d9da9dec" providerId="ADAL" clId="{42A6F1C5-53D2-4848-9E6F-5902AFD5EAD4}" dt="2024-02-21T10:28:06.464" v="12066" actId="14826"/>
          <ac:picMkLst>
            <pc:docMk/>
            <pc:sldMk cId="1486632925" sldId="2147481426"/>
            <ac:picMk id="4" creationId="{895243AE-1E29-A262-C367-0CA611FCEA1C}"/>
          </ac:picMkLst>
        </pc:picChg>
        <pc:picChg chg="mod">
          <ac:chgData name="RUFFET, Malcolm" userId="ef33cb5d-7c5f-44ea-8bd1-71f6d9da9dec" providerId="ADAL" clId="{42A6F1C5-53D2-4848-9E6F-5902AFD5EAD4}" dt="2024-02-21T10:28:19.324" v="12067" actId="14826"/>
          <ac:picMkLst>
            <pc:docMk/>
            <pc:sldMk cId="1486632925" sldId="2147481426"/>
            <ac:picMk id="7" creationId="{103CA0EA-6C92-A1B3-930C-3B11A3B54083}"/>
          </ac:picMkLst>
        </pc:picChg>
        <pc:picChg chg="mod">
          <ac:chgData name="RUFFET, Malcolm" userId="ef33cb5d-7c5f-44ea-8bd1-71f6d9da9dec" providerId="ADAL" clId="{42A6F1C5-53D2-4848-9E6F-5902AFD5EAD4}" dt="2024-02-21T10:28:34.514" v="12068" actId="14826"/>
          <ac:picMkLst>
            <pc:docMk/>
            <pc:sldMk cId="1486632925" sldId="2147481426"/>
            <ac:picMk id="10" creationId="{C53E58E4-7E9F-265F-DD66-BAB4F0B97513}"/>
          </ac:picMkLst>
        </pc:picChg>
        <pc:picChg chg="del">
          <ac:chgData name="RUFFET, Malcolm" userId="ef33cb5d-7c5f-44ea-8bd1-71f6d9da9dec" providerId="ADAL" clId="{42A6F1C5-53D2-4848-9E6F-5902AFD5EAD4}" dt="2024-02-21T10:27:50.802" v="12064" actId="478"/>
          <ac:picMkLst>
            <pc:docMk/>
            <pc:sldMk cId="1486632925" sldId="2147481426"/>
            <ac:picMk id="14" creationId="{18E0062C-385B-02C9-115E-1E3269F4A850}"/>
          </ac:picMkLst>
        </pc:picChg>
        <pc:picChg chg="del">
          <ac:chgData name="RUFFET, Malcolm" userId="ef33cb5d-7c5f-44ea-8bd1-71f6d9da9dec" providerId="ADAL" clId="{42A6F1C5-53D2-4848-9E6F-5902AFD5EAD4}" dt="2024-02-21T10:27:50.802" v="12064" actId="478"/>
          <ac:picMkLst>
            <pc:docMk/>
            <pc:sldMk cId="1486632925" sldId="2147481426"/>
            <ac:picMk id="17" creationId="{9F313335-A36D-AB7C-AAAF-866B8677F919}"/>
          </ac:picMkLst>
        </pc:picChg>
        <pc:picChg chg="del">
          <ac:chgData name="RUFFET, Malcolm" userId="ef33cb5d-7c5f-44ea-8bd1-71f6d9da9dec" providerId="ADAL" clId="{42A6F1C5-53D2-4848-9E6F-5902AFD5EAD4}" dt="2024-02-21T10:27:50.802" v="12064" actId="478"/>
          <ac:picMkLst>
            <pc:docMk/>
            <pc:sldMk cId="1486632925" sldId="2147481426"/>
            <ac:picMk id="20" creationId="{D6394DF4-B89A-4D7A-D973-F5EEF7DEB9A2}"/>
          </ac:picMkLst>
        </pc:picChg>
      </pc:sldChg>
      <pc:sldChg chg="delSp modSp add mod">
        <pc:chgData name="RUFFET, Malcolm" userId="ef33cb5d-7c5f-44ea-8bd1-71f6d9da9dec" providerId="ADAL" clId="{42A6F1C5-53D2-4848-9E6F-5902AFD5EAD4}" dt="2024-02-21T10:32:45.029" v="12356" actId="1076"/>
        <pc:sldMkLst>
          <pc:docMk/>
          <pc:sldMk cId="1592835836" sldId="2147481427"/>
        </pc:sldMkLst>
        <pc:spChg chg="mod">
          <ac:chgData name="RUFFET, Malcolm" userId="ef33cb5d-7c5f-44ea-8bd1-71f6d9da9dec" providerId="ADAL" clId="{42A6F1C5-53D2-4848-9E6F-5902AFD5EAD4}" dt="2024-02-21T10:30:45.812" v="12243" actId="20577"/>
          <ac:spMkLst>
            <pc:docMk/>
            <pc:sldMk cId="1592835836" sldId="2147481427"/>
            <ac:spMk id="5" creationId="{BD28F52F-29FF-ED93-C9E8-1776150C6014}"/>
          </ac:spMkLst>
        </pc:spChg>
        <pc:spChg chg="mod">
          <ac:chgData name="RUFFET, Malcolm" userId="ef33cb5d-7c5f-44ea-8bd1-71f6d9da9dec" providerId="ADAL" clId="{42A6F1C5-53D2-4848-9E6F-5902AFD5EAD4}" dt="2024-02-21T10:31:19.824" v="12272" actId="20577"/>
          <ac:spMkLst>
            <pc:docMk/>
            <pc:sldMk cId="1592835836" sldId="2147481427"/>
            <ac:spMk id="8" creationId="{9CED62D4-9277-2C50-D7D6-2BB88BB05A3D}"/>
          </ac:spMkLst>
        </pc:spChg>
        <pc:spChg chg="mod">
          <ac:chgData name="RUFFET, Malcolm" userId="ef33cb5d-7c5f-44ea-8bd1-71f6d9da9dec" providerId="ADAL" clId="{42A6F1C5-53D2-4848-9E6F-5902AFD5EAD4}" dt="2024-02-21T10:31:57.844" v="12331" actId="20577"/>
          <ac:spMkLst>
            <pc:docMk/>
            <pc:sldMk cId="1592835836" sldId="2147481427"/>
            <ac:spMk id="11" creationId="{5BD25EEA-443D-58B9-4FE4-1AA9F3A2813A}"/>
          </ac:spMkLst>
        </pc:spChg>
        <pc:spChg chg="mod">
          <ac:chgData name="RUFFET, Malcolm" userId="ef33cb5d-7c5f-44ea-8bd1-71f6d9da9dec" providerId="ADAL" clId="{42A6F1C5-53D2-4848-9E6F-5902AFD5EAD4}" dt="2024-02-21T10:32:45.029" v="12356" actId="1076"/>
          <ac:spMkLst>
            <pc:docMk/>
            <pc:sldMk cId="1592835836" sldId="2147481427"/>
            <ac:spMk id="15" creationId="{D4B29489-EFA3-468C-76E6-AFFF7F95B5D5}"/>
          </ac:spMkLst>
        </pc:spChg>
        <pc:spChg chg="del">
          <ac:chgData name="RUFFET, Malcolm" userId="ef33cb5d-7c5f-44ea-8bd1-71f6d9da9dec" providerId="ADAL" clId="{42A6F1C5-53D2-4848-9E6F-5902AFD5EAD4}" dt="2024-02-21T10:32:39.582" v="12355" actId="478"/>
          <ac:spMkLst>
            <pc:docMk/>
            <pc:sldMk cId="1592835836" sldId="2147481427"/>
            <ac:spMk id="18" creationId="{463DB791-8203-0003-9E0D-858B62AF40AB}"/>
          </ac:spMkLst>
        </pc:spChg>
        <pc:spChg chg="del">
          <ac:chgData name="RUFFET, Malcolm" userId="ef33cb5d-7c5f-44ea-8bd1-71f6d9da9dec" providerId="ADAL" clId="{42A6F1C5-53D2-4848-9E6F-5902AFD5EAD4}" dt="2024-02-21T10:32:39.582" v="12355" actId="478"/>
          <ac:spMkLst>
            <pc:docMk/>
            <pc:sldMk cId="1592835836" sldId="2147481427"/>
            <ac:spMk id="21" creationId="{6B8B3FD3-CA64-4D66-FFD3-D75CCDE7F097}"/>
          </ac:spMkLst>
        </pc:spChg>
        <pc:picChg chg="mod">
          <ac:chgData name="RUFFET, Malcolm" userId="ef33cb5d-7c5f-44ea-8bd1-71f6d9da9dec" providerId="ADAL" clId="{42A6F1C5-53D2-4848-9E6F-5902AFD5EAD4}" dt="2024-02-21T10:30:30.584" v="12200" actId="14826"/>
          <ac:picMkLst>
            <pc:docMk/>
            <pc:sldMk cId="1592835836" sldId="2147481427"/>
            <ac:picMk id="4" creationId="{895243AE-1E29-A262-C367-0CA611FCEA1C}"/>
          </ac:picMkLst>
        </pc:picChg>
        <pc:picChg chg="mod">
          <ac:chgData name="RUFFET, Malcolm" userId="ef33cb5d-7c5f-44ea-8bd1-71f6d9da9dec" providerId="ADAL" clId="{42A6F1C5-53D2-4848-9E6F-5902AFD5EAD4}" dt="2024-02-21T10:31:06.296" v="12245" actId="14826"/>
          <ac:picMkLst>
            <pc:docMk/>
            <pc:sldMk cId="1592835836" sldId="2147481427"/>
            <ac:picMk id="7" creationId="{103CA0EA-6C92-A1B3-930C-3B11A3B54083}"/>
          </ac:picMkLst>
        </pc:picChg>
        <pc:picChg chg="mod">
          <ac:chgData name="RUFFET, Malcolm" userId="ef33cb5d-7c5f-44ea-8bd1-71f6d9da9dec" providerId="ADAL" clId="{42A6F1C5-53D2-4848-9E6F-5902AFD5EAD4}" dt="2024-02-21T10:31:36.557" v="12276" actId="14826"/>
          <ac:picMkLst>
            <pc:docMk/>
            <pc:sldMk cId="1592835836" sldId="2147481427"/>
            <ac:picMk id="10" creationId="{C53E58E4-7E9F-265F-DD66-BAB4F0B97513}"/>
          </ac:picMkLst>
        </pc:picChg>
        <pc:picChg chg="mod">
          <ac:chgData name="RUFFET, Malcolm" userId="ef33cb5d-7c5f-44ea-8bd1-71f6d9da9dec" providerId="ADAL" clId="{42A6F1C5-53D2-4848-9E6F-5902AFD5EAD4}" dt="2024-02-21T10:32:45.029" v="12356" actId="1076"/>
          <ac:picMkLst>
            <pc:docMk/>
            <pc:sldMk cId="1592835836" sldId="2147481427"/>
            <ac:picMk id="14" creationId="{18E0062C-385B-02C9-115E-1E3269F4A850}"/>
          </ac:picMkLst>
        </pc:picChg>
        <pc:picChg chg="del">
          <ac:chgData name="RUFFET, Malcolm" userId="ef33cb5d-7c5f-44ea-8bd1-71f6d9da9dec" providerId="ADAL" clId="{42A6F1C5-53D2-4848-9E6F-5902AFD5EAD4}" dt="2024-02-21T10:32:39.582" v="12355" actId="478"/>
          <ac:picMkLst>
            <pc:docMk/>
            <pc:sldMk cId="1592835836" sldId="2147481427"/>
            <ac:picMk id="17" creationId="{9F313335-A36D-AB7C-AAAF-866B8677F919}"/>
          </ac:picMkLst>
        </pc:picChg>
        <pc:picChg chg="del">
          <ac:chgData name="RUFFET, Malcolm" userId="ef33cb5d-7c5f-44ea-8bd1-71f6d9da9dec" providerId="ADAL" clId="{42A6F1C5-53D2-4848-9E6F-5902AFD5EAD4}" dt="2024-02-21T10:32:39.582" v="12355" actId="478"/>
          <ac:picMkLst>
            <pc:docMk/>
            <pc:sldMk cId="1592835836" sldId="2147481427"/>
            <ac:picMk id="20" creationId="{D6394DF4-B89A-4D7A-D973-F5EEF7DEB9A2}"/>
          </ac:picMkLst>
        </pc:picChg>
      </pc:sldChg>
      <pc:sldChg chg="add">
        <pc:chgData name="RUFFET, Malcolm" userId="ef33cb5d-7c5f-44ea-8bd1-71f6d9da9dec" providerId="ADAL" clId="{42A6F1C5-53D2-4848-9E6F-5902AFD5EAD4}" dt="2024-02-21T10:33:09.833" v="12359"/>
        <pc:sldMkLst>
          <pc:docMk/>
          <pc:sldMk cId="4220268473" sldId="2147481428"/>
        </pc:sldMkLst>
      </pc:sldChg>
      <pc:sldChg chg="modSp add mod">
        <pc:chgData name="RUFFET, Malcolm" userId="ef33cb5d-7c5f-44ea-8bd1-71f6d9da9dec" providerId="ADAL" clId="{42A6F1C5-53D2-4848-9E6F-5902AFD5EAD4}" dt="2024-02-21T10:36:13.845" v="12507" actId="1076"/>
        <pc:sldMkLst>
          <pc:docMk/>
          <pc:sldMk cId="2122418686" sldId="2147481429"/>
        </pc:sldMkLst>
        <pc:spChg chg="mod">
          <ac:chgData name="RUFFET, Malcolm" userId="ef33cb5d-7c5f-44ea-8bd1-71f6d9da9dec" providerId="ADAL" clId="{42A6F1C5-53D2-4848-9E6F-5902AFD5EAD4}" dt="2024-02-21T10:34:28.450" v="12387" actId="20577"/>
          <ac:spMkLst>
            <pc:docMk/>
            <pc:sldMk cId="2122418686" sldId="2147481429"/>
            <ac:spMk id="5" creationId="{BD28F52F-29FF-ED93-C9E8-1776150C6014}"/>
          </ac:spMkLst>
        </pc:spChg>
        <pc:spChg chg="mod">
          <ac:chgData name="RUFFET, Malcolm" userId="ef33cb5d-7c5f-44ea-8bd1-71f6d9da9dec" providerId="ADAL" clId="{42A6F1C5-53D2-4848-9E6F-5902AFD5EAD4}" dt="2024-02-21T10:34:53.717" v="12426" actId="20577"/>
          <ac:spMkLst>
            <pc:docMk/>
            <pc:sldMk cId="2122418686" sldId="2147481429"/>
            <ac:spMk id="8" creationId="{9CED62D4-9277-2C50-D7D6-2BB88BB05A3D}"/>
          </ac:spMkLst>
        </pc:spChg>
        <pc:spChg chg="mod">
          <ac:chgData name="RUFFET, Malcolm" userId="ef33cb5d-7c5f-44ea-8bd1-71f6d9da9dec" providerId="ADAL" clId="{42A6F1C5-53D2-4848-9E6F-5902AFD5EAD4}" dt="2024-02-21T10:35:25.240" v="12482" actId="20577"/>
          <ac:spMkLst>
            <pc:docMk/>
            <pc:sldMk cId="2122418686" sldId="2147481429"/>
            <ac:spMk id="11" creationId="{5BD25EEA-443D-58B9-4FE4-1AA9F3A2813A}"/>
          </ac:spMkLst>
        </pc:spChg>
        <pc:spChg chg="mod">
          <ac:chgData name="RUFFET, Malcolm" userId="ef33cb5d-7c5f-44ea-8bd1-71f6d9da9dec" providerId="ADAL" clId="{42A6F1C5-53D2-4848-9E6F-5902AFD5EAD4}" dt="2024-02-21T10:36:13.845" v="12507" actId="1076"/>
          <ac:spMkLst>
            <pc:docMk/>
            <pc:sldMk cId="2122418686" sldId="2147481429"/>
            <ac:spMk id="15" creationId="{D4B29489-EFA3-468C-76E6-AFFF7F95B5D5}"/>
          </ac:spMkLst>
        </pc:spChg>
        <pc:picChg chg="mod">
          <ac:chgData name="RUFFET, Malcolm" userId="ef33cb5d-7c5f-44ea-8bd1-71f6d9da9dec" providerId="ADAL" clId="{42A6F1C5-53D2-4848-9E6F-5902AFD5EAD4}" dt="2024-02-21T10:34:23.292" v="12368" actId="14826"/>
          <ac:picMkLst>
            <pc:docMk/>
            <pc:sldMk cId="2122418686" sldId="2147481429"/>
            <ac:picMk id="4" creationId="{895243AE-1E29-A262-C367-0CA611FCEA1C}"/>
          </ac:picMkLst>
        </pc:picChg>
        <pc:picChg chg="mod">
          <ac:chgData name="RUFFET, Malcolm" userId="ef33cb5d-7c5f-44ea-8bd1-71f6d9da9dec" providerId="ADAL" clId="{42A6F1C5-53D2-4848-9E6F-5902AFD5EAD4}" dt="2024-02-21T10:34:41.191" v="12388" actId="14826"/>
          <ac:picMkLst>
            <pc:docMk/>
            <pc:sldMk cId="2122418686" sldId="2147481429"/>
            <ac:picMk id="7" creationId="{103CA0EA-6C92-A1B3-930C-3B11A3B54083}"/>
          </ac:picMkLst>
        </pc:picChg>
        <pc:picChg chg="mod">
          <ac:chgData name="RUFFET, Malcolm" userId="ef33cb5d-7c5f-44ea-8bd1-71f6d9da9dec" providerId="ADAL" clId="{42A6F1C5-53D2-4848-9E6F-5902AFD5EAD4}" dt="2024-02-21T10:35:08.470" v="12427" actId="14826"/>
          <ac:picMkLst>
            <pc:docMk/>
            <pc:sldMk cId="2122418686" sldId="2147481429"/>
            <ac:picMk id="10" creationId="{C53E58E4-7E9F-265F-DD66-BAB4F0B97513}"/>
          </ac:picMkLst>
        </pc:picChg>
        <pc:picChg chg="mod">
          <ac:chgData name="RUFFET, Malcolm" userId="ef33cb5d-7c5f-44ea-8bd1-71f6d9da9dec" providerId="ADAL" clId="{42A6F1C5-53D2-4848-9E6F-5902AFD5EAD4}" dt="2024-02-21T10:36:13.845" v="12507" actId="1076"/>
          <ac:picMkLst>
            <pc:docMk/>
            <pc:sldMk cId="2122418686" sldId="2147481429"/>
            <ac:picMk id="14" creationId="{18E0062C-385B-02C9-115E-1E3269F4A850}"/>
          </ac:picMkLst>
        </pc:picChg>
      </pc:sldChg>
      <pc:sldChg chg="addSp delSp modSp add mod">
        <pc:chgData name="RUFFET, Malcolm" userId="ef33cb5d-7c5f-44ea-8bd1-71f6d9da9dec" providerId="ADAL" clId="{42A6F1C5-53D2-4848-9E6F-5902AFD5EAD4}" dt="2024-03-01T09:07:15.429" v="15289" actId="478"/>
        <pc:sldMkLst>
          <pc:docMk/>
          <pc:sldMk cId="484667238" sldId="2147481430"/>
        </pc:sldMkLst>
        <pc:spChg chg="add del mod">
          <ac:chgData name="RUFFET, Malcolm" userId="ef33cb5d-7c5f-44ea-8bd1-71f6d9da9dec" providerId="ADAL" clId="{42A6F1C5-53D2-4848-9E6F-5902AFD5EAD4}" dt="2024-03-01T09:07:15.429" v="15289" actId="478"/>
          <ac:spMkLst>
            <pc:docMk/>
            <pc:sldMk cId="484667238" sldId="2147481430"/>
            <ac:spMk id="2" creationId="{1ED99157-6894-DA8C-861D-73B484D7B23E}"/>
          </ac:spMkLst>
        </pc:spChg>
        <pc:spChg chg="mod">
          <ac:chgData name="RUFFET, Malcolm" userId="ef33cb5d-7c5f-44ea-8bd1-71f6d9da9dec" providerId="ADAL" clId="{42A6F1C5-53D2-4848-9E6F-5902AFD5EAD4}" dt="2024-02-21T10:36:51.230" v="12512" actId="1076"/>
          <ac:spMkLst>
            <pc:docMk/>
            <pc:sldMk cId="484667238" sldId="2147481430"/>
            <ac:spMk id="5" creationId="{BD28F52F-29FF-ED93-C9E8-1776150C6014}"/>
          </ac:spMkLst>
        </pc:spChg>
        <pc:spChg chg="add mod">
          <ac:chgData name="RUFFET, Malcolm" userId="ef33cb5d-7c5f-44ea-8bd1-71f6d9da9dec" providerId="ADAL" clId="{42A6F1C5-53D2-4848-9E6F-5902AFD5EAD4}" dt="2024-02-21T10:40:04.834" v="12576" actId="1076"/>
          <ac:spMkLst>
            <pc:docMk/>
            <pc:sldMk cId="484667238" sldId="2147481430"/>
            <ac:spMk id="6" creationId="{D6D5BF0E-9F3F-58F6-DF9D-95E035578DD2}"/>
          </ac:spMkLst>
        </pc:spChg>
        <pc:spChg chg="mod">
          <ac:chgData name="RUFFET, Malcolm" userId="ef33cb5d-7c5f-44ea-8bd1-71f6d9da9dec" providerId="ADAL" clId="{42A6F1C5-53D2-4848-9E6F-5902AFD5EAD4}" dt="2024-02-21T10:36:51.230" v="12512" actId="1076"/>
          <ac:spMkLst>
            <pc:docMk/>
            <pc:sldMk cId="484667238" sldId="2147481430"/>
            <ac:spMk id="8" creationId="{9CED62D4-9277-2C50-D7D6-2BB88BB05A3D}"/>
          </ac:spMkLst>
        </pc:spChg>
        <pc:spChg chg="mod">
          <ac:chgData name="RUFFET, Malcolm" userId="ef33cb5d-7c5f-44ea-8bd1-71f6d9da9dec" providerId="ADAL" clId="{42A6F1C5-53D2-4848-9E6F-5902AFD5EAD4}" dt="2024-02-21T10:36:51.230" v="12512" actId="1076"/>
          <ac:spMkLst>
            <pc:docMk/>
            <pc:sldMk cId="484667238" sldId="2147481430"/>
            <ac:spMk id="11" creationId="{5BD25EEA-443D-58B9-4FE4-1AA9F3A2813A}"/>
          </ac:spMkLst>
        </pc:spChg>
        <pc:spChg chg="add mod">
          <ac:chgData name="RUFFET, Malcolm" userId="ef33cb5d-7c5f-44ea-8bd1-71f6d9da9dec" providerId="ADAL" clId="{42A6F1C5-53D2-4848-9E6F-5902AFD5EAD4}" dt="2024-02-21T10:40:04.834" v="12576" actId="1076"/>
          <ac:spMkLst>
            <pc:docMk/>
            <pc:sldMk cId="484667238" sldId="2147481430"/>
            <ac:spMk id="12" creationId="{3D4946BB-D998-6921-F8B5-31F85FE54380}"/>
          </ac:spMkLst>
        </pc:spChg>
        <pc:picChg chg="add del mod">
          <ac:chgData name="RUFFET, Malcolm" userId="ef33cb5d-7c5f-44ea-8bd1-71f6d9da9dec" providerId="ADAL" clId="{42A6F1C5-53D2-4848-9E6F-5902AFD5EAD4}" dt="2024-02-21T10:39:19.581" v="12569" actId="478"/>
          <ac:picMkLst>
            <pc:docMk/>
            <pc:sldMk cId="484667238" sldId="2147481430"/>
            <ac:picMk id="2" creationId="{25840B7E-058B-5DC6-F6DA-98BECA097D2D}"/>
          </ac:picMkLst>
        </pc:picChg>
        <pc:picChg chg="mod">
          <ac:chgData name="RUFFET, Malcolm" userId="ef33cb5d-7c5f-44ea-8bd1-71f6d9da9dec" providerId="ADAL" clId="{42A6F1C5-53D2-4848-9E6F-5902AFD5EAD4}" dt="2024-03-01T09:07:12.665" v="15288" actId="14826"/>
          <ac:picMkLst>
            <pc:docMk/>
            <pc:sldMk cId="484667238" sldId="2147481430"/>
            <ac:picMk id="4" creationId="{895243AE-1E29-A262-C367-0CA611FCEA1C}"/>
          </ac:picMkLst>
        </pc:picChg>
        <pc:picChg chg="mod">
          <ac:chgData name="RUFFET, Malcolm" userId="ef33cb5d-7c5f-44ea-8bd1-71f6d9da9dec" providerId="ADAL" clId="{42A6F1C5-53D2-4848-9E6F-5902AFD5EAD4}" dt="2024-02-21T10:36:51.230" v="12512" actId="1076"/>
          <ac:picMkLst>
            <pc:docMk/>
            <pc:sldMk cId="484667238" sldId="2147481430"/>
            <ac:picMk id="7" creationId="{103CA0EA-6C92-A1B3-930C-3B11A3B54083}"/>
          </ac:picMkLst>
        </pc:picChg>
        <pc:picChg chg="add mod">
          <ac:chgData name="RUFFET, Malcolm" userId="ef33cb5d-7c5f-44ea-8bd1-71f6d9da9dec" providerId="ADAL" clId="{42A6F1C5-53D2-4848-9E6F-5902AFD5EAD4}" dt="2024-02-21T10:40:04.834" v="12576" actId="1076"/>
          <ac:picMkLst>
            <pc:docMk/>
            <pc:sldMk cId="484667238" sldId="2147481430"/>
            <ac:picMk id="9" creationId="{1C435AD8-C66A-8CCA-0C47-C9D521CA5DDA}"/>
          </ac:picMkLst>
        </pc:picChg>
        <pc:picChg chg="mod">
          <ac:chgData name="RUFFET, Malcolm" userId="ef33cb5d-7c5f-44ea-8bd1-71f6d9da9dec" providerId="ADAL" clId="{42A6F1C5-53D2-4848-9E6F-5902AFD5EAD4}" dt="2024-02-21T10:36:51.230" v="12512" actId="1076"/>
          <ac:picMkLst>
            <pc:docMk/>
            <pc:sldMk cId="484667238" sldId="2147481430"/>
            <ac:picMk id="10" creationId="{C53E58E4-7E9F-265F-DD66-BAB4F0B97513}"/>
          </ac:picMkLst>
        </pc:picChg>
        <pc:picChg chg="add mod">
          <ac:chgData name="RUFFET, Malcolm" userId="ef33cb5d-7c5f-44ea-8bd1-71f6d9da9dec" providerId="ADAL" clId="{42A6F1C5-53D2-4848-9E6F-5902AFD5EAD4}" dt="2024-02-21T10:40:04.834" v="12576" actId="1076"/>
          <ac:picMkLst>
            <pc:docMk/>
            <pc:sldMk cId="484667238" sldId="2147481430"/>
            <ac:picMk id="13" creationId="{89342EFC-D63C-7B21-F949-868F9C4857D6}"/>
          </ac:picMkLst>
        </pc:picChg>
      </pc:sldChg>
      <pc:sldChg chg="addSp delSp modSp add mod">
        <pc:chgData name="RUFFET, Malcolm" userId="ef33cb5d-7c5f-44ea-8bd1-71f6d9da9dec" providerId="ADAL" clId="{42A6F1C5-53D2-4848-9E6F-5902AFD5EAD4}" dt="2024-02-22T13:59:20.706" v="12668"/>
        <pc:sldMkLst>
          <pc:docMk/>
          <pc:sldMk cId="241920681" sldId="2147481431"/>
        </pc:sldMkLst>
        <pc:spChg chg="del">
          <ac:chgData name="RUFFET, Malcolm" userId="ef33cb5d-7c5f-44ea-8bd1-71f6d9da9dec" providerId="ADAL" clId="{42A6F1C5-53D2-4848-9E6F-5902AFD5EAD4}" dt="2024-02-22T13:57:23.926" v="12644" actId="478"/>
          <ac:spMkLst>
            <pc:docMk/>
            <pc:sldMk cId="241920681" sldId="2147481431"/>
            <ac:spMk id="2" creationId="{756AB06D-04D6-4CD0-95DF-4D6FC9658398}"/>
          </ac:spMkLst>
        </pc:spChg>
        <pc:spChg chg="del">
          <ac:chgData name="RUFFET, Malcolm" userId="ef33cb5d-7c5f-44ea-8bd1-71f6d9da9dec" providerId="ADAL" clId="{42A6F1C5-53D2-4848-9E6F-5902AFD5EAD4}" dt="2024-02-22T13:57:23.926" v="12644" actId="478"/>
          <ac:spMkLst>
            <pc:docMk/>
            <pc:sldMk cId="241920681" sldId="2147481431"/>
            <ac:spMk id="4" creationId="{9468B0C8-84D4-4C94-A621-5B7257E1963A}"/>
          </ac:spMkLst>
        </pc:spChg>
        <pc:spChg chg="mod">
          <ac:chgData name="RUFFET, Malcolm" userId="ef33cb5d-7c5f-44ea-8bd1-71f6d9da9dec" providerId="ADAL" clId="{42A6F1C5-53D2-4848-9E6F-5902AFD5EAD4}" dt="2024-02-22T13:57:19.893" v="12643" actId="242"/>
          <ac:spMkLst>
            <pc:docMk/>
            <pc:sldMk cId="241920681" sldId="2147481431"/>
            <ac:spMk id="5" creationId="{345F714E-B0DB-4AC0-A544-A6932E332BDD}"/>
          </ac:spMkLst>
        </pc:spChg>
        <pc:spChg chg="del">
          <ac:chgData name="RUFFET, Malcolm" userId="ef33cb5d-7c5f-44ea-8bd1-71f6d9da9dec" providerId="ADAL" clId="{42A6F1C5-53D2-4848-9E6F-5902AFD5EAD4}" dt="2024-02-22T13:57:23.926" v="12644" actId="478"/>
          <ac:spMkLst>
            <pc:docMk/>
            <pc:sldMk cId="241920681" sldId="2147481431"/>
            <ac:spMk id="6" creationId="{B4508118-EF09-4239-AD30-24FDC178CAB0}"/>
          </ac:spMkLst>
        </pc:spChg>
        <pc:spChg chg="del">
          <ac:chgData name="RUFFET, Malcolm" userId="ef33cb5d-7c5f-44ea-8bd1-71f6d9da9dec" providerId="ADAL" clId="{42A6F1C5-53D2-4848-9E6F-5902AFD5EAD4}" dt="2024-02-22T13:57:23.926" v="12644" actId="478"/>
          <ac:spMkLst>
            <pc:docMk/>
            <pc:sldMk cId="241920681" sldId="2147481431"/>
            <ac:spMk id="9" creationId="{60D0E2B2-3383-4BC0-A62C-3131146AFDDB}"/>
          </ac:spMkLst>
        </pc:spChg>
        <pc:spChg chg="mod">
          <ac:chgData name="RUFFET, Malcolm" userId="ef33cb5d-7c5f-44ea-8bd1-71f6d9da9dec" providerId="ADAL" clId="{42A6F1C5-53D2-4848-9E6F-5902AFD5EAD4}" dt="2024-02-22T13:57:28.358" v="12645"/>
          <ac:spMkLst>
            <pc:docMk/>
            <pc:sldMk cId="241920681" sldId="2147481431"/>
            <ac:spMk id="15" creationId="{37AB39C9-6081-D82D-B852-2B1EEA33A148}"/>
          </ac:spMkLst>
        </pc:spChg>
        <pc:spChg chg="mod">
          <ac:chgData name="RUFFET, Malcolm" userId="ef33cb5d-7c5f-44ea-8bd1-71f6d9da9dec" providerId="ADAL" clId="{42A6F1C5-53D2-4848-9E6F-5902AFD5EAD4}" dt="2024-02-22T13:57:28.358" v="12645"/>
          <ac:spMkLst>
            <pc:docMk/>
            <pc:sldMk cId="241920681" sldId="2147481431"/>
            <ac:spMk id="16" creationId="{70096508-1E81-68AE-1737-57E803A501EC}"/>
          </ac:spMkLst>
        </pc:spChg>
        <pc:spChg chg="mod">
          <ac:chgData name="RUFFET, Malcolm" userId="ef33cb5d-7c5f-44ea-8bd1-71f6d9da9dec" providerId="ADAL" clId="{42A6F1C5-53D2-4848-9E6F-5902AFD5EAD4}" dt="2024-02-22T13:57:28.358" v="12645"/>
          <ac:spMkLst>
            <pc:docMk/>
            <pc:sldMk cId="241920681" sldId="2147481431"/>
            <ac:spMk id="17" creationId="{9849644F-DF0D-B09A-7EDC-4C4E9CC1EAC6}"/>
          </ac:spMkLst>
        </pc:spChg>
        <pc:spChg chg="del">
          <ac:chgData name="RUFFET, Malcolm" userId="ef33cb5d-7c5f-44ea-8bd1-71f6d9da9dec" providerId="ADAL" clId="{42A6F1C5-53D2-4848-9E6F-5902AFD5EAD4}" dt="2024-02-22T13:57:23.926" v="12644" actId="478"/>
          <ac:spMkLst>
            <pc:docMk/>
            <pc:sldMk cId="241920681" sldId="2147481431"/>
            <ac:spMk id="18" creationId="{74989A3D-795B-4B73-8CAF-FC5B261C7543}"/>
          </ac:spMkLst>
        </pc:spChg>
        <pc:spChg chg="del">
          <ac:chgData name="RUFFET, Malcolm" userId="ef33cb5d-7c5f-44ea-8bd1-71f6d9da9dec" providerId="ADAL" clId="{42A6F1C5-53D2-4848-9E6F-5902AFD5EAD4}" dt="2024-02-22T13:57:23.926" v="12644" actId="478"/>
          <ac:spMkLst>
            <pc:docMk/>
            <pc:sldMk cId="241920681" sldId="2147481431"/>
            <ac:spMk id="19" creationId="{C9E0D33E-62FE-4CDB-B752-02DFE18B0FC5}"/>
          </ac:spMkLst>
        </pc:spChg>
        <pc:spChg chg="del">
          <ac:chgData name="RUFFET, Malcolm" userId="ef33cb5d-7c5f-44ea-8bd1-71f6d9da9dec" providerId="ADAL" clId="{42A6F1C5-53D2-4848-9E6F-5902AFD5EAD4}" dt="2024-02-22T13:57:23.926" v="12644" actId="478"/>
          <ac:spMkLst>
            <pc:docMk/>
            <pc:sldMk cId="241920681" sldId="2147481431"/>
            <ac:spMk id="20" creationId="{4E71760B-CE53-480D-B911-ECC706836BB8}"/>
          </ac:spMkLst>
        </pc:spChg>
        <pc:spChg chg="mod">
          <ac:chgData name="RUFFET, Malcolm" userId="ef33cb5d-7c5f-44ea-8bd1-71f6d9da9dec" providerId="ADAL" clId="{42A6F1C5-53D2-4848-9E6F-5902AFD5EAD4}" dt="2024-02-22T13:57:28.358" v="12645"/>
          <ac:spMkLst>
            <pc:docMk/>
            <pc:sldMk cId="241920681" sldId="2147481431"/>
            <ac:spMk id="21" creationId="{04DDCA8A-36EC-9148-E51F-6185C9BDC989}"/>
          </ac:spMkLst>
        </pc:spChg>
        <pc:spChg chg="mod">
          <ac:chgData name="RUFFET, Malcolm" userId="ef33cb5d-7c5f-44ea-8bd1-71f6d9da9dec" providerId="ADAL" clId="{42A6F1C5-53D2-4848-9E6F-5902AFD5EAD4}" dt="2024-02-22T13:57:28.358" v="12645"/>
          <ac:spMkLst>
            <pc:docMk/>
            <pc:sldMk cId="241920681" sldId="2147481431"/>
            <ac:spMk id="22" creationId="{B73BCC84-C27A-FCF6-AA6E-512D2186531A}"/>
          </ac:spMkLst>
        </pc:spChg>
        <pc:spChg chg="mod">
          <ac:chgData name="RUFFET, Malcolm" userId="ef33cb5d-7c5f-44ea-8bd1-71f6d9da9dec" providerId="ADAL" clId="{42A6F1C5-53D2-4848-9E6F-5902AFD5EAD4}" dt="2024-02-22T13:57:28.358" v="12645"/>
          <ac:spMkLst>
            <pc:docMk/>
            <pc:sldMk cId="241920681" sldId="2147481431"/>
            <ac:spMk id="23" creationId="{8D7346A9-2942-C45D-A1F4-A53ACC5D9FD8}"/>
          </ac:spMkLst>
        </pc:spChg>
        <pc:spChg chg="mod">
          <ac:chgData name="RUFFET, Malcolm" userId="ef33cb5d-7c5f-44ea-8bd1-71f6d9da9dec" providerId="ADAL" clId="{42A6F1C5-53D2-4848-9E6F-5902AFD5EAD4}" dt="2024-02-22T13:57:28.358" v="12645"/>
          <ac:spMkLst>
            <pc:docMk/>
            <pc:sldMk cId="241920681" sldId="2147481431"/>
            <ac:spMk id="24" creationId="{692C1193-5569-607C-EEFB-3DE8EBA9985D}"/>
          </ac:spMkLst>
        </pc:spChg>
        <pc:spChg chg="mod">
          <ac:chgData name="RUFFET, Malcolm" userId="ef33cb5d-7c5f-44ea-8bd1-71f6d9da9dec" providerId="ADAL" clId="{42A6F1C5-53D2-4848-9E6F-5902AFD5EAD4}" dt="2024-02-22T13:57:28.358" v="12645"/>
          <ac:spMkLst>
            <pc:docMk/>
            <pc:sldMk cId="241920681" sldId="2147481431"/>
            <ac:spMk id="25" creationId="{E3C5ECD2-57EE-6116-13D4-6147CBDCF4AC}"/>
          </ac:spMkLst>
        </pc:spChg>
        <pc:spChg chg="mod">
          <ac:chgData name="RUFFET, Malcolm" userId="ef33cb5d-7c5f-44ea-8bd1-71f6d9da9dec" providerId="ADAL" clId="{42A6F1C5-53D2-4848-9E6F-5902AFD5EAD4}" dt="2024-02-22T13:57:28.358" v="12645"/>
          <ac:spMkLst>
            <pc:docMk/>
            <pc:sldMk cId="241920681" sldId="2147481431"/>
            <ac:spMk id="26" creationId="{097283B5-E359-8E4F-E199-5583D372950A}"/>
          </ac:spMkLst>
        </pc:spChg>
        <pc:spChg chg="mod">
          <ac:chgData name="RUFFET, Malcolm" userId="ef33cb5d-7c5f-44ea-8bd1-71f6d9da9dec" providerId="ADAL" clId="{42A6F1C5-53D2-4848-9E6F-5902AFD5EAD4}" dt="2024-02-22T13:57:28.358" v="12645"/>
          <ac:spMkLst>
            <pc:docMk/>
            <pc:sldMk cId="241920681" sldId="2147481431"/>
            <ac:spMk id="27" creationId="{9B1642DC-19CF-701F-D91D-F0CEDC483E77}"/>
          </ac:spMkLst>
        </pc:spChg>
        <pc:spChg chg="mod">
          <ac:chgData name="RUFFET, Malcolm" userId="ef33cb5d-7c5f-44ea-8bd1-71f6d9da9dec" providerId="ADAL" clId="{42A6F1C5-53D2-4848-9E6F-5902AFD5EAD4}" dt="2024-02-22T13:57:28.358" v="12645"/>
          <ac:spMkLst>
            <pc:docMk/>
            <pc:sldMk cId="241920681" sldId="2147481431"/>
            <ac:spMk id="28" creationId="{27BB2581-9FC1-19D3-7029-BEC0F656E8F2}"/>
          </ac:spMkLst>
        </pc:spChg>
        <pc:spChg chg="mod">
          <ac:chgData name="RUFFET, Malcolm" userId="ef33cb5d-7c5f-44ea-8bd1-71f6d9da9dec" providerId="ADAL" clId="{42A6F1C5-53D2-4848-9E6F-5902AFD5EAD4}" dt="2024-02-22T13:57:28.358" v="12645"/>
          <ac:spMkLst>
            <pc:docMk/>
            <pc:sldMk cId="241920681" sldId="2147481431"/>
            <ac:spMk id="29" creationId="{387D347E-E521-A2EB-9580-974972D52953}"/>
          </ac:spMkLst>
        </pc:spChg>
        <pc:spChg chg="mod">
          <ac:chgData name="RUFFET, Malcolm" userId="ef33cb5d-7c5f-44ea-8bd1-71f6d9da9dec" providerId="ADAL" clId="{42A6F1C5-53D2-4848-9E6F-5902AFD5EAD4}" dt="2024-02-22T13:57:28.358" v="12645"/>
          <ac:spMkLst>
            <pc:docMk/>
            <pc:sldMk cId="241920681" sldId="2147481431"/>
            <ac:spMk id="30" creationId="{9CE84770-8C70-2777-499E-53BC55D4CD2D}"/>
          </ac:spMkLst>
        </pc:spChg>
        <pc:spChg chg="mod">
          <ac:chgData name="RUFFET, Malcolm" userId="ef33cb5d-7c5f-44ea-8bd1-71f6d9da9dec" providerId="ADAL" clId="{42A6F1C5-53D2-4848-9E6F-5902AFD5EAD4}" dt="2024-02-22T13:57:28.358" v="12645"/>
          <ac:spMkLst>
            <pc:docMk/>
            <pc:sldMk cId="241920681" sldId="2147481431"/>
            <ac:spMk id="31" creationId="{4B3688BA-3EA1-995D-4885-94DB118E21E1}"/>
          </ac:spMkLst>
        </pc:spChg>
        <pc:spChg chg="del">
          <ac:chgData name="RUFFET, Malcolm" userId="ef33cb5d-7c5f-44ea-8bd1-71f6d9da9dec" providerId="ADAL" clId="{42A6F1C5-53D2-4848-9E6F-5902AFD5EAD4}" dt="2024-02-22T13:57:23.926" v="12644" actId="478"/>
          <ac:spMkLst>
            <pc:docMk/>
            <pc:sldMk cId="241920681" sldId="2147481431"/>
            <ac:spMk id="55" creationId="{11204DB6-0F33-4DFC-924E-744533C172AB}"/>
          </ac:spMkLst>
        </pc:spChg>
        <pc:grpChg chg="del">
          <ac:chgData name="RUFFET, Malcolm" userId="ef33cb5d-7c5f-44ea-8bd1-71f6d9da9dec" providerId="ADAL" clId="{42A6F1C5-53D2-4848-9E6F-5902AFD5EAD4}" dt="2024-02-22T13:57:23.926" v="12644" actId="478"/>
          <ac:grpSpMkLst>
            <pc:docMk/>
            <pc:sldMk cId="241920681" sldId="2147481431"/>
            <ac:grpSpMk id="3" creationId="{56F81753-8858-4E3D-9A94-96138CC10224}"/>
          </ac:grpSpMkLst>
        </pc:grpChg>
        <pc:grpChg chg="add mod">
          <ac:chgData name="RUFFET, Malcolm" userId="ef33cb5d-7c5f-44ea-8bd1-71f6d9da9dec" providerId="ADAL" clId="{42A6F1C5-53D2-4848-9E6F-5902AFD5EAD4}" dt="2024-02-22T13:57:28.358" v="12645"/>
          <ac:grpSpMkLst>
            <pc:docMk/>
            <pc:sldMk cId="241920681" sldId="2147481431"/>
            <ac:grpSpMk id="7" creationId="{EF0A36C6-45CE-EC3E-64BB-E0CA6855C00A}"/>
          </ac:grpSpMkLst>
        </pc:grpChg>
        <pc:grpChg chg="del">
          <ac:chgData name="RUFFET, Malcolm" userId="ef33cb5d-7c5f-44ea-8bd1-71f6d9da9dec" providerId="ADAL" clId="{42A6F1C5-53D2-4848-9E6F-5902AFD5EAD4}" dt="2024-02-22T13:57:23.926" v="12644" actId="478"/>
          <ac:grpSpMkLst>
            <pc:docMk/>
            <pc:sldMk cId="241920681" sldId="2147481431"/>
            <ac:grpSpMk id="13" creationId="{79DF0CEC-9A3D-4DBF-B3D9-526524F38967}"/>
          </ac:grpSpMkLst>
        </pc:grpChg>
        <pc:grpChg chg="del">
          <ac:chgData name="RUFFET, Malcolm" userId="ef33cb5d-7c5f-44ea-8bd1-71f6d9da9dec" providerId="ADAL" clId="{42A6F1C5-53D2-4848-9E6F-5902AFD5EAD4}" dt="2024-02-22T13:57:23.926" v="12644" actId="478"/>
          <ac:grpSpMkLst>
            <pc:docMk/>
            <pc:sldMk cId="241920681" sldId="2147481431"/>
            <ac:grpSpMk id="14" creationId="{21672AB6-6434-4AA0-92AB-75EA8D50B6A4}"/>
          </ac:grpSpMkLst>
        </pc:grpChg>
        <pc:picChg chg="mod">
          <ac:chgData name="RUFFET, Malcolm" userId="ef33cb5d-7c5f-44ea-8bd1-71f6d9da9dec" providerId="ADAL" clId="{42A6F1C5-53D2-4848-9E6F-5902AFD5EAD4}" dt="2024-02-22T13:59:20.706" v="12668"/>
          <ac:picMkLst>
            <pc:docMk/>
            <pc:sldMk cId="241920681" sldId="2147481431"/>
            <ac:picMk id="10" creationId="{0F91385B-30AA-033D-3254-292A61A21F06}"/>
          </ac:picMkLst>
        </pc:picChg>
      </pc:sldChg>
      <pc:sldChg chg="addSp delSp modSp add mod">
        <pc:chgData name="RUFFET, Malcolm" userId="ef33cb5d-7c5f-44ea-8bd1-71f6d9da9dec" providerId="ADAL" clId="{42A6F1C5-53D2-4848-9E6F-5902AFD5EAD4}" dt="2024-02-22T14:11:29.039" v="12703" actId="1076"/>
        <pc:sldMkLst>
          <pc:docMk/>
          <pc:sldMk cId="2667478616" sldId="2147481432"/>
        </pc:sldMkLst>
        <pc:spChg chg="del">
          <ac:chgData name="RUFFET, Malcolm" userId="ef33cb5d-7c5f-44ea-8bd1-71f6d9da9dec" providerId="ADAL" clId="{42A6F1C5-53D2-4848-9E6F-5902AFD5EAD4}" dt="2024-02-22T13:59:50.728" v="12671" actId="478"/>
          <ac:spMkLst>
            <pc:docMk/>
            <pc:sldMk cId="2667478616" sldId="2147481432"/>
            <ac:spMk id="2" creationId="{756AB06D-04D6-4CD0-95DF-4D6FC9658398}"/>
          </ac:spMkLst>
        </pc:spChg>
        <pc:spChg chg="del">
          <ac:chgData name="RUFFET, Malcolm" userId="ef33cb5d-7c5f-44ea-8bd1-71f6d9da9dec" providerId="ADAL" clId="{42A6F1C5-53D2-4848-9E6F-5902AFD5EAD4}" dt="2024-02-22T13:59:50.728" v="12671" actId="478"/>
          <ac:spMkLst>
            <pc:docMk/>
            <pc:sldMk cId="2667478616" sldId="2147481432"/>
            <ac:spMk id="4" creationId="{9468B0C8-84D4-4C94-A621-5B7257E1963A}"/>
          </ac:spMkLst>
        </pc:spChg>
        <pc:spChg chg="mod">
          <ac:chgData name="RUFFET, Malcolm" userId="ef33cb5d-7c5f-44ea-8bd1-71f6d9da9dec" providerId="ADAL" clId="{42A6F1C5-53D2-4848-9E6F-5902AFD5EAD4}" dt="2024-02-22T14:00:03.513" v="12674" actId="242"/>
          <ac:spMkLst>
            <pc:docMk/>
            <pc:sldMk cId="2667478616" sldId="2147481432"/>
            <ac:spMk id="5" creationId="{345F714E-B0DB-4AC0-A544-A6932E332BDD}"/>
          </ac:spMkLst>
        </pc:spChg>
        <pc:spChg chg="del">
          <ac:chgData name="RUFFET, Malcolm" userId="ef33cb5d-7c5f-44ea-8bd1-71f6d9da9dec" providerId="ADAL" clId="{42A6F1C5-53D2-4848-9E6F-5902AFD5EAD4}" dt="2024-02-22T13:59:50.728" v="12671" actId="478"/>
          <ac:spMkLst>
            <pc:docMk/>
            <pc:sldMk cId="2667478616" sldId="2147481432"/>
            <ac:spMk id="6" creationId="{B4508118-EF09-4239-AD30-24FDC178CAB0}"/>
          </ac:spMkLst>
        </pc:spChg>
        <pc:spChg chg="add mod">
          <ac:chgData name="RUFFET, Malcolm" userId="ef33cb5d-7c5f-44ea-8bd1-71f6d9da9dec" providerId="ADAL" clId="{42A6F1C5-53D2-4848-9E6F-5902AFD5EAD4}" dt="2024-02-22T14:11:25.298" v="12702" actId="1076"/>
          <ac:spMkLst>
            <pc:docMk/>
            <pc:sldMk cId="2667478616" sldId="2147481432"/>
            <ac:spMk id="7" creationId="{F1B2EEE1-1304-879D-3D34-7069FE995678}"/>
          </ac:spMkLst>
        </pc:spChg>
        <pc:spChg chg="del">
          <ac:chgData name="RUFFET, Malcolm" userId="ef33cb5d-7c5f-44ea-8bd1-71f6d9da9dec" providerId="ADAL" clId="{42A6F1C5-53D2-4848-9E6F-5902AFD5EAD4}" dt="2024-02-22T13:59:53.332" v="12672" actId="478"/>
          <ac:spMkLst>
            <pc:docMk/>
            <pc:sldMk cId="2667478616" sldId="2147481432"/>
            <ac:spMk id="9" creationId="{60D0E2B2-3383-4BC0-A62C-3131146AFDDB}"/>
          </ac:spMkLst>
        </pc:spChg>
        <pc:spChg chg="add mod">
          <ac:chgData name="RUFFET, Malcolm" userId="ef33cb5d-7c5f-44ea-8bd1-71f6d9da9dec" providerId="ADAL" clId="{42A6F1C5-53D2-4848-9E6F-5902AFD5EAD4}" dt="2024-02-22T14:11:25.298" v="12702" actId="1076"/>
          <ac:spMkLst>
            <pc:docMk/>
            <pc:sldMk cId="2667478616" sldId="2147481432"/>
            <ac:spMk id="10" creationId="{3AF24337-FFCF-10B4-4BCC-AA6E0C5C5917}"/>
          </ac:spMkLst>
        </pc:spChg>
        <pc:spChg chg="add mod">
          <ac:chgData name="RUFFET, Malcolm" userId="ef33cb5d-7c5f-44ea-8bd1-71f6d9da9dec" providerId="ADAL" clId="{42A6F1C5-53D2-4848-9E6F-5902AFD5EAD4}" dt="2024-02-22T14:11:25.298" v="12702" actId="1076"/>
          <ac:spMkLst>
            <pc:docMk/>
            <pc:sldMk cId="2667478616" sldId="2147481432"/>
            <ac:spMk id="15" creationId="{E484EDC2-FEC4-3F93-0F3F-03417C6C3C01}"/>
          </ac:spMkLst>
        </pc:spChg>
        <pc:spChg chg="add mod">
          <ac:chgData name="RUFFET, Malcolm" userId="ef33cb5d-7c5f-44ea-8bd1-71f6d9da9dec" providerId="ADAL" clId="{42A6F1C5-53D2-4848-9E6F-5902AFD5EAD4}" dt="2024-02-22T14:11:29.039" v="12703" actId="1076"/>
          <ac:spMkLst>
            <pc:docMk/>
            <pc:sldMk cId="2667478616" sldId="2147481432"/>
            <ac:spMk id="16" creationId="{159C1621-7D77-FA46-578E-2141E9507077}"/>
          </ac:spMkLst>
        </pc:spChg>
        <pc:spChg chg="add mod">
          <ac:chgData name="RUFFET, Malcolm" userId="ef33cb5d-7c5f-44ea-8bd1-71f6d9da9dec" providerId="ADAL" clId="{42A6F1C5-53D2-4848-9E6F-5902AFD5EAD4}" dt="2024-02-22T14:11:25.298" v="12702" actId="1076"/>
          <ac:spMkLst>
            <pc:docMk/>
            <pc:sldMk cId="2667478616" sldId="2147481432"/>
            <ac:spMk id="17" creationId="{33A9EA35-D98F-D2A4-5FD7-276A8884346D}"/>
          </ac:spMkLst>
        </pc:spChg>
        <pc:spChg chg="del">
          <ac:chgData name="RUFFET, Malcolm" userId="ef33cb5d-7c5f-44ea-8bd1-71f6d9da9dec" providerId="ADAL" clId="{42A6F1C5-53D2-4848-9E6F-5902AFD5EAD4}" dt="2024-02-22T13:59:50.728" v="12671" actId="478"/>
          <ac:spMkLst>
            <pc:docMk/>
            <pc:sldMk cId="2667478616" sldId="2147481432"/>
            <ac:spMk id="18" creationId="{74989A3D-795B-4B73-8CAF-FC5B261C7543}"/>
          </ac:spMkLst>
        </pc:spChg>
        <pc:spChg chg="del">
          <ac:chgData name="RUFFET, Malcolm" userId="ef33cb5d-7c5f-44ea-8bd1-71f6d9da9dec" providerId="ADAL" clId="{42A6F1C5-53D2-4848-9E6F-5902AFD5EAD4}" dt="2024-02-22T13:59:50.728" v="12671" actId="478"/>
          <ac:spMkLst>
            <pc:docMk/>
            <pc:sldMk cId="2667478616" sldId="2147481432"/>
            <ac:spMk id="19" creationId="{C9E0D33E-62FE-4CDB-B752-02DFE18B0FC5}"/>
          </ac:spMkLst>
        </pc:spChg>
        <pc:spChg chg="del">
          <ac:chgData name="RUFFET, Malcolm" userId="ef33cb5d-7c5f-44ea-8bd1-71f6d9da9dec" providerId="ADAL" clId="{42A6F1C5-53D2-4848-9E6F-5902AFD5EAD4}" dt="2024-02-22T13:59:50.728" v="12671" actId="478"/>
          <ac:spMkLst>
            <pc:docMk/>
            <pc:sldMk cId="2667478616" sldId="2147481432"/>
            <ac:spMk id="20" creationId="{4E71760B-CE53-480D-B911-ECC706836BB8}"/>
          </ac:spMkLst>
        </pc:spChg>
        <pc:spChg chg="mod">
          <ac:chgData name="RUFFET, Malcolm" userId="ef33cb5d-7c5f-44ea-8bd1-71f6d9da9dec" providerId="ADAL" clId="{42A6F1C5-53D2-4848-9E6F-5902AFD5EAD4}" dt="2024-02-22T14:11:25.298" v="12702" actId="1076"/>
          <ac:spMkLst>
            <pc:docMk/>
            <pc:sldMk cId="2667478616" sldId="2147481432"/>
            <ac:spMk id="23" creationId="{7AD43E0E-8876-ECEC-60D6-C8F01D8C9D94}"/>
          </ac:spMkLst>
        </pc:spChg>
        <pc:spChg chg="mod">
          <ac:chgData name="RUFFET, Malcolm" userId="ef33cb5d-7c5f-44ea-8bd1-71f6d9da9dec" providerId="ADAL" clId="{42A6F1C5-53D2-4848-9E6F-5902AFD5EAD4}" dt="2024-02-22T14:11:25.298" v="12702" actId="1076"/>
          <ac:spMkLst>
            <pc:docMk/>
            <pc:sldMk cId="2667478616" sldId="2147481432"/>
            <ac:spMk id="24" creationId="{A66C81E4-1566-8F0D-CC90-CAB9D7C03405}"/>
          </ac:spMkLst>
        </pc:spChg>
        <pc:spChg chg="mod">
          <ac:chgData name="RUFFET, Malcolm" userId="ef33cb5d-7c5f-44ea-8bd1-71f6d9da9dec" providerId="ADAL" clId="{42A6F1C5-53D2-4848-9E6F-5902AFD5EAD4}" dt="2024-02-22T14:11:25.298" v="12702" actId="1076"/>
          <ac:spMkLst>
            <pc:docMk/>
            <pc:sldMk cId="2667478616" sldId="2147481432"/>
            <ac:spMk id="26" creationId="{A5367D0A-15D0-FA4B-6D6C-EEA254260813}"/>
          </ac:spMkLst>
        </pc:spChg>
        <pc:spChg chg="mod">
          <ac:chgData name="RUFFET, Malcolm" userId="ef33cb5d-7c5f-44ea-8bd1-71f6d9da9dec" providerId="ADAL" clId="{42A6F1C5-53D2-4848-9E6F-5902AFD5EAD4}" dt="2024-02-22T14:11:25.298" v="12702" actId="1076"/>
          <ac:spMkLst>
            <pc:docMk/>
            <pc:sldMk cId="2667478616" sldId="2147481432"/>
            <ac:spMk id="27" creationId="{6B52ED45-923D-6CC4-3FE4-3E27BFF0BA61}"/>
          </ac:spMkLst>
        </pc:spChg>
        <pc:spChg chg="mod">
          <ac:chgData name="RUFFET, Malcolm" userId="ef33cb5d-7c5f-44ea-8bd1-71f6d9da9dec" providerId="ADAL" clId="{42A6F1C5-53D2-4848-9E6F-5902AFD5EAD4}" dt="2024-02-22T14:11:25.298" v="12702" actId="1076"/>
          <ac:spMkLst>
            <pc:docMk/>
            <pc:sldMk cId="2667478616" sldId="2147481432"/>
            <ac:spMk id="28" creationId="{EB72B5FD-2B76-AF28-4F85-0AA164097359}"/>
          </ac:spMkLst>
        </pc:spChg>
        <pc:spChg chg="mod">
          <ac:chgData name="RUFFET, Malcolm" userId="ef33cb5d-7c5f-44ea-8bd1-71f6d9da9dec" providerId="ADAL" clId="{42A6F1C5-53D2-4848-9E6F-5902AFD5EAD4}" dt="2024-02-22T14:11:25.298" v="12702" actId="1076"/>
          <ac:spMkLst>
            <pc:docMk/>
            <pc:sldMk cId="2667478616" sldId="2147481432"/>
            <ac:spMk id="29" creationId="{7470AE1F-8D2B-0905-DF65-503A766D36F2}"/>
          </ac:spMkLst>
        </pc:spChg>
        <pc:spChg chg="mod">
          <ac:chgData name="RUFFET, Malcolm" userId="ef33cb5d-7c5f-44ea-8bd1-71f6d9da9dec" providerId="ADAL" clId="{42A6F1C5-53D2-4848-9E6F-5902AFD5EAD4}" dt="2024-02-22T14:11:25.298" v="12702" actId="1076"/>
          <ac:spMkLst>
            <pc:docMk/>
            <pc:sldMk cId="2667478616" sldId="2147481432"/>
            <ac:spMk id="30" creationId="{FB1152A7-939B-B238-506A-EB675F184095}"/>
          </ac:spMkLst>
        </pc:spChg>
        <pc:spChg chg="mod">
          <ac:chgData name="RUFFET, Malcolm" userId="ef33cb5d-7c5f-44ea-8bd1-71f6d9da9dec" providerId="ADAL" clId="{42A6F1C5-53D2-4848-9E6F-5902AFD5EAD4}" dt="2024-02-22T14:11:25.298" v="12702" actId="1076"/>
          <ac:spMkLst>
            <pc:docMk/>
            <pc:sldMk cId="2667478616" sldId="2147481432"/>
            <ac:spMk id="31" creationId="{D53CC9DD-E2E1-CA0B-1707-3FA68BE5BD3F}"/>
          </ac:spMkLst>
        </pc:spChg>
        <pc:spChg chg="mod">
          <ac:chgData name="RUFFET, Malcolm" userId="ef33cb5d-7c5f-44ea-8bd1-71f6d9da9dec" providerId="ADAL" clId="{42A6F1C5-53D2-4848-9E6F-5902AFD5EAD4}" dt="2024-02-22T14:11:25.298" v="12702" actId="1076"/>
          <ac:spMkLst>
            <pc:docMk/>
            <pc:sldMk cId="2667478616" sldId="2147481432"/>
            <ac:spMk id="32" creationId="{35A24502-E8A4-20C0-D7C1-C4702DFBD86B}"/>
          </ac:spMkLst>
        </pc:spChg>
        <pc:spChg chg="mod">
          <ac:chgData name="RUFFET, Malcolm" userId="ef33cb5d-7c5f-44ea-8bd1-71f6d9da9dec" providerId="ADAL" clId="{42A6F1C5-53D2-4848-9E6F-5902AFD5EAD4}" dt="2024-02-22T14:11:25.298" v="12702" actId="1076"/>
          <ac:spMkLst>
            <pc:docMk/>
            <pc:sldMk cId="2667478616" sldId="2147481432"/>
            <ac:spMk id="36" creationId="{68B41304-2932-069A-D484-DBC08389C602}"/>
          </ac:spMkLst>
        </pc:spChg>
        <pc:spChg chg="mod">
          <ac:chgData name="RUFFET, Malcolm" userId="ef33cb5d-7c5f-44ea-8bd1-71f6d9da9dec" providerId="ADAL" clId="{42A6F1C5-53D2-4848-9E6F-5902AFD5EAD4}" dt="2024-02-22T14:11:25.298" v="12702" actId="1076"/>
          <ac:spMkLst>
            <pc:docMk/>
            <pc:sldMk cId="2667478616" sldId="2147481432"/>
            <ac:spMk id="37" creationId="{EE3B57A8-C274-9EF8-32BB-3C59ED9C6021}"/>
          </ac:spMkLst>
        </pc:spChg>
        <pc:spChg chg="mod">
          <ac:chgData name="RUFFET, Malcolm" userId="ef33cb5d-7c5f-44ea-8bd1-71f6d9da9dec" providerId="ADAL" clId="{42A6F1C5-53D2-4848-9E6F-5902AFD5EAD4}" dt="2024-02-22T14:11:25.298" v="12702" actId="1076"/>
          <ac:spMkLst>
            <pc:docMk/>
            <pc:sldMk cId="2667478616" sldId="2147481432"/>
            <ac:spMk id="39" creationId="{68776F4F-E72B-9780-2F72-CFEF305AE7F7}"/>
          </ac:spMkLst>
        </pc:spChg>
        <pc:spChg chg="mod">
          <ac:chgData name="RUFFET, Malcolm" userId="ef33cb5d-7c5f-44ea-8bd1-71f6d9da9dec" providerId="ADAL" clId="{42A6F1C5-53D2-4848-9E6F-5902AFD5EAD4}" dt="2024-02-22T14:11:25.298" v="12702" actId="1076"/>
          <ac:spMkLst>
            <pc:docMk/>
            <pc:sldMk cId="2667478616" sldId="2147481432"/>
            <ac:spMk id="40" creationId="{3A5AA3B6-725F-9028-E8F2-E38DBED16DFD}"/>
          </ac:spMkLst>
        </pc:spChg>
        <pc:spChg chg="mod">
          <ac:chgData name="RUFFET, Malcolm" userId="ef33cb5d-7c5f-44ea-8bd1-71f6d9da9dec" providerId="ADAL" clId="{42A6F1C5-53D2-4848-9E6F-5902AFD5EAD4}" dt="2024-02-22T14:11:25.298" v="12702" actId="1076"/>
          <ac:spMkLst>
            <pc:docMk/>
            <pc:sldMk cId="2667478616" sldId="2147481432"/>
            <ac:spMk id="41" creationId="{5F21E99E-3526-DA61-9406-D3D0684B0B1D}"/>
          </ac:spMkLst>
        </pc:spChg>
        <pc:spChg chg="mod">
          <ac:chgData name="RUFFET, Malcolm" userId="ef33cb5d-7c5f-44ea-8bd1-71f6d9da9dec" providerId="ADAL" clId="{42A6F1C5-53D2-4848-9E6F-5902AFD5EAD4}" dt="2024-02-22T14:11:25.298" v="12702" actId="1076"/>
          <ac:spMkLst>
            <pc:docMk/>
            <pc:sldMk cId="2667478616" sldId="2147481432"/>
            <ac:spMk id="42" creationId="{38B858B2-3768-EBE6-FE9F-DC4FDD5D72C7}"/>
          </ac:spMkLst>
        </pc:spChg>
        <pc:spChg chg="add mod">
          <ac:chgData name="RUFFET, Malcolm" userId="ef33cb5d-7c5f-44ea-8bd1-71f6d9da9dec" providerId="ADAL" clId="{42A6F1C5-53D2-4848-9E6F-5902AFD5EAD4}" dt="2024-02-22T14:11:25.298" v="12702" actId="1076"/>
          <ac:spMkLst>
            <pc:docMk/>
            <pc:sldMk cId="2667478616" sldId="2147481432"/>
            <ac:spMk id="43" creationId="{FC7740A1-3782-37EC-2922-9F21AA474B4D}"/>
          </ac:spMkLst>
        </pc:spChg>
        <pc:spChg chg="add mod">
          <ac:chgData name="RUFFET, Malcolm" userId="ef33cb5d-7c5f-44ea-8bd1-71f6d9da9dec" providerId="ADAL" clId="{42A6F1C5-53D2-4848-9E6F-5902AFD5EAD4}" dt="2024-02-22T14:11:25.298" v="12702" actId="1076"/>
          <ac:spMkLst>
            <pc:docMk/>
            <pc:sldMk cId="2667478616" sldId="2147481432"/>
            <ac:spMk id="45" creationId="{2F848604-1019-0A8A-6A42-A490B0D4CEC2}"/>
          </ac:spMkLst>
        </pc:spChg>
        <pc:spChg chg="mod">
          <ac:chgData name="RUFFET, Malcolm" userId="ef33cb5d-7c5f-44ea-8bd1-71f6d9da9dec" providerId="ADAL" clId="{42A6F1C5-53D2-4848-9E6F-5902AFD5EAD4}" dt="2024-02-22T14:11:25.298" v="12702" actId="1076"/>
          <ac:spMkLst>
            <pc:docMk/>
            <pc:sldMk cId="2667478616" sldId="2147481432"/>
            <ac:spMk id="48" creationId="{2A9F5E44-EF48-2C17-CB7E-FA5D29D2391D}"/>
          </ac:spMkLst>
        </pc:spChg>
        <pc:spChg chg="mod">
          <ac:chgData name="RUFFET, Malcolm" userId="ef33cb5d-7c5f-44ea-8bd1-71f6d9da9dec" providerId="ADAL" clId="{42A6F1C5-53D2-4848-9E6F-5902AFD5EAD4}" dt="2024-02-22T14:11:25.298" v="12702" actId="1076"/>
          <ac:spMkLst>
            <pc:docMk/>
            <pc:sldMk cId="2667478616" sldId="2147481432"/>
            <ac:spMk id="49" creationId="{14C3BB41-390C-C589-3DC4-2989CB869BEA}"/>
          </ac:spMkLst>
        </pc:spChg>
        <pc:spChg chg="mod">
          <ac:chgData name="RUFFET, Malcolm" userId="ef33cb5d-7c5f-44ea-8bd1-71f6d9da9dec" providerId="ADAL" clId="{42A6F1C5-53D2-4848-9E6F-5902AFD5EAD4}" dt="2024-02-22T14:11:25.298" v="12702" actId="1076"/>
          <ac:spMkLst>
            <pc:docMk/>
            <pc:sldMk cId="2667478616" sldId="2147481432"/>
            <ac:spMk id="50" creationId="{EBF99590-6255-FBBF-0E0C-B9FA07FAF7B0}"/>
          </ac:spMkLst>
        </pc:spChg>
        <pc:spChg chg="mod">
          <ac:chgData name="RUFFET, Malcolm" userId="ef33cb5d-7c5f-44ea-8bd1-71f6d9da9dec" providerId="ADAL" clId="{42A6F1C5-53D2-4848-9E6F-5902AFD5EAD4}" dt="2024-02-22T14:11:25.298" v="12702" actId="1076"/>
          <ac:spMkLst>
            <pc:docMk/>
            <pc:sldMk cId="2667478616" sldId="2147481432"/>
            <ac:spMk id="51" creationId="{DDDA940A-486C-B2C0-EEEF-3CE02AAA1879}"/>
          </ac:spMkLst>
        </pc:spChg>
        <pc:spChg chg="mod">
          <ac:chgData name="RUFFET, Malcolm" userId="ef33cb5d-7c5f-44ea-8bd1-71f6d9da9dec" providerId="ADAL" clId="{42A6F1C5-53D2-4848-9E6F-5902AFD5EAD4}" dt="2024-02-22T14:11:25.298" v="12702" actId="1076"/>
          <ac:spMkLst>
            <pc:docMk/>
            <pc:sldMk cId="2667478616" sldId="2147481432"/>
            <ac:spMk id="52" creationId="{943DE936-F526-6EAE-2480-C9417033C658}"/>
          </ac:spMkLst>
        </pc:spChg>
        <pc:spChg chg="del">
          <ac:chgData name="RUFFET, Malcolm" userId="ef33cb5d-7c5f-44ea-8bd1-71f6d9da9dec" providerId="ADAL" clId="{42A6F1C5-53D2-4848-9E6F-5902AFD5EAD4}" dt="2024-02-22T13:59:50.728" v="12671" actId="478"/>
          <ac:spMkLst>
            <pc:docMk/>
            <pc:sldMk cId="2667478616" sldId="2147481432"/>
            <ac:spMk id="55" creationId="{11204DB6-0F33-4DFC-924E-744533C172AB}"/>
          </ac:spMkLst>
        </pc:spChg>
        <pc:spChg chg="mod">
          <ac:chgData name="RUFFET, Malcolm" userId="ef33cb5d-7c5f-44ea-8bd1-71f6d9da9dec" providerId="ADAL" clId="{42A6F1C5-53D2-4848-9E6F-5902AFD5EAD4}" dt="2024-02-22T14:11:25.298" v="12702" actId="1076"/>
          <ac:spMkLst>
            <pc:docMk/>
            <pc:sldMk cId="2667478616" sldId="2147481432"/>
            <ac:spMk id="65" creationId="{996272E6-B133-7D67-C859-00D6A71436B6}"/>
          </ac:spMkLst>
        </pc:spChg>
        <pc:spChg chg="mod">
          <ac:chgData name="RUFFET, Malcolm" userId="ef33cb5d-7c5f-44ea-8bd1-71f6d9da9dec" providerId="ADAL" clId="{42A6F1C5-53D2-4848-9E6F-5902AFD5EAD4}" dt="2024-02-22T14:11:25.298" v="12702" actId="1076"/>
          <ac:spMkLst>
            <pc:docMk/>
            <pc:sldMk cId="2667478616" sldId="2147481432"/>
            <ac:spMk id="67" creationId="{B35F5CB4-BA9A-4AEC-7AE2-C1EE336D1551}"/>
          </ac:spMkLst>
        </pc:spChg>
        <pc:spChg chg="mod">
          <ac:chgData name="RUFFET, Malcolm" userId="ef33cb5d-7c5f-44ea-8bd1-71f6d9da9dec" providerId="ADAL" clId="{42A6F1C5-53D2-4848-9E6F-5902AFD5EAD4}" dt="2024-02-22T14:11:25.298" v="12702" actId="1076"/>
          <ac:spMkLst>
            <pc:docMk/>
            <pc:sldMk cId="2667478616" sldId="2147481432"/>
            <ac:spMk id="68" creationId="{47ADA796-2390-51AE-AF8D-194CDE5EC78E}"/>
          </ac:spMkLst>
        </pc:spChg>
        <pc:spChg chg="mod">
          <ac:chgData name="RUFFET, Malcolm" userId="ef33cb5d-7c5f-44ea-8bd1-71f6d9da9dec" providerId="ADAL" clId="{42A6F1C5-53D2-4848-9E6F-5902AFD5EAD4}" dt="2024-02-22T14:11:25.298" v="12702" actId="1076"/>
          <ac:spMkLst>
            <pc:docMk/>
            <pc:sldMk cId="2667478616" sldId="2147481432"/>
            <ac:spMk id="69" creationId="{F16FF30C-BE83-517B-B6DC-982EB0FBFF65}"/>
          </ac:spMkLst>
        </pc:spChg>
        <pc:spChg chg="mod">
          <ac:chgData name="RUFFET, Malcolm" userId="ef33cb5d-7c5f-44ea-8bd1-71f6d9da9dec" providerId="ADAL" clId="{42A6F1C5-53D2-4848-9E6F-5902AFD5EAD4}" dt="2024-02-22T14:11:25.298" v="12702" actId="1076"/>
          <ac:spMkLst>
            <pc:docMk/>
            <pc:sldMk cId="2667478616" sldId="2147481432"/>
            <ac:spMk id="71" creationId="{FB065A2F-F605-42AD-35D0-5F59418B87B0}"/>
          </ac:spMkLst>
        </pc:spChg>
        <pc:spChg chg="mod">
          <ac:chgData name="RUFFET, Malcolm" userId="ef33cb5d-7c5f-44ea-8bd1-71f6d9da9dec" providerId="ADAL" clId="{42A6F1C5-53D2-4848-9E6F-5902AFD5EAD4}" dt="2024-02-22T14:11:25.298" v="12702" actId="1076"/>
          <ac:spMkLst>
            <pc:docMk/>
            <pc:sldMk cId="2667478616" sldId="2147481432"/>
            <ac:spMk id="73" creationId="{823660CC-ACCA-C3BB-C79F-4339E57E68F3}"/>
          </ac:spMkLst>
        </pc:spChg>
        <pc:spChg chg="mod">
          <ac:chgData name="RUFFET, Malcolm" userId="ef33cb5d-7c5f-44ea-8bd1-71f6d9da9dec" providerId="ADAL" clId="{42A6F1C5-53D2-4848-9E6F-5902AFD5EAD4}" dt="2024-02-22T14:11:25.298" v="12702" actId="1076"/>
          <ac:spMkLst>
            <pc:docMk/>
            <pc:sldMk cId="2667478616" sldId="2147481432"/>
            <ac:spMk id="74" creationId="{6B57F580-B820-A357-4338-804B654A589A}"/>
          </ac:spMkLst>
        </pc:spChg>
        <pc:spChg chg="mod">
          <ac:chgData name="RUFFET, Malcolm" userId="ef33cb5d-7c5f-44ea-8bd1-71f6d9da9dec" providerId="ADAL" clId="{42A6F1C5-53D2-4848-9E6F-5902AFD5EAD4}" dt="2024-02-22T14:11:25.298" v="12702" actId="1076"/>
          <ac:spMkLst>
            <pc:docMk/>
            <pc:sldMk cId="2667478616" sldId="2147481432"/>
            <ac:spMk id="75" creationId="{3F46A4D4-C0A9-BCE0-F701-2BE9B94663CE}"/>
          </ac:spMkLst>
        </pc:spChg>
        <pc:spChg chg="mod">
          <ac:chgData name="RUFFET, Malcolm" userId="ef33cb5d-7c5f-44ea-8bd1-71f6d9da9dec" providerId="ADAL" clId="{42A6F1C5-53D2-4848-9E6F-5902AFD5EAD4}" dt="2024-02-22T14:11:25.298" v="12702" actId="1076"/>
          <ac:spMkLst>
            <pc:docMk/>
            <pc:sldMk cId="2667478616" sldId="2147481432"/>
            <ac:spMk id="76" creationId="{630FD29B-DBE1-C1F7-0EFC-665283FA692E}"/>
          </ac:spMkLst>
        </pc:spChg>
        <pc:spChg chg="mod">
          <ac:chgData name="RUFFET, Malcolm" userId="ef33cb5d-7c5f-44ea-8bd1-71f6d9da9dec" providerId="ADAL" clId="{42A6F1C5-53D2-4848-9E6F-5902AFD5EAD4}" dt="2024-02-22T14:11:25.298" v="12702" actId="1076"/>
          <ac:spMkLst>
            <pc:docMk/>
            <pc:sldMk cId="2667478616" sldId="2147481432"/>
            <ac:spMk id="77" creationId="{16ED4388-4931-E808-65F8-6F3178B815DD}"/>
          </ac:spMkLst>
        </pc:spChg>
        <pc:spChg chg="mod">
          <ac:chgData name="RUFFET, Malcolm" userId="ef33cb5d-7c5f-44ea-8bd1-71f6d9da9dec" providerId="ADAL" clId="{42A6F1C5-53D2-4848-9E6F-5902AFD5EAD4}" dt="2024-02-22T14:11:25.298" v="12702" actId="1076"/>
          <ac:spMkLst>
            <pc:docMk/>
            <pc:sldMk cId="2667478616" sldId="2147481432"/>
            <ac:spMk id="78" creationId="{5580B3CB-FE6C-3AA1-F8E8-E7B8EA92866C}"/>
          </ac:spMkLst>
        </pc:spChg>
        <pc:spChg chg="mod">
          <ac:chgData name="RUFFET, Malcolm" userId="ef33cb5d-7c5f-44ea-8bd1-71f6d9da9dec" providerId="ADAL" clId="{42A6F1C5-53D2-4848-9E6F-5902AFD5EAD4}" dt="2024-02-22T14:11:25.298" v="12702" actId="1076"/>
          <ac:spMkLst>
            <pc:docMk/>
            <pc:sldMk cId="2667478616" sldId="2147481432"/>
            <ac:spMk id="79" creationId="{569FD097-F69B-F859-C5E4-6AE5E29D1FF7}"/>
          </ac:spMkLst>
        </pc:spChg>
        <pc:spChg chg="mod">
          <ac:chgData name="RUFFET, Malcolm" userId="ef33cb5d-7c5f-44ea-8bd1-71f6d9da9dec" providerId="ADAL" clId="{42A6F1C5-53D2-4848-9E6F-5902AFD5EAD4}" dt="2024-02-22T14:11:25.298" v="12702" actId="1076"/>
          <ac:spMkLst>
            <pc:docMk/>
            <pc:sldMk cId="2667478616" sldId="2147481432"/>
            <ac:spMk id="81" creationId="{5F582CFF-6840-7430-BC1F-BEC1E780BD81}"/>
          </ac:spMkLst>
        </pc:spChg>
        <pc:spChg chg="mod">
          <ac:chgData name="RUFFET, Malcolm" userId="ef33cb5d-7c5f-44ea-8bd1-71f6d9da9dec" providerId="ADAL" clId="{42A6F1C5-53D2-4848-9E6F-5902AFD5EAD4}" dt="2024-02-22T14:11:25.298" v="12702" actId="1076"/>
          <ac:spMkLst>
            <pc:docMk/>
            <pc:sldMk cId="2667478616" sldId="2147481432"/>
            <ac:spMk id="83" creationId="{E76C4156-CC54-301C-3E57-4A14B75CBCB6}"/>
          </ac:spMkLst>
        </pc:spChg>
        <pc:spChg chg="mod">
          <ac:chgData name="RUFFET, Malcolm" userId="ef33cb5d-7c5f-44ea-8bd1-71f6d9da9dec" providerId="ADAL" clId="{42A6F1C5-53D2-4848-9E6F-5902AFD5EAD4}" dt="2024-02-22T14:11:25.298" v="12702" actId="1076"/>
          <ac:spMkLst>
            <pc:docMk/>
            <pc:sldMk cId="2667478616" sldId="2147481432"/>
            <ac:spMk id="84" creationId="{CCFB27A7-47E5-BD42-84EB-1C25CC8B848C}"/>
          </ac:spMkLst>
        </pc:spChg>
        <pc:spChg chg="mod">
          <ac:chgData name="RUFFET, Malcolm" userId="ef33cb5d-7c5f-44ea-8bd1-71f6d9da9dec" providerId="ADAL" clId="{42A6F1C5-53D2-4848-9E6F-5902AFD5EAD4}" dt="2024-02-22T14:11:25.298" v="12702" actId="1076"/>
          <ac:spMkLst>
            <pc:docMk/>
            <pc:sldMk cId="2667478616" sldId="2147481432"/>
            <ac:spMk id="85" creationId="{825208A8-C59A-1D90-016D-9891829CF501}"/>
          </ac:spMkLst>
        </pc:spChg>
        <pc:spChg chg="mod">
          <ac:chgData name="RUFFET, Malcolm" userId="ef33cb5d-7c5f-44ea-8bd1-71f6d9da9dec" providerId="ADAL" clId="{42A6F1C5-53D2-4848-9E6F-5902AFD5EAD4}" dt="2024-02-22T14:11:25.298" v="12702" actId="1076"/>
          <ac:spMkLst>
            <pc:docMk/>
            <pc:sldMk cId="2667478616" sldId="2147481432"/>
            <ac:spMk id="86" creationId="{73D22617-00BB-C87A-B097-4B4574071888}"/>
          </ac:spMkLst>
        </pc:spChg>
        <pc:spChg chg="mod">
          <ac:chgData name="RUFFET, Malcolm" userId="ef33cb5d-7c5f-44ea-8bd1-71f6d9da9dec" providerId="ADAL" clId="{42A6F1C5-53D2-4848-9E6F-5902AFD5EAD4}" dt="2024-02-22T14:11:25.298" v="12702" actId="1076"/>
          <ac:spMkLst>
            <pc:docMk/>
            <pc:sldMk cId="2667478616" sldId="2147481432"/>
            <ac:spMk id="87" creationId="{587ACCED-F47A-1B2E-B150-96C42204ABF7}"/>
          </ac:spMkLst>
        </pc:spChg>
        <pc:spChg chg="mod">
          <ac:chgData name="RUFFET, Malcolm" userId="ef33cb5d-7c5f-44ea-8bd1-71f6d9da9dec" providerId="ADAL" clId="{42A6F1C5-53D2-4848-9E6F-5902AFD5EAD4}" dt="2024-02-22T14:11:25.298" v="12702" actId="1076"/>
          <ac:spMkLst>
            <pc:docMk/>
            <pc:sldMk cId="2667478616" sldId="2147481432"/>
            <ac:spMk id="88" creationId="{B7E0B726-5C09-73C2-6E59-BF593B3B5BCD}"/>
          </ac:spMkLst>
        </pc:spChg>
        <pc:spChg chg="mod">
          <ac:chgData name="RUFFET, Malcolm" userId="ef33cb5d-7c5f-44ea-8bd1-71f6d9da9dec" providerId="ADAL" clId="{42A6F1C5-53D2-4848-9E6F-5902AFD5EAD4}" dt="2024-02-22T14:11:25.298" v="12702" actId="1076"/>
          <ac:spMkLst>
            <pc:docMk/>
            <pc:sldMk cId="2667478616" sldId="2147481432"/>
            <ac:spMk id="122" creationId="{086BE019-F135-A0ED-B114-CF9B53A37ACA}"/>
          </ac:spMkLst>
        </pc:spChg>
        <pc:spChg chg="add mod">
          <ac:chgData name="RUFFET, Malcolm" userId="ef33cb5d-7c5f-44ea-8bd1-71f6d9da9dec" providerId="ADAL" clId="{42A6F1C5-53D2-4848-9E6F-5902AFD5EAD4}" dt="2024-02-22T14:11:25.298" v="12702" actId="1076"/>
          <ac:spMkLst>
            <pc:docMk/>
            <pc:sldMk cId="2667478616" sldId="2147481432"/>
            <ac:spMk id="123" creationId="{2BC20B39-CDCD-5721-B44F-F63439986E6B}"/>
          </ac:spMkLst>
        </pc:spChg>
        <pc:spChg chg="add mod">
          <ac:chgData name="RUFFET, Malcolm" userId="ef33cb5d-7c5f-44ea-8bd1-71f6d9da9dec" providerId="ADAL" clId="{42A6F1C5-53D2-4848-9E6F-5902AFD5EAD4}" dt="2024-02-22T14:11:25.298" v="12702" actId="1076"/>
          <ac:spMkLst>
            <pc:docMk/>
            <pc:sldMk cId="2667478616" sldId="2147481432"/>
            <ac:spMk id="124" creationId="{A5AA2C81-811C-6D35-6109-25DC0D8A89EC}"/>
          </ac:spMkLst>
        </pc:spChg>
        <pc:spChg chg="add mod">
          <ac:chgData name="RUFFET, Malcolm" userId="ef33cb5d-7c5f-44ea-8bd1-71f6d9da9dec" providerId="ADAL" clId="{42A6F1C5-53D2-4848-9E6F-5902AFD5EAD4}" dt="2024-02-22T14:11:25.298" v="12702" actId="1076"/>
          <ac:spMkLst>
            <pc:docMk/>
            <pc:sldMk cId="2667478616" sldId="2147481432"/>
            <ac:spMk id="125" creationId="{8E8503C3-6637-9148-191A-BE08F64AC483}"/>
          </ac:spMkLst>
        </pc:spChg>
        <pc:spChg chg="add mod">
          <ac:chgData name="RUFFET, Malcolm" userId="ef33cb5d-7c5f-44ea-8bd1-71f6d9da9dec" providerId="ADAL" clId="{42A6F1C5-53D2-4848-9E6F-5902AFD5EAD4}" dt="2024-02-22T14:11:25.298" v="12702" actId="1076"/>
          <ac:spMkLst>
            <pc:docMk/>
            <pc:sldMk cId="2667478616" sldId="2147481432"/>
            <ac:spMk id="126" creationId="{5AC12142-5B7A-B355-8D79-D9D9D6C183A5}"/>
          </ac:spMkLst>
        </pc:spChg>
        <pc:spChg chg="add mod">
          <ac:chgData name="RUFFET, Malcolm" userId="ef33cb5d-7c5f-44ea-8bd1-71f6d9da9dec" providerId="ADAL" clId="{42A6F1C5-53D2-4848-9E6F-5902AFD5EAD4}" dt="2024-02-22T14:11:25.298" v="12702" actId="1076"/>
          <ac:spMkLst>
            <pc:docMk/>
            <pc:sldMk cId="2667478616" sldId="2147481432"/>
            <ac:spMk id="160" creationId="{AA7B0AD9-728E-D75D-4D92-EA32164807F6}"/>
          </ac:spMkLst>
        </pc:spChg>
        <pc:spChg chg="add mod">
          <ac:chgData name="RUFFET, Malcolm" userId="ef33cb5d-7c5f-44ea-8bd1-71f6d9da9dec" providerId="ADAL" clId="{42A6F1C5-53D2-4848-9E6F-5902AFD5EAD4}" dt="2024-02-22T14:11:25.298" v="12702" actId="1076"/>
          <ac:spMkLst>
            <pc:docMk/>
            <pc:sldMk cId="2667478616" sldId="2147481432"/>
            <ac:spMk id="161" creationId="{50E199FB-D80F-0D51-BEC3-D3A48D667708}"/>
          </ac:spMkLst>
        </pc:spChg>
        <pc:spChg chg="mod">
          <ac:chgData name="RUFFET, Malcolm" userId="ef33cb5d-7c5f-44ea-8bd1-71f6d9da9dec" providerId="ADAL" clId="{42A6F1C5-53D2-4848-9E6F-5902AFD5EAD4}" dt="2024-02-22T14:11:25.298" v="12702" actId="1076"/>
          <ac:spMkLst>
            <pc:docMk/>
            <pc:sldMk cId="2667478616" sldId="2147481432"/>
            <ac:spMk id="165" creationId="{E0F05272-4EC4-BEA8-4E5F-5C69AD8DCE41}"/>
          </ac:spMkLst>
        </pc:spChg>
        <pc:spChg chg="mod">
          <ac:chgData name="RUFFET, Malcolm" userId="ef33cb5d-7c5f-44ea-8bd1-71f6d9da9dec" providerId="ADAL" clId="{42A6F1C5-53D2-4848-9E6F-5902AFD5EAD4}" dt="2024-02-22T14:11:25.298" v="12702" actId="1076"/>
          <ac:spMkLst>
            <pc:docMk/>
            <pc:sldMk cId="2667478616" sldId="2147481432"/>
            <ac:spMk id="166" creationId="{484A438B-6433-89AF-1FB7-EF97E489F565}"/>
          </ac:spMkLst>
        </pc:spChg>
        <pc:spChg chg="mod">
          <ac:chgData name="RUFFET, Malcolm" userId="ef33cb5d-7c5f-44ea-8bd1-71f6d9da9dec" providerId="ADAL" clId="{42A6F1C5-53D2-4848-9E6F-5902AFD5EAD4}" dt="2024-02-22T14:11:25.298" v="12702" actId="1076"/>
          <ac:spMkLst>
            <pc:docMk/>
            <pc:sldMk cId="2667478616" sldId="2147481432"/>
            <ac:spMk id="248" creationId="{284E4223-A9FD-1D66-ABD9-1175C325DF87}"/>
          </ac:spMkLst>
        </pc:spChg>
        <pc:spChg chg="mod">
          <ac:chgData name="RUFFET, Malcolm" userId="ef33cb5d-7c5f-44ea-8bd1-71f6d9da9dec" providerId="ADAL" clId="{42A6F1C5-53D2-4848-9E6F-5902AFD5EAD4}" dt="2024-02-22T14:11:25.298" v="12702" actId="1076"/>
          <ac:spMkLst>
            <pc:docMk/>
            <pc:sldMk cId="2667478616" sldId="2147481432"/>
            <ac:spMk id="251" creationId="{34AD6FBC-56DD-1CB6-CB42-A5E158FD6656}"/>
          </ac:spMkLst>
        </pc:spChg>
        <pc:spChg chg="mod">
          <ac:chgData name="RUFFET, Malcolm" userId="ef33cb5d-7c5f-44ea-8bd1-71f6d9da9dec" providerId="ADAL" clId="{42A6F1C5-53D2-4848-9E6F-5902AFD5EAD4}" dt="2024-02-22T14:11:25.298" v="12702" actId="1076"/>
          <ac:spMkLst>
            <pc:docMk/>
            <pc:sldMk cId="2667478616" sldId="2147481432"/>
            <ac:spMk id="252" creationId="{D4548EBF-E070-23C9-9D72-A5D87DB375CA}"/>
          </ac:spMkLst>
        </pc:spChg>
        <pc:spChg chg="mod">
          <ac:chgData name="RUFFET, Malcolm" userId="ef33cb5d-7c5f-44ea-8bd1-71f6d9da9dec" providerId="ADAL" clId="{42A6F1C5-53D2-4848-9E6F-5902AFD5EAD4}" dt="2024-02-22T14:11:25.298" v="12702" actId="1076"/>
          <ac:spMkLst>
            <pc:docMk/>
            <pc:sldMk cId="2667478616" sldId="2147481432"/>
            <ac:spMk id="254" creationId="{A07A445A-35CE-0CE1-25AB-111B392B3747}"/>
          </ac:spMkLst>
        </pc:spChg>
        <pc:spChg chg="mod">
          <ac:chgData name="RUFFET, Malcolm" userId="ef33cb5d-7c5f-44ea-8bd1-71f6d9da9dec" providerId="ADAL" clId="{42A6F1C5-53D2-4848-9E6F-5902AFD5EAD4}" dt="2024-02-22T14:11:25.298" v="12702" actId="1076"/>
          <ac:spMkLst>
            <pc:docMk/>
            <pc:sldMk cId="2667478616" sldId="2147481432"/>
            <ac:spMk id="255" creationId="{DA5FF205-F2D0-9775-1BE7-07BFF30F1003}"/>
          </ac:spMkLst>
        </pc:spChg>
        <pc:grpChg chg="del">
          <ac:chgData name="RUFFET, Malcolm" userId="ef33cb5d-7c5f-44ea-8bd1-71f6d9da9dec" providerId="ADAL" clId="{42A6F1C5-53D2-4848-9E6F-5902AFD5EAD4}" dt="2024-02-22T13:59:50.728" v="12671" actId="478"/>
          <ac:grpSpMkLst>
            <pc:docMk/>
            <pc:sldMk cId="2667478616" sldId="2147481432"/>
            <ac:grpSpMk id="3" creationId="{56F81753-8858-4E3D-9A94-96138CC10224}"/>
          </ac:grpSpMkLst>
        </pc:grpChg>
        <pc:grpChg chg="del">
          <ac:chgData name="RUFFET, Malcolm" userId="ef33cb5d-7c5f-44ea-8bd1-71f6d9da9dec" providerId="ADAL" clId="{42A6F1C5-53D2-4848-9E6F-5902AFD5EAD4}" dt="2024-02-22T13:59:50.728" v="12671" actId="478"/>
          <ac:grpSpMkLst>
            <pc:docMk/>
            <pc:sldMk cId="2667478616" sldId="2147481432"/>
            <ac:grpSpMk id="13" creationId="{79DF0CEC-9A3D-4DBF-B3D9-526524F38967}"/>
          </ac:grpSpMkLst>
        </pc:grpChg>
        <pc:grpChg chg="del">
          <ac:chgData name="RUFFET, Malcolm" userId="ef33cb5d-7c5f-44ea-8bd1-71f6d9da9dec" providerId="ADAL" clId="{42A6F1C5-53D2-4848-9E6F-5902AFD5EAD4}" dt="2024-02-22T13:59:50.728" v="12671" actId="478"/>
          <ac:grpSpMkLst>
            <pc:docMk/>
            <pc:sldMk cId="2667478616" sldId="2147481432"/>
            <ac:grpSpMk id="14" creationId="{21672AB6-6434-4AA0-92AB-75EA8D50B6A4}"/>
          </ac:grpSpMkLst>
        </pc:grpChg>
        <pc:grpChg chg="add mod">
          <ac:chgData name="RUFFET, Malcolm" userId="ef33cb5d-7c5f-44ea-8bd1-71f6d9da9dec" providerId="ADAL" clId="{42A6F1C5-53D2-4848-9E6F-5902AFD5EAD4}" dt="2024-02-22T14:11:25.298" v="12702" actId="1076"/>
          <ac:grpSpMkLst>
            <pc:docMk/>
            <pc:sldMk cId="2667478616" sldId="2147481432"/>
            <ac:grpSpMk id="21" creationId="{DEF55DF7-A455-18A5-E328-02DD822A0210}"/>
          </ac:grpSpMkLst>
        </pc:grpChg>
        <pc:grpChg chg="mod">
          <ac:chgData name="RUFFET, Malcolm" userId="ef33cb5d-7c5f-44ea-8bd1-71f6d9da9dec" providerId="ADAL" clId="{42A6F1C5-53D2-4848-9E6F-5902AFD5EAD4}" dt="2024-02-22T14:11:25.298" v="12702" actId="1076"/>
          <ac:grpSpMkLst>
            <pc:docMk/>
            <pc:sldMk cId="2667478616" sldId="2147481432"/>
            <ac:grpSpMk id="22" creationId="{64908B85-309D-7441-4E2D-64640466A68F}"/>
          </ac:grpSpMkLst>
        </pc:grpChg>
        <pc:grpChg chg="mod">
          <ac:chgData name="RUFFET, Malcolm" userId="ef33cb5d-7c5f-44ea-8bd1-71f6d9da9dec" providerId="ADAL" clId="{42A6F1C5-53D2-4848-9E6F-5902AFD5EAD4}" dt="2024-02-22T14:11:25.298" v="12702" actId="1076"/>
          <ac:grpSpMkLst>
            <pc:docMk/>
            <pc:sldMk cId="2667478616" sldId="2147481432"/>
            <ac:grpSpMk id="25" creationId="{EC402164-C7EE-8227-B993-A521B486875A}"/>
          </ac:grpSpMkLst>
        </pc:grpChg>
        <pc:grpChg chg="add mod">
          <ac:chgData name="RUFFET, Malcolm" userId="ef33cb5d-7c5f-44ea-8bd1-71f6d9da9dec" providerId="ADAL" clId="{42A6F1C5-53D2-4848-9E6F-5902AFD5EAD4}" dt="2024-02-22T14:11:25.298" v="12702" actId="1076"/>
          <ac:grpSpMkLst>
            <pc:docMk/>
            <pc:sldMk cId="2667478616" sldId="2147481432"/>
            <ac:grpSpMk id="34" creationId="{E4BF0198-F099-4414-F4DE-4263EC683654}"/>
          </ac:grpSpMkLst>
        </pc:grpChg>
        <pc:grpChg chg="mod">
          <ac:chgData name="RUFFET, Malcolm" userId="ef33cb5d-7c5f-44ea-8bd1-71f6d9da9dec" providerId="ADAL" clId="{42A6F1C5-53D2-4848-9E6F-5902AFD5EAD4}" dt="2024-02-22T14:11:25.298" v="12702" actId="1076"/>
          <ac:grpSpMkLst>
            <pc:docMk/>
            <pc:sldMk cId="2667478616" sldId="2147481432"/>
            <ac:grpSpMk id="35" creationId="{B97383B1-889B-72B7-C2FD-6ADDAFDAFFC6}"/>
          </ac:grpSpMkLst>
        </pc:grpChg>
        <pc:grpChg chg="mod">
          <ac:chgData name="RUFFET, Malcolm" userId="ef33cb5d-7c5f-44ea-8bd1-71f6d9da9dec" providerId="ADAL" clId="{42A6F1C5-53D2-4848-9E6F-5902AFD5EAD4}" dt="2024-02-22T14:11:25.298" v="12702" actId="1076"/>
          <ac:grpSpMkLst>
            <pc:docMk/>
            <pc:sldMk cId="2667478616" sldId="2147481432"/>
            <ac:grpSpMk id="38" creationId="{F1176D11-9AD0-A1C8-C06D-D3578B00F00F}"/>
          </ac:grpSpMkLst>
        </pc:grpChg>
        <pc:grpChg chg="add mod">
          <ac:chgData name="RUFFET, Malcolm" userId="ef33cb5d-7c5f-44ea-8bd1-71f6d9da9dec" providerId="ADAL" clId="{42A6F1C5-53D2-4848-9E6F-5902AFD5EAD4}" dt="2024-02-22T14:11:25.298" v="12702" actId="1076"/>
          <ac:grpSpMkLst>
            <pc:docMk/>
            <pc:sldMk cId="2667478616" sldId="2147481432"/>
            <ac:grpSpMk id="47" creationId="{4DAA4882-53FF-1992-DD97-A4BEC56513B9}"/>
          </ac:grpSpMkLst>
        </pc:grpChg>
        <pc:grpChg chg="add mod">
          <ac:chgData name="RUFFET, Malcolm" userId="ef33cb5d-7c5f-44ea-8bd1-71f6d9da9dec" providerId="ADAL" clId="{42A6F1C5-53D2-4848-9E6F-5902AFD5EAD4}" dt="2024-02-22T14:11:25.298" v="12702" actId="1076"/>
          <ac:grpSpMkLst>
            <pc:docMk/>
            <pc:sldMk cId="2667478616" sldId="2147481432"/>
            <ac:grpSpMk id="64" creationId="{293F4F10-817E-1832-83A6-1381BB03CA1C}"/>
          </ac:grpSpMkLst>
        </pc:grpChg>
        <pc:grpChg chg="mod">
          <ac:chgData name="RUFFET, Malcolm" userId="ef33cb5d-7c5f-44ea-8bd1-71f6d9da9dec" providerId="ADAL" clId="{42A6F1C5-53D2-4848-9E6F-5902AFD5EAD4}" dt="2024-02-22T14:11:25.298" v="12702" actId="1076"/>
          <ac:grpSpMkLst>
            <pc:docMk/>
            <pc:sldMk cId="2667478616" sldId="2147481432"/>
            <ac:grpSpMk id="66" creationId="{45CB0DA5-2C88-42D6-5E8A-D59C0806D543}"/>
          </ac:grpSpMkLst>
        </pc:grpChg>
        <pc:grpChg chg="add mod">
          <ac:chgData name="RUFFET, Malcolm" userId="ef33cb5d-7c5f-44ea-8bd1-71f6d9da9dec" providerId="ADAL" clId="{42A6F1C5-53D2-4848-9E6F-5902AFD5EAD4}" dt="2024-02-22T14:11:25.298" v="12702" actId="1076"/>
          <ac:grpSpMkLst>
            <pc:docMk/>
            <pc:sldMk cId="2667478616" sldId="2147481432"/>
            <ac:grpSpMk id="70" creationId="{619A1EB5-DA6F-6B40-4697-52DB02F421C4}"/>
          </ac:grpSpMkLst>
        </pc:grpChg>
        <pc:grpChg chg="mod">
          <ac:chgData name="RUFFET, Malcolm" userId="ef33cb5d-7c5f-44ea-8bd1-71f6d9da9dec" providerId="ADAL" clId="{42A6F1C5-53D2-4848-9E6F-5902AFD5EAD4}" dt="2024-02-22T14:11:25.298" v="12702" actId="1076"/>
          <ac:grpSpMkLst>
            <pc:docMk/>
            <pc:sldMk cId="2667478616" sldId="2147481432"/>
            <ac:grpSpMk id="72" creationId="{13AC6EA7-AE96-9F2B-55E6-1AA81FAC1AD2}"/>
          </ac:grpSpMkLst>
        </pc:grpChg>
        <pc:grpChg chg="add mod">
          <ac:chgData name="RUFFET, Malcolm" userId="ef33cb5d-7c5f-44ea-8bd1-71f6d9da9dec" providerId="ADAL" clId="{42A6F1C5-53D2-4848-9E6F-5902AFD5EAD4}" dt="2024-02-22T14:11:25.298" v="12702" actId="1076"/>
          <ac:grpSpMkLst>
            <pc:docMk/>
            <pc:sldMk cId="2667478616" sldId="2147481432"/>
            <ac:grpSpMk id="80" creationId="{083E3572-F695-1A69-DAF4-32E236995B79}"/>
          </ac:grpSpMkLst>
        </pc:grpChg>
        <pc:grpChg chg="mod">
          <ac:chgData name="RUFFET, Malcolm" userId="ef33cb5d-7c5f-44ea-8bd1-71f6d9da9dec" providerId="ADAL" clId="{42A6F1C5-53D2-4848-9E6F-5902AFD5EAD4}" dt="2024-02-22T14:11:25.298" v="12702" actId="1076"/>
          <ac:grpSpMkLst>
            <pc:docMk/>
            <pc:sldMk cId="2667478616" sldId="2147481432"/>
            <ac:grpSpMk id="82" creationId="{34DCF076-6B09-F977-819F-9D7C1BB3D1EB}"/>
          </ac:grpSpMkLst>
        </pc:grpChg>
        <pc:grpChg chg="add mod">
          <ac:chgData name="RUFFET, Malcolm" userId="ef33cb5d-7c5f-44ea-8bd1-71f6d9da9dec" providerId="ADAL" clId="{42A6F1C5-53D2-4848-9E6F-5902AFD5EAD4}" dt="2024-02-22T14:11:25.298" v="12702" actId="1076"/>
          <ac:grpSpMkLst>
            <pc:docMk/>
            <pc:sldMk cId="2667478616" sldId="2147481432"/>
            <ac:grpSpMk id="162" creationId="{CCEDD5FA-9C41-7548-FA75-3217AA3B64C4}"/>
          </ac:grpSpMkLst>
        </pc:grpChg>
        <pc:grpChg chg="mod">
          <ac:chgData name="RUFFET, Malcolm" userId="ef33cb5d-7c5f-44ea-8bd1-71f6d9da9dec" providerId="ADAL" clId="{42A6F1C5-53D2-4848-9E6F-5902AFD5EAD4}" dt="2024-02-22T14:11:25.298" v="12702" actId="1076"/>
          <ac:grpSpMkLst>
            <pc:docMk/>
            <pc:sldMk cId="2667478616" sldId="2147481432"/>
            <ac:grpSpMk id="163" creationId="{09132FB8-27BB-87FA-F648-153F6A215934}"/>
          </ac:grpSpMkLst>
        </pc:grpChg>
        <pc:grpChg chg="add mod">
          <ac:chgData name="RUFFET, Malcolm" userId="ef33cb5d-7c5f-44ea-8bd1-71f6d9da9dec" providerId="ADAL" clId="{42A6F1C5-53D2-4848-9E6F-5902AFD5EAD4}" dt="2024-02-22T14:11:25.298" v="12702" actId="1076"/>
          <ac:grpSpMkLst>
            <pc:docMk/>
            <pc:sldMk cId="2667478616" sldId="2147481432"/>
            <ac:grpSpMk id="249" creationId="{A13D6006-2C5A-B191-0E1E-44149B816CFB}"/>
          </ac:grpSpMkLst>
        </pc:grpChg>
        <pc:grpChg chg="mod">
          <ac:chgData name="RUFFET, Malcolm" userId="ef33cb5d-7c5f-44ea-8bd1-71f6d9da9dec" providerId="ADAL" clId="{42A6F1C5-53D2-4848-9E6F-5902AFD5EAD4}" dt="2024-02-22T14:11:25.298" v="12702" actId="1076"/>
          <ac:grpSpMkLst>
            <pc:docMk/>
            <pc:sldMk cId="2667478616" sldId="2147481432"/>
            <ac:grpSpMk id="250" creationId="{58E43DE7-1A46-EC13-5A31-994B9BBE4A0C}"/>
          </ac:grpSpMkLst>
        </pc:grpChg>
        <pc:grpChg chg="mod">
          <ac:chgData name="RUFFET, Malcolm" userId="ef33cb5d-7c5f-44ea-8bd1-71f6d9da9dec" providerId="ADAL" clId="{42A6F1C5-53D2-4848-9E6F-5902AFD5EAD4}" dt="2024-02-22T14:11:25.298" v="12702" actId="1076"/>
          <ac:grpSpMkLst>
            <pc:docMk/>
            <pc:sldMk cId="2667478616" sldId="2147481432"/>
            <ac:grpSpMk id="253" creationId="{618ACE7F-23FB-8440-C8BE-6D21D5438E8E}"/>
          </ac:grpSpMkLst>
        </pc:grpChg>
        <pc:picChg chg="add mod">
          <ac:chgData name="RUFFET, Malcolm" userId="ef33cb5d-7c5f-44ea-8bd1-71f6d9da9dec" providerId="ADAL" clId="{42A6F1C5-53D2-4848-9E6F-5902AFD5EAD4}" dt="2024-02-22T14:11:25.298" v="12702" actId="1076"/>
          <ac:picMkLst>
            <pc:docMk/>
            <pc:sldMk cId="2667478616" sldId="2147481432"/>
            <ac:picMk id="127" creationId="{2336A18B-DE19-45AF-4C35-0073CDB9052D}"/>
          </ac:picMkLst>
        </pc:picChg>
        <pc:picChg chg="mod">
          <ac:chgData name="RUFFET, Malcolm" userId="ef33cb5d-7c5f-44ea-8bd1-71f6d9da9dec" providerId="ADAL" clId="{42A6F1C5-53D2-4848-9E6F-5902AFD5EAD4}" dt="2024-02-22T14:11:25.298" v="12702" actId="1076"/>
          <ac:picMkLst>
            <pc:docMk/>
            <pc:sldMk cId="2667478616" sldId="2147481432"/>
            <ac:picMk id="164" creationId="{00E0359E-89C9-E2E8-6101-681AB5864C30}"/>
          </ac:picMkLst>
        </pc:picChg>
        <pc:cxnChg chg="add mod">
          <ac:chgData name="RUFFET, Malcolm" userId="ef33cb5d-7c5f-44ea-8bd1-71f6d9da9dec" providerId="ADAL" clId="{42A6F1C5-53D2-4848-9E6F-5902AFD5EAD4}" dt="2024-02-22T14:11:25.298" v="12702" actId="1076"/>
          <ac:cxnSpMkLst>
            <pc:docMk/>
            <pc:sldMk cId="2667478616" sldId="2147481432"/>
            <ac:cxnSpMk id="33" creationId="{1204B050-1DC7-F7FF-695F-B19A2EA81217}"/>
          </ac:cxnSpMkLst>
        </pc:cxnChg>
        <pc:cxnChg chg="add mod">
          <ac:chgData name="RUFFET, Malcolm" userId="ef33cb5d-7c5f-44ea-8bd1-71f6d9da9dec" providerId="ADAL" clId="{42A6F1C5-53D2-4848-9E6F-5902AFD5EAD4}" dt="2024-02-22T14:11:25.298" v="12702" actId="1076"/>
          <ac:cxnSpMkLst>
            <pc:docMk/>
            <pc:sldMk cId="2667478616" sldId="2147481432"/>
            <ac:cxnSpMk id="44" creationId="{2D99F3A5-1C82-0E4E-990E-2951C9D8AE93}"/>
          </ac:cxnSpMkLst>
        </pc:cxnChg>
        <pc:cxnChg chg="add mod">
          <ac:chgData name="RUFFET, Malcolm" userId="ef33cb5d-7c5f-44ea-8bd1-71f6d9da9dec" providerId="ADAL" clId="{42A6F1C5-53D2-4848-9E6F-5902AFD5EAD4}" dt="2024-02-22T14:11:25.298" v="12702" actId="1076"/>
          <ac:cxnSpMkLst>
            <pc:docMk/>
            <pc:sldMk cId="2667478616" sldId="2147481432"/>
            <ac:cxnSpMk id="46" creationId="{B87DD264-51FD-6E25-23A5-C6EF87A4BAE6}"/>
          </ac:cxnSpMkLst>
        </pc:cxnChg>
        <pc:cxnChg chg="mod">
          <ac:chgData name="RUFFET, Malcolm" userId="ef33cb5d-7c5f-44ea-8bd1-71f6d9da9dec" providerId="ADAL" clId="{42A6F1C5-53D2-4848-9E6F-5902AFD5EAD4}" dt="2024-02-22T14:11:25.298" v="12702" actId="1076"/>
          <ac:cxnSpMkLst>
            <pc:docMk/>
            <pc:sldMk cId="2667478616" sldId="2147481432"/>
            <ac:cxnSpMk id="53" creationId="{BA3A2986-6E78-81F3-DBB4-AE26BBAC52C2}"/>
          </ac:cxnSpMkLst>
        </pc:cxnChg>
        <pc:cxnChg chg="mod">
          <ac:chgData name="RUFFET, Malcolm" userId="ef33cb5d-7c5f-44ea-8bd1-71f6d9da9dec" providerId="ADAL" clId="{42A6F1C5-53D2-4848-9E6F-5902AFD5EAD4}" dt="2024-02-22T14:11:25.298" v="12702" actId="1076"/>
          <ac:cxnSpMkLst>
            <pc:docMk/>
            <pc:sldMk cId="2667478616" sldId="2147481432"/>
            <ac:cxnSpMk id="56" creationId="{9FDC8FB5-EAA6-2F5C-FBF4-85B04C2BFCAB}"/>
          </ac:cxnSpMkLst>
        </pc:cxnChg>
        <pc:cxnChg chg="mod">
          <ac:chgData name="RUFFET, Malcolm" userId="ef33cb5d-7c5f-44ea-8bd1-71f6d9da9dec" providerId="ADAL" clId="{42A6F1C5-53D2-4848-9E6F-5902AFD5EAD4}" dt="2024-02-22T14:11:25.298" v="12702" actId="1076"/>
          <ac:cxnSpMkLst>
            <pc:docMk/>
            <pc:sldMk cId="2667478616" sldId="2147481432"/>
            <ac:cxnSpMk id="57" creationId="{745AA007-15BC-9744-7C43-609696545FC9}"/>
          </ac:cxnSpMkLst>
        </pc:cxnChg>
        <pc:cxnChg chg="mod">
          <ac:chgData name="RUFFET, Malcolm" userId="ef33cb5d-7c5f-44ea-8bd1-71f6d9da9dec" providerId="ADAL" clId="{42A6F1C5-53D2-4848-9E6F-5902AFD5EAD4}" dt="2024-02-22T14:11:25.298" v="12702" actId="1076"/>
          <ac:cxnSpMkLst>
            <pc:docMk/>
            <pc:sldMk cId="2667478616" sldId="2147481432"/>
            <ac:cxnSpMk id="58" creationId="{A81DE88F-420F-4286-CAD4-AEC3A058004A}"/>
          </ac:cxnSpMkLst>
        </pc:cxnChg>
        <pc:cxnChg chg="mod">
          <ac:chgData name="RUFFET, Malcolm" userId="ef33cb5d-7c5f-44ea-8bd1-71f6d9da9dec" providerId="ADAL" clId="{42A6F1C5-53D2-4848-9E6F-5902AFD5EAD4}" dt="2024-02-22T14:11:25.298" v="12702" actId="1076"/>
          <ac:cxnSpMkLst>
            <pc:docMk/>
            <pc:sldMk cId="2667478616" sldId="2147481432"/>
            <ac:cxnSpMk id="59" creationId="{954147C8-1671-2796-F52C-F8CE6BB949A8}"/>
          </ac:cxnSpMkLst>
        </pc:cxnChg>
        <pc:cxnChg chg="mod">
          <ac:chgData name="RUFFET, Malcolm" userId="ef33cb5d-7c5f-44ea-8bd1-71f6d9da9dec" providerId="ADAL" clId="{42A6F1C5-53D2-4848-9E6F-5902AFD5EAD4}" dt="2024-02-22T14:11:25.298" v="12702" actId="1076"/>
          <ac:cxnSpMkLst>
            <pc:docMk/>
            <pc:sldMk cId="2667478616" sldId="2147481432"/>
            <ac:cxnSpMk id="60" creationId="{92CEC2C8-C1F5-E682-AAE9-B0A7ACC9DB2A}"/>
          </ac:cxnSpMkLst>
        </pc:cxnChg>
        <pc:cxnChg chg="mod">
          <ac:chgData name="RUFFET, Malcolm" userId="ef33cb5d-7c5f-44ea-8bd1-71f6d9da9dec" providerId="ADAL" clId="{42A6F1C5-53D2-4848-9E6F-5902AFD5EAD4}" dt="2024-02-22T14:11:25.298" v="12702" actId="1076"/>
          <ac:cxnSpMkLst>
            <pc:docMk/>
            <pc:sldMk cId="2667478616" sldId="2147481432"/>
            <ac:cxnSpMk id="61" creationId="{B9EFFDF5-5FB2-4E6B-359B-DC3CA8A6F624}"/>
          </ac:cxnSpMkLst>
        </pc:cxnChg>
        <pc:cxnChg chg="mod">
          <ac:chgData name="RUFFET, Malcolm" userId="ef33cb5d-7c5f-44ea-8bd1-71f6d9da9dec" providerId="ADAL" clId="{42A6F1C5-53D2-4848-9E6F-5902AFD5EAD4}" dt="2024-02-22T14:11:25.298" v="12702" actId="1076"/>
          <ac:cxnSpMkLst>
            <pc:docMk/>
            <pc:sldMk cId="2667478616" sldId="2147481432"/>
            <ac:cxnSpMk id="62" creationId="{18D24E2D-E54B-D8EA-7E2B-42F87AB6D1D2}"/>
          </ac:cxnSpMkLst>
        </pc:cxnChg>
        <pc:cxnChg chg="mod">
          <ac:chgData name="RUFFET, Malcolm" userId="ef33cb5d-7c5f-44ea-8bd1-71f6d9da9dec" providerId="ADAL" clId="{42A6F1C5-53D2-4848-9E6F-5902AFD5EAD4}" dt="2024-02-22T14:11:25.298" v="12702" actId="1076"/>
          <ac:cxnSpMkLst>
            <pc:docMk/>
            <pc:sldMk cId="2667478616" sldId="2147481432"/>
            <ac:cxnSpMk id="63" creationId="{3C4F9B0D-BFF6-0EC1-0570-575F145C5D17}"/>
          </ac:cxnSpMkLst>
        </pc:cxnChg>
      </pc:sldChg>
      <pc:sldChg chg="addSp delSp modSp add mod">
        <pc:chgData name="RUFFET, Malcolm" userId="ef33cb5d-7c5f-44ea-8bd1-71f6d9da9dec" providerId="ADAL" clId="{42A6F1C5-53D2-4848-9E6F-5902AFD5EAD4}" dt="2024-02-22T14:14:45.225" v="12731" actId="123"/>
        <pc:sldMkLst>
          <pc:docMk/>
          <pc:sldMk cId="436686117" sldId="2147481433"/>
        </pc:sldMkLst>
        <pc:spChg chg="add mod">
          <ac:chgData name="RUFFET, Malcolm" userId="ef33cb5d-7c5f-44ea-8bd1-71f6d9da9dec" providerId="ADAL" clId="{42A6F1C5-53D2-4848-9E6F-5902AFD5EAD4}" dt="2024-02-22T14:01:04.883" v="12682" actId="207"/>
          <ac:spMkLst>
            <pc:docMk/>
            <pc:sldMk cId="436686117" sldId="2147481433"/>
            <ac:spMk id="3" creationId="{FCE54E78-32FB-3780-7072-EBE7A21DCDFF}"/>
          </ac:spMkLst>
        </pc:spChg>
        <pc:spChg chg="mod">
          <ac:chgData name="RUFFET, Malcolm" userId="ef33cb5d-7c5f-44ea-8bd1-71f6d9da9dec" providerId="ADAL" clId="{42A6F1C5-53D2-4848-9E6F-5902AFD5EAD4}" dt="2024-02-22T14:00:39.929" v="12679"/>
          <ac:spMkLst>
            <pc:docMk/>
            <pc:sldMk cId="436686117" sldId="2147481433"/>
            <ac:spMk id="5" creationId="{345F714E-B0DB-4AC0-A544-A6932E332BDD}"/>
          </ac:spMkLst>
        </pc:spChg>
        <pc:spChg chg="add mod">
          <ac:chgData name="RUFFET, Malcolm" userId="ef33cb5d-7c5f-44ea-8bd1-71f6d9da9dec" providerId="ADAL" clId="{42A6F1C5-53D2-4848-9E6F-5902AFD5EAD4}" dt="2024-02-22T14:01:04.883" v="12682" actId="207"/>
          <ac:spMkLst>
            <pc:docMk/>
            <pc:sldMk cId="436686117" sldId="2147481433"/>
            <ac:spMk id="6" creationId="{8CEC6A37-DEA8-BB0B-FE43-6A55747C34D6}"/>
          </ac:spMkLst>
        </pc:spChg>
        <pc:spChg chg="del">
          <ac:chgData name="RUFFET, Malcolm" userId="ef33cb5d-7c5f-44ea-8bd1-71f6d9da9dec" providerId="ADAL" clId="{42A6F1C5-53D2-4848-9E6F-5902AFD5EAD4}" dt="2024-02-22T14:00:33.035" v="12678" actId="478"/>
          <ac:spMkLst>
            <pc:docMk/>
            <pc:sldMk cId="436686117" sldId="2147481433"/>
            <ac:spMk id="7" creationId="{F1B2EEE1-1304-879D-3D34-7069FE995678}"/>
          </ac:spMkLst>
        </pc:spChg>
        <pc:spChg chg="add mod">
          <ac:chgData name="RUFFET, Malcolm" userId="ef33cb5d-7c5f-44ea-8bd1-71f6d9da9dec" providerId="ADAL" clId="{42A6F1C5-53D2-4848-9E6F-5902AFD5EAD4}" dt="2024-02-22T14:13:11.760" v="12712" actId="1076"/>
          <ac:spMkLst>
            <pc:docMk/>
            <pc:sldMk cId="436686117" sldId="2147481433"/>
            <ac:spMk id="8" creationId="{B87A26A2-86A6-6C94-BA50-A5728B0285B2}"/>
          </ac:spMkLst>
        </pc:spChg>
        <pc:spChg chg="add mod">
          <ac:chgData name="RUFFET, Malcolm" userId="ef33cb5d-7c5f-44ea-8bd1-71f6d9da9dec" providerId="ADAL" clId="{42A6F1C5-53D2-4848-9E6F-5902AFD5EAD4}" dt="2024-02-22T14:14:45.225" v="12731" actId="123"/>
          <ac:spMkLst>
            <pc:docMk/>
            <pc:sldMk cId="436686117" sldId="2147481433"/>
            <ac:spMk id="9" creationId="{9728AC0B-0743-CE9F-5AEE-0D6F342211B1}"/>
          </ac:spMkLst>
        </pc:spChg>
        <pc:spChg chg="del">
          <ac:chgData name="RUFFET, Malcolm" userId="ef33cb5d-7c5f-44ea-8bd1-71f6d9da9dec" providerId="ADAL" clId="{42A6F1C5-53D2-4848-9E6F-5902AFD5EAD4}" dt="2024-02-22T14:00:33.035" v="12678" actId="478"/>
          <ac:spMkLst>
            <pc:docMk/>
            <pc:sldMk cId="436686117" sldId="2147481433"/>
            <ac:spMk id="10" creationId="{3AF24337-FFCF-10B4-4BCC-AA6E0C5C5917}"/>
          </ac:spMkLst>
        </pc:spChg>
        <pc:spChg chg="add mod">
          <ac:chgData name="RUFFET, Malcolm" userId="ef33cb5d-7c5f-44ea-8bd1-71f6d9da9dec" providerId="ADAL" clId="{42A6F1C5-53D2-4848-9E6F-5902AFD5EAD4}" dt="2024-02-22T14:13:11.760" v="12712" actId="1076"/>
          <ac:spMkLst>
            <pc:docMk/>
            <pc:sldMk cId="436686117" sldId="2147481433"/>
            <ac:spMk id="11" creationId="{D688E535-89A5-1C5E-ED91-E836198687DA}"/>
          </ac:spMkLst>
        </pc:spChg>
        <pc:spChg chg="add mod">
          <ac:chgData name="RUFFET, Malcolm" userId="ef33cb5d-7c5f-44ea-8bd1-71f6d9da9dec" providerId="ADAL" clId="{42A6F1C5-53D2-4848-9E6F-5902AFD5EAD4}" dt="2024-02-22T14:00:49.552" v="12680"/>
          <ac:spMkLst>
            <pc:docMk/>
            <pc:sldMk cId="436686117" sldId="2147481433"/>
            <ac:spMk id="12" creationId="{D709C43B-4C5C-9ED9-7358-F94CA376D468}"/>
          </ac:spMkLst>
        </pc:spChg>
        <pc:spChg chg="add mod">
          <ac:chgData name="RUFFET, Malcolm" userId="ef33cb5d-7c5f-44ea-8bd1-71f6d9da9dec" providerId="ADAL" clId="{42A6F1C5-53D2-4848-9E6F-5902AFD5EAD4}" dt="2024-02-22T14:14:45.225" v="12731" actId="123"/>
          <ac:spMkLst>
            <pc:docMk/>
            <pc:sldMk cId="436686117" sldId="2147481433"/>
            <ac:spMk id="13" creationId="{FC18329E-A472-A39B-AB79-F3DEC175E4E0}"/>
          </ac:spMkLst>
        </pc:spChg>
        <pc:spChg chg="add mod">
          <ac:chgData name="RUFFET, Malcolm" userId="ef33cb5d-7c5f-44ea-8bd1-71f6d9da9dec" providerId="ADAL" clId="{42A6F1C5-53D2-4848-9E6F-5902AFD5EAD4}" dt="2024-02-22T14:00:49.552" v="12680"/>
          <ac:spMkLst>
            <pc:docMk/>
            <pc:sldMk cId="436686117" sldId="2147481433"/>
            <ac:spMk id="14" creationId="{D42F0508-7BD1-6EF3-1D64-668517C0152B}"/>
          </ac:spMkLst>
        </pc:spChg>
        <pc:spChg chg="del">
          <ac:chgData name="RUFFET, Malcolm" userId="ef33cb5d-7c5f-44ea-8bd1-71f6d9da9dec" providerId="ADAL" clId="{42A6F1C5-53D2-4848-9E6F-5902AFD5EAD4}" dt="2024-02-22T14:00:33.035" v="12678" actId="478"/>
          <ac:spMkLst>
            <pc:docMk/>
            <pc:sldMk cId="436686117" sldId="2147481433"/>
            <ac:spMk id="15" creationId="{E484EDC2-FEC4-3F93-0F3F-03417C6C3C01}"/>
          </ac:spMkLst>
        </pc:spChg>
        <pc:spChg chg="del">
          <ac:chgData name="RUFFET, Malcolm" userId="ef33cb5d-7c5f-44ea-8bd1-71f6d9da9dec" providerId="ADAL" clId="{42A6F1C5-53D2-4848-9E6F-5902AFD5EAD4}" dt="2024-02-22T14:00:33.035" v="12678" actId="478"/>
          <ac:spMkLst>
            <pc:docMk/>
            <pc:sldMk cId="436686117" sldId="2147481433"/>
            <ac:spMk id="16" creationId="{159C1621-7D77-FA46-578E-2141E9507077}"/>
          </ac:spMkLst>
        </pc:spChg>
        <pc:spChg chg="del">
          <ac:chgData name="RUFFET, Malcolm" userId="ef33cb5d-7c5f-44ea-8bd1-71f6d9da9dec" providerId="ADAL" clId="{42A6F1C5-53D2-4848-9E6F-5902AFD5EAD4}" dt="2024-02-22T14:00:33.035" v="12678" actId="478"/>
          <ac:spMkLst>
            <pc:docMk/>
            <pc:sldMk cId="436686117" sldId="2147481433"/>
            <ac:spMk id="17" creationId="{33A9EA35-D98F-D2A4-5FD7-276A8884346D}"/>
          </ac:spMkLst>
        </pc:spChg>
        <pc:spChg chg="add mod">
          <ac:chgData name="RUFFET, Malcolm" userId="ef33cb5d-7c5f-44ea-8bd1-71f6d9da9dec" providerId="ADAL" clId="{42A6F1C5-53D2-4848-9E6F-5902AFD5EAD4}" dt="2024-02-22T14:00:49.552" v="12680"/>
          <ac:spMkLst>
            <pc:docMk/>
            <pc:sldMk cId="436686117" sldId="2147481433"/>
            <ac:spMk id="18" creationId="{684D87A3-9941-4DCA-9A6C-A951AE27A4A2}"/>
          </ac:spMkLst>
        </pc:spChg>
        <pc:spChg chg="add mod">
          <ac:chgData name="RUFFET, Malcolm" userId="ef33cb5d-7c5f-44ea-8bd1-71f6d9da9dec" providerId="ADAL" clId="{42A6F1C5-53D2-4848-9E6F-5902AFD5EAD4}" dt="2024-02-22T14:14:45.225" v="12731" actId="123"/>
          <ac:spMkLst>
            <pc:docMk/>
            <pc:sldMk cId="436686117" sldId="2147481433"/>
            <ac:spMk id="19" creationId="{83139EE0-2A9C-35A2-A03A-CD90625EED8B}"/>
          </ac:spMkLst>
        </pc:spChg>
        <pc:spChg chg="add mod">
          <ac:chgData name="RUFFET, Malcolm" userId="ef33cb5d-7c5f-44ea-8bd1-71f6d9da9dec" providerId="ADAL" clId="{42A6F1C5-53D2-4848-9E6F-5902AFD5EAD4}" dt="2024-02-22T14:00:49.552" v="12680"/>
          <ac:spMkLst>
            <pc:docMk/>
            <pc:sldMk cId="436686117" sldId="2147481433"/>
            <ac:spMk id="20" creationId="{F1B68105-98BE-6FA9-99CD-0C8EF8EE82D1}"/>
          </ac:spMkLst>
        </pc:spChg>
        <pc:spChg chg="del">
          <ac:chgData name="RUFFET, Malcolm" userId="ef33cb5d-7c5f-44ea-8bd1-71f6d9da9dec" providerId="ADAL" clId="{42A6F1C5-53D2-4848-9E6F-5902AFD5EAD4}" dt="2024-02-22T14:00:33.035" v="12678" actId="478"/>
          <ac:spMkLst>
            <pc:docMk/>
            <pc:sldMk cId="436686117" sldId="2147481433"/>
            <ac:spMk id="43" creationId="{FC7740A1-3782-37EC-2922-9F21AA474B4D}"/>
          </ac:spMkLst>
        </pc:spChg>
        <pc:spChg chg="del">
          <ac:chgData name="RUFFET, Malcolm" userId="ef33cb5d-7c5f-44ea-8bd1-71f6d9da9dec" providerId="ADAL" clId="{42A6F1C5-53D2-4848-9E6F-5902AFD5EAD4}" dt="2024-02-22T14:00:33.035" v="12678" actId="478"/>
          <ac:spMkLst>
            <pc:docMk/>
            <pc:sldMk cId="436686117" sldId="2147481433"/>
            <ac:spMk id="45" creationId="{2F848604-1019-0A8A-6A42-A490B0D4CEC2}"/>
          </ac:spMkLst>
        </pc:spChg>
        <pc:spChg chg="add mod">
          <ac:chgData name="RUFFET, Malcolm" userId="ef33cb5d-7c5f-44ea-8bd1-71f6d9da9dec" providerId="ADAL" clId="{42A6F1C5-53D2-4848-9E6F-5902AFD5EAD4}" dt="2024-02-22T14:00:49.552" v="12680"/>
          <ac:spMkLst>
            <pc:docMk/>
            <pc:sldMk cId="436686117" sldId="2147481433"/>
            <ac:spMk id="54" creationId="{73589B68-C667-6EE7-AC17-00A7DFDFE1FA}"/>
          </ac:spMkLst>
        </pc:spChg>
        <pc:spChg chg="add mod">
          <ac:chgData name="RUFFET, Malcolm" userId="ef33cb5d-7c5f-44ea-8bd1-71f6d9da9dec" providerId="ADAL" clId="{42A6F1C5-53D2-4848-9E6F-5902AFD5EAD4}" dt="2024-02-22T14:00:49.552" v="12680"/>
          <ac:spMkLst>
            <pc:docMk/>
            <pc:sldMk cId="436686117" sldId="2147481433"/>
            <ac:spMk id="89" creationId="{5418B780-1F1C-D9D8-EBCC-D6DBF73B70C3}"/>
          </ac:spMkLst>
        </pc:spChg>
        <pc:spChg chg="add mod">
          <ac:chgData name="RUFFET, Malcolm" userId="ef33cb5d-7c5f-44ea-8bd1-71f6d9da9dec" providerId="ADAL" clId="{42A6F1C5-53D2-4848-9E6F-5902AFD5EAD4}" dt="2024-02-22T14:01:16.038" v="12683" actId="207"/>
          <ac:spMkLst>
            <pc:docMk/>
            <pc:sldMk cId="436686117" sldId="2147481433"/>
            <ac:spMk id="90" creationId="{9248DFD5-F676-B148-5264-74114F613CB7}"/>
          </ac:spMkLst>
        </pc:spChg>
        <pc:spChg chg="add mod">
          <ac:chgData name="RUFFET, Malcolm" userId="ef33cb5d-7c5f-44ea-8bd1-71f6d9da9dec" providerId="ADAL" clId="{42A6F1C5-53D2-4848-9E6F-5902AFD5EAD4}" dt="2024-02-22T14:00:49.552" v="12680"/>
          <ac:spMkLst>
            <pc:docMk/>
            <pc:sldMk cId="436686117" sldId="2147481433"/>
            <ac:spMk id="92" creationId="{25133C55-334C-9E50-26D2-490EE7F304D3}"/>
          </ac:spMkLst>
        </pc:spChg>
        <pc:spChg chg="add mod">
          <ac:chgData name="RUFFET, Malcolm" userId="ef33cb5d-7c5f-44ea-8bd1-71f6d9da9dec" providerId="ADAL" clId="{42A6F1C5-53D2-4848-9E6F-5902AFD5EAD4}" dt="2024-02-22T14:00:49.552" v="12680"/>
          <ac:spMkLst>
            <pc:docMk/>
            <pc:sldMk cId="436686117" sldId="2147481433"/>
            <ac:spMk id="94" creationId="{617ED4F4-D089-6EED-3269-180E436F9EF8}"/>
          </ac:spMkLst>
        </pc:spChg>
        <pc:spChg chg="add mod">
          <ac:chgData name="RUFFET, Malcolm" userId="ef33cb5d-7c5f-44ea-8bd1-71f6d9da9dec" providerId="ADAL" clId="{42A6F1C5-53D2-4848-9E6F-5902AFD5EAD4}" dt="2024-02-22T14:00:49.552" v="12680"/>
          <ac:spMkLst>
            <pc:docMk/>
            <pc:sldMk cId="436686117" sldId="2147481433"/>
            <ac:spMk id="96" creationId="{92BCA199-AAF0-9AB1-7711-D244FC98F49C}"/>
          </ac:spMkLst>
        </pc:spChg>
        <pc:spChg chg="add mod">
          <ac:chgData name="RUFFET, Malcolm" userId="ef33cb5d-7c5f-44ea-8bd1-71f6d9da9dec" providerId="ADAL" clId="{42A6F1C5-53D2-4848-9E6F-5902AFD5EAD4}" dt="2024-02-22T14:01:04.883" v="12682" actId="207"/>
          <ac:spMkLst>
            <pc:docMk/>
            <pc:sldMk cId="436686117" sldId="2147481433"/>
            <ac:spMk id="98" creationId="{86C8ED8B-5F09-04E6-FE83-A9BDFA12F6E6}"/>
          </ac:spMkLst>
        </pc:spChg>
        <pc:spChg chg="del">
          <ac:chgData name="RUFFET, Malcolm" userId="ef33cb5d-7c5f-44ea-8bd1-71f6d9da9dec" providerId="ADAL" clId="{42A6F1C5-53D2-4848-9E6F-5902AFD5EAD4}" dt="2024-02-22T14:00:33.035" v="12678" actId="478"/>
          <ac:spMkLst>
            <pc:docMk/>
            <pc:sldMk cId="436686117" sldId="2147481433"/>
            <ac:spMk id="123" creationId="{2BC20B39-CDCD-5721-B44F-F63439986E6B}"/>
          </ac:spMkLst>
        </pc:spChg>
        <pc:spChg chg="del">
          <ac:chgData name="RUFFET, Malcolm" userId="ef33cb5d-7c5f-44ea-8bd1-71f6d9da9dec" providerId="ADAL" clId="{42A6F1C5-53D2-4848-9E6F-5902AFD5EAD4}" dt="2024-02-22T14:00:33.035" v="12678" actId="478"/>
          <ac:spMkLst>
            <pc:docMk/>
            <pc:sldMk cId="436686117" sldId="2147481433"/>
            <ac:spMk id="124" creationId="{A5AA2C81-811C-6D35-6109-25DC0D8A89EC}"/>
          </ac:spMkLst>
        </pc:spChg>
        <pc:spChg chg="del">
          <ac:chgData name="RUFFET, Malcolm" userId="ef33cb5d-7c5f-44ea-8bd1-71f6d9da9dec" providerId="ADAL" clId="{42A6F1C5-53D2-4848-9E6F-5902AFD5EAD4}" dt="2024-02-22T14:00:33.035" v="12678" actId="478"/>
          <ac:spMkLst>
            <pc:docMk/>
            <pc:sldMk cId="436686117" sldId="2147481433"/>
            <ac:spMk id="125" creationId="{8E8503C3-6637-9148-191A-BE08F64AC483}"/>
          </ac:spMkLst>
        </pc:spChg>
        <pc:spChg chg="del">
          <ac:chgData name="RUFFET, Malcolm" userId="ef33cb5d-7c5f-44ea-8bd1-71f6d9da9dec" providerId="ADAL" clId="{42A6F1C5-53D2-4848-9E6F-5902AFD5EAD4}" dt="2024-02-22T14:00:33.035" v="12678" actId="478"/>
          <ac:spMkLst>
            <pc:docMk/>
            <pc:sldMk cId="436686117" sldId="2147481433"/>
            <ac:spMk id="126" creationId="{5AC12142-5B7A-B355-8D79-D9D9D6C183A5}"/>
          </ac:spMkLst>
        </pc:spChg>
        <pc:spChg chg="del">
          <ac:chgData name="RUFFET, Malcolm" userId="ef33cb5d-7c5f-44ea-8bd1-71f6d9da9dec" providerId="ADAL" clId="{42A6F1C5-53D2-4848-9E6F-5902AFD5EAD4}" dt="2024-02-22T14:00:33.035" v="12678" actId="478"/>
          <ac:spMkLst>
            <pc:docMk/>
            <pc:sldMk cId="436686117" sldId="2147481433"/>
            <ac:spMk id="160" creationId="{AA7B0AD9-728E-D75D-4D92-EA32164807F6}"/>
          </ac:spMkLst>
        </pc:spChg>
        <pc:spChg chg="del">
          <ac:chgData name="RUFFET, Malcolm" userId="ef33cb5d-7c5f-44ea-8bd1-71f6d9da9dec" providerId="ADAL" clId="{42A6F1C5-53D2-4848-9E6F-5902AFD5EAD4}" dt="2024-02-22T14:00:33.035" v="12678" actId="478"/>
          <ac:spMkLst>
            <pc:docMk/>
            <pc:sldMk cId="436686117" sldId="2147481433"/>
            <ac:spMk id="161" creationId="{50E199FB-D80F-0D51-BEC3-D3A48D667708}"/>
          </ac:spMkLst>
        </pc:spChg>
        <pc:spChg chg="add mod">
          <ac:chgData name="RUFFET, Malcolm" userId="ef33cb5d-7c5f-44ea-8bd1-71f6d9da9dec" providerId="ADAL" clId="{42A6F1C5-53D2-4848-9E6F-5902AFD5EAD4}" dt="2024-02-22T14:00:49.552" v="12680"/>
          <ac:spMkLst>
            <pc:docMk/>
            <pc:sldMk cId="436686117" sldId="2147481433"/>
            <ac:spMk id="224" creationId="{F1187C47-DAD7-82C2-22BC-783F6516101C}"/>
          </ac:spMkLst>
        </pc:spChg>
        <pc:spChg chg="add mod">
          <ac:chgData name="RUFFET, Malcolm" userId="ef33cb5d-7c5f-44ea-8bd1-71f6d9da9dec" providerId="ADAL" clId="{42A6F1C5-53D2-4848-9E6F-5902AFD5EAD4}" dt="2024-02-22T14:14:45.225" v="12731" actId="123"/>
          <ac:spMkLst>
            <pc:docMk/>
            <pc:sldMk cId="436686117" sldId="2147481433"/>
            <ac:spMk id="225" creationId="{0601B8AC-17E1-DC5A-6739-95B896A78405}"/>
          </ac:spMkLst>
        </pc:spChg>
        <pc:spChg chg="add mod">
          <ac:chgData name="RUFFET, Malcolm" userId="ef33cb5d-7c5f-44ea-8bd1-71f6d9da9dec" providerId="ADAL" clId="{42A6F1C5-53D2-4848-9E6F-5902AFD5EAD4}" dt="2024-02-22T14:00:49.552" v="12680"/>
          <ac:spMkLst>
            <pc:docMk/>
            <pc:sldMk cId="436686117" sldId="2147481433"/>
            <ac:spMk id="226" creationId="{309D26D7-308D-33C3-62A8-606D7BCC83B3}"/>
          </ac:spMkLst>
        </pc:spChg>
        <pc:spChg chg="add mod">
          <ac:chgData name="RUFFET, Malcolm" userId="ef33cb5d-7c5f-44ea-8bd1-71f6d9da9dec" providerId="ADAL" clId="{42A6F1C5-53D2-4848-9E6F-5902AFD5EAD4}" dt="2024-02-22T14:13:11.760" v="12712" actId="1076"/>
          <ac:spMkLst>
            <pc:docMk/>
            <pc:sldMk cId="436686117" sldId="2147481433"/>
            <ac:spMk id="227" creationId="{7A253671-51F4-40B3-C158-57E425CB0943}"/>
          </ac:spMkLst>
        </pc:spChg>
        <pc:spChg chg="mod">
          <ac:chgData name="RUFFET, Malcolm" userId="ef33cb5d-7c5f-44ea-8bd1-71f6d9da9dec" providerId="ADAL" clId="{42A6F1C5-53D2-4848-9E6F-5902AFD5EAD4}" dt="2024-02-22T14:00:49.552" v="12680"/>
          <ac:spMkLst>
            <pc:docMk/>
            <pc:sldMk cId="436686117" sldId="2147481433"/>
            <ac:spMk id="230" creationId="{BFBADE87-FC40-B876-29EA-2DA79B72D799}"/>
          </ac:spMkLst>
        </pc:spChg>
        <pc:spChg chg="mod">
          <ac:chgData name="RUFFET, Malcolm" userId="ef33cb5d-7c5f-44ea-8bd1-71f6d9da9dec" providerId="ADAL" clId="{42A6F1C5-53D2-4848-9E6F-5902AFD5EAD4}" dt="2024-02-22T14:00:49.552" v="12680"/>
          <ac:spMkLst>
            <pc:docMk/>
            <pc:sldMk cId="436686117" sldId="2147481433"/>
            <ac:spMk id="233" creationId="{BC6F8E71-CC24-A4A6-3333-0A6677AF6978}"/>
          </ac:spMkLst>
        </pc:spChg>
        <pc:spChg chg="mod">
          <ac:chgData name="RUFFET, Malcolm" userId="ef33cb5d-7c5f-44ea-8bd1-71f6d9da9dec" providerId="ADAL" clId="{42A6F1C5-53D2-4848-9E6F-5902AFD5EAD4}" dt="2024-02-22T14:00:49.552" v="12680"/>
          <ac:spMkLst>
            <pc:docMk/>
            <pc:sldMk cId="436686117" sldId="2147481433"/>
            <ac:spMk id="236" creationId="{D2681EBD-8DA3-D9EC-083C-5D310420F211}"/>
          </ac:spMkLst>
        </pc:spChg>
        <pc:spChg chg="add mod">
          <ac:chgData name="RUFFET, Malcolm" userId="ef33cb5d-7c5f-44ea-8bd1-71f6d9da9dec" providerId="ADAL" clId="{42A6F1C5-53D2-4848-9E6F-5902AFD5EAD4}" dt="2024-02-22T14:01:16.038" v="12683" actId="207"/>
          <ac:spMkLst>
            <pc:docMk/>
            <pc:sldMk cId="436686117" sldId="2147481433"/>
            <ac:spMk id="237" creationId="{693AA1B0-C96A-AC6D-B0A9-D41F8499D158}"/>
          </ac:spMkLst>
        </pc:spChg>
        <pc:spChg chg="add mod">
          <ac:chgData name="RUFFET, Malcolm" userId="ef33cb5d-7c5f-44ea-8bd1-71f6d9da9dec" providerId="ADAL" clId="{42A6F1C5-53D2-4848-9E6F-5902AFD5EAD4}" dt="2024-02-22T14:00:49.552" v="12680"/>
          <ac:spMkLst>
            <pc:docMk/>
            <pc:sldMk cId="436686117" sldId="2147481433"/>
            <ac:spMk id="239" creationId="{9B441DB9-6998-DAAF-CCEC-1A79EAB912EE}"/>
          </ac:spMkLst>
        </pc:spChg>
        <pc:spChg chg="add mod">
          <ac:chgData name="RUFFET, Malcolm" userId="ef33cb5d-7c5f-44ea-8bd1-71f6d9da9dec" providerId="ADAL" clId="{42A6F1C5-53D2-4848-9E6F-5902AFD5EAD4}" dt="2024-02-22T14:00:49.552" v="12680"/>
          <ac:spMkLst>
            <pc:docMk/>
            <pc:sldMk cId="436686117" sldId="2147481433"/>
            <ac:spMk id="241" creationId="{47B3EA9B-7B91-05FE-CDF9-5526955B5757}"/>
          </ac:spMkLst>
        </pc:spChg>
        <pc:spChg chg="add mod">
          <ac:chgData name="RUFFET, Malcolm" userId="ef33cb5d-7c5f-44ea-8bd1-71f6d9da9dec" providerId="ADAL" clId="{42A6F1C5-53D2-4848-9E6F-5902AFD5EAD4}" dt="2024-02-22T14:00:49.552" v="12680"/>
          <ac:spMkLst>
            <pc:docMk/>
            <pc:sldMk cId="436686117" sldId="2147481433"/>
            <ac:spMk id="243" creationId="{9E0024CD-1E56-0285-2C34-98F2760F633D}"/>
          </ac:spMkLst>
        </pc:spChg>
        <pc:spChg chg="add mod">
          <ac:chgData name="RUFFET, Malcolm" userId="ef33cb5d-7c5f-44ea-8bd1-71f6d9da9dec" providerId="ADAL" clId="{42A6F1C5-53D2-4848-9E6F-5902AFD5EAD4}" dt="2024-02-22T14:01:16.038" v="12683" actId="207"/>
          <ac:spMkLst>
            <pc:docMk/>
            <pc:sldMk cId="436686117" sldId="2147481433"/>
            <ac:spMk id="244" creationId="{4B9B82F6-82FE-21E7-880F-5E792FBAFD96}"/>
          </ac:spMkLst>
        </pc:spChg>
        <pc:spChg chg="add mod">
          <ac:chgData name="RUFFET, Malcolm" userId="ef33cb5d-7c5f-44ea-8bd1-71f6d9da9dec" providerId="ADAL" clId="{42A6F1C5-53D2-4848-9E6F-5902AFD5EAD4}" dt="2024-02-22T14:00:49.552" v="12680"/>
          <ac:spMkLst>
            <pc:docMk/>
            <pc:sldMk cId="436686117" sldId="2147481433"/>
            <ac:spMk id="246" creationId="{6ECDDAD0-C05E-A397-5142-FFEB7E60ACE6}"/>
          </ac:spMkLst>
        </pc:spChg>
        <pc:grpChg chg="del">
          <ac:chgData name="RUFFET, Malcolm" userId="ef33cb5d-7c5f-44ea-8bd1-71f6d9da9dec" providerId="ADAL" clId="{42A6F1C5-53D2-4848-9E6F-5902AFD5EAD4}" dt="2024-02-22T14:00:33.035" v="12678" actId="478"/>
          <ac:grpSpMkLst>
            <pc:docMk/>
            <pc:sldMk cId="436686117" sldId="2147481433"/>
            <ac:grpSpMk id="21" creationId="{DEF55DF7-A455-18A5-E328-02DD822A0210}"/>
          </ac:grpSpMkLst>
        </pc:grpChg>
        <pc:grpChg chg="del">
          <ac:chgData name="RUFFET, Malcolm" userId="ef33cb5d-7c5f-44ea-8bd1-71f6d9da9dec" providerId="ADAL" clId="{42A6F1C5-53D2-4848-9E6F-5902AFD5EAD4}" dt="2024-02-22T14:00:33.035" v="12678" actId="478"/>
          <ac:grpSpMkLst>
            <pc:docMk/>
            <pc:sldMk cId="436686117" sldId="2147481433"/>
            <ac:grpSpMk id="34" creationId="{E4BF0198-F099-4414-F4DE-4263EC683654}"/>
          </ac:grpSpMkLst>
        </pc:grpChg>
        <pc:grpChg chg="del">
          <ac:chgData name="RUFFET, Malcolm" userId="ef33cb5d-7c5f-44ea-8bd1-71f6d9da9dec" providerId="ADAL" clId="{42A6F1C5-53D2-4848-9E6F-5902AFD5EAD4}" dt="2024-02-22T14:00:33.035" v="12678" actId="478"/>
          <ac:grpSpMkLst>
            <pc:docMk/>
            <pc:sldMk cId="436686117" sldId="2147481433"/>
            <ac:grpSpMk id="47" creationId="{4DAA4882-53FF-1992-DD97-A4BEC56513B9}"/>
          </ac:grpSpMkLst>
        </pc:grpChg>
        <pc:grpChg chg="del">
          <ac:chgData name="RUFFET, Malcolm" userId="ef33cb5d-7c5f-44ea-8bd1-71f6d9da9dec" providerId="ADAL" clId="{42A6F1C5-53D2-4848-9E6F-5902AFD5EAD4}" dt="2024-02-22T14:00:33.035" v="12678" actId="478"/>
          <ac:grpSpMkLst>
            <pc:docMk/>
            <pc:sldMk cId="436686117" sldId="2147481433"/>
            <ac:grpSpMk id="64" creationId="{293F4F10-817E-1832-83A6-1381BB03CA1C}"/>
          </ac:grpSpMkLst>
        </pc:grpChg>
        <pc:grpChg chg="del">
          <ac:chgData name="RUFFET, Malcolm" userId="ef33cb5d-7c5f-44ea-8bd1-71f6d9da9dec" providerId="ADAL" clId="{42A6F1C5-53D2-4848-9E6F-5902AFD5EAD4}" dt="2024-02-22T14:00:33.035" v="12678" actId="478"/>
          <ac:grpSpMkLst>
            <pc:docMk/>
            <pc:sldMk cId="436686117" sldId="2147481433"/>
            <ac:grpSpMk id="70" creationId="{619A1EB5-DA6F-6B40-4697-52DB02F421C4}"/>
          </ac:grpSpMkLst>
        </pc:grpChg>
        <pc:grpChg chg="del">
          <ac:chgData name="RUFFET, Malcolm" userId="ef33cb5d-7c5f-44ea-8bd1-71f6d9da9dec" providerId="ADAL" clId="{42A6F1C5-53D2-4848-9E6F-5902AFD5EAD4}" dt="2024-02-22T14:00:33.035" v="12678" actId="478"/>
          <ac:grpSpMkLst>
            <pc:docMk/>
            <pc:sldMk cId="436686117" sldId="2147481433"/>
            <ac:grpSpMk id="80" creationId="{083E3572-F695-1A69-DAF4-32E236995B79}"/>
          </ac:grpSpMkLst>
        </pc:grpChg>
        <pc:grpChg chg="del">
          <ac:chgData name="RUFFET, Malcolm" userId="ef33cb5d-7c5f-44ea-8bd1-71f6d9da9dec" providerId="ADAL" clId="{42A6F1C5-53D2-4848-9E6F-5902AFD5EAD4}" dt="2024-02-22T14:00:33.035" v="12678" actId="478"/>
          <ac:grpSpMkLst>
            <pc:docMk/>
            <pc:sldMk cId="436686117" sldId="2147481433"/>
            <ac:grpSpMk id="162" creationId="{CCEDD5FA-9C41-7548-FA75-3217AA3B64C4}"/>
          </ac:grpSpMkLst>
        </pc:grpChg>
        <pc:grpChg chg="add mod">
          <ac:chgData name="RUFFET, Malcolm" userId="ef33cb5d-7c5f-44ea-8bd1-71f6d9da9dec" providerId="ADAL" clId="{42A6F1C5-53D2-4848-9E6F-5902AFD5EAD4}" dt="2024-02-22T14:13:11.760" v="12712" actId="1076"/>
          <ac:grpSpMkLst>
            <pc:docMk/>
            <pc:sldMk cId="436686117" sldId="2147481433"/>
            <ac:grpSpMk id="228" creationId="{2FDE02F9-BEEB-8E75-1A93-1A5820A118BE}"/>
          </ac:grpSpMkLst>
        </pc:grpChg>
        <pc:grpChg chg="add mod">
          <ac:chgData name="RUFFET, Malcolm" userId="ef33cb5d-7c5f-44ea-8bd1-71f6d9da9dec" providerId="ADAL" clId="{42A6F1C5-53D2-4848-9E6F-5902AFD5EAD4}" dt="2024-02-22T14:13:11.760" v="12712" actId="1076"/>
          <ac:grpSpMkLst>
            <pc:docMk/>
            <pc:sldMk cId="436686117" sldId="2147481433"/>
            <ac:grpSpMk id="231" creationId="{5902CCF6-F4D0-FE3C-A9F0-5F70FC90CEBE}"/>
          </ac:grpSpMkLst>
        </pc:grpChg>
        <pc:grpChg chg="add mod">
          <ac:chgData name="RUFFET, Malcolm" userId="ef33cb5d-7c5f-44ea-8bd1-71f6d9da9dec" providerId="ADAL" clId="{42A6F1C5-53D2-4848-9E6F-5902AFD5EAD4}" dt="2024-02-22T14:13:11.760" v="12712" actId="1076"/>
          <ac:grpSpMkLst>
            <pc:docMk/>
            <pc:sldMk cId="436686117" sldId="2147481433"/>
            <ac:grpSpMk id="234" creationId="{C2364D57-4BE5-668B-9292-66628D81B44C}"/>
          </ac:grpSpMkLst>
        </pc:grpChg>
        <pc:grpChg chg="del">
          <ac:chgData name="RUFFET, Malcolm" userId="ef33cb5d-7c5f-44ea-8bd1-71f6d9da9dec" providerId="ADAL" clId="{42A6F1C5-53D2-4848-9E6F-5902AFD5EAD4}" dt="2024-02-22T14:00:33.035" v="12678" actId="478"/>
          <ac:grpSpMkLst>
            <pc:docMk/>
            <pc:sldMk cId="436686117" sldId="2147481433"/>
            <ac:grpSpMk id="249" creationId="{A13D6006-2C5A-B191-0E1E-44149B816CFB}"/>
          </ac:grpSpMkLst>
        </pc:grpChg>
        <pc:picChg chg="add mod">
          <ac:chgData name="RUFFET, Malcolm" userId="ef33cb5d-7c5f-44ea-8bd1-71f6d9da9dec" providerId="ADAL" clId="{42A6F1C5-53D2-4848-9E6F-5902AFD5EAD4}" dt="2024-02-22T14:00:49.552" v="12680"/>
          <ac:picMkLst>
            <pc:docMk/>
            <pc:sldMk cId="436686117" sldId="2147481433"/>
            <ac:picMk id="55" creationId="{2DC0262A-27EC-DF99-830F-42F78DB00953}"/>
          </ac:picMkLst>
        </pc:picChg>
        <pc:picChg chg="add mod">
          <ac:chgData name="RUFFET, Malcolm" userId="ef33cb5d-7c5f-44ea-8bd1-71f6d9da9dec" providerId="ADAL" clId="{42A6F1C5-53D2-4848-9E6F-5902AFD5EAD4}" dt="2024-02-22T14:00:49.552" v="12680"/>
          <ac:picMkLst>
            <pc:docMk/>
            <pc:sldMk cId="436686117" sldId="2147481433"/>
            <ac:picMk id="91" creationId="{8D843AC9-6000-1208-97AA-40A503DFAB01}"/>
          </ac:picMkLst>
        </pc:picChg>
        <pc:picChg chg="add mod">
          <ac:chgData name="RUFFET, Malcolm" userId="ef33cb5d-7c5f-44ea-8bd1-71f6d9da9dec" providerId="ADAL" clId="{42A6F1C5-53D2-4848-9E6F-5902AFD5EAD4}" dt="2024-02-22T14:00:49.552" v="12680"/>
          <ac:picMkLst>
            <pc:docMk/>
            <pc:sldMk cId="436686117" sldId="2147481433"/>
            <ac:picMk id="93" creationId="{BADA5282-A331-488E-B27F-58EE116C8D05}"/>
          </ac:picMkLst>
        </pc:picChg>
        <pc:picChg chg="add mod">
          <ac:chgData name="RUFFET, Malcolm" userId="ef33cb5d-7c5f-44ea-8bd1-71f6d9da9dec" providerId="ADAL" clId="{42A6F1C5-53D2-4848-9E6F-5902AFD5EAD4}" dt="2024-02-22T14:00:49.552" v="12680"/>
          <ac:picMkLst>
            <pc:docMk/>
            <pc:sldMk cId="436686117" sldId="2147481433"/>
            <ac:picMk id="95" creationId="{A3264259-66C3-A858-9760-E80E12D5E6A3}"/>
          </ac:picMkLst>
        </pc:picChg>
        <pc:picChg chg="del">
          <ac:chgData name="RUFFET, Malcolm" userId="ef33cb5d-7c5f-44ea-8bd1-71f6d9da9dec" providerId="ADAL" clId="{42A6F1C5-53D2-4848-9E6F-5902AFD5EAD4}" dt="2024-02-22T14:00:33.035" v="12678" actId="478"/>
          <ac:picMkLst>
            <pc:docMk/>
            <pc:sldMk cId="436686117" sldId="2147481433"/>
            <ac:picMk id="127" creationId="{2336A18B-DE19-45AF-4C35-0073CDB9052D}"/>
          </ac:picMkLst>
        </pc:picChg>
        <pc:picChg chg="mod">
          <ac:chgData name="RUFFET, Malcolm" userId="ef33cb5d-7c5f-44ea-8bd1-71f6d9da9dec" providerId="ADAL" clId="{42A6F1C5-53D2-4848-9E6F-5902AFD5EAD4}" dt="2024-02-22T14:00:49.552" v="12680"/>
          <ac:picMkLst>
            <pc:docMk/>
            <pc:sldMk cId="436686117" sldId="2147481433"/>
            <ac:picMk id="229" creationId="{FDE03C74-29B8-AB91-9D1F-6658F7BAE946}"/>
          </ac:picMkLst>
        </pc:picChg>
        <pc:picChg chg="mod">
          <ac:chgData name="RUFFET, Malcolm" userId="ef33cb5d-7c5f-44ea-8bd1-71f6d9da9dec" providerId="ADAL" clId="{42A6F1C5-53D2-4848-9E6F-5902AFD5EAD4}" dt="2024-02-22T14:00:49.552" v="12680"/>
          <ac:picMkLst>
            <pc:docMk/>
            <pc:sldMk cId="436686117" sldId="2147481433"/>
            <ac:picMk id="232" creationId="{5057CDA8-45D5-42C7-5728-CD8ED42AA8E2}"/>
          </ac:picMkLst>
        </pc:picChg>
        <pc:picChg chg="mod">
          <ac:chgData name="RUFFET, Malcolm" userId="ef33cb5d-7c5f-44ea-8bd1-71f6d9da9dec" providerId="ADAL" clId="{42A6F1C5-53D2-4848-9E6F-5902AFD5EAD4}" dt="2024-02-22T14:00:49.552" v="12680"/>
          <ac:picMkLst>
            <pc:docMk/>
            <pc:sldMk cId="436686117" sldId="2147481433"/>
            <ac:picMk id="235" creationId="{A9F74FCC-1433-BE38-EFC5-88574CC16AA0}"/>
          </ac:picMkLst>
        </pc:picChg>
        <pc:picChg chg="add mod">
          <ac:chgData name="RUFFET, Malcolm" userId="ef33cb5d-7c5f-44ea-8bd1-71f6d9da9dec" providerId="ADAL" clId="{42A6F1C5-53D2-4848-9E6F-5902AFD5EAD4}" dt="2024-02-22T14:00:49.552" v="12680"/>
          <ac:picMkLst>
            <pc:docMk/>
            <pc:sldMk cId="436686117" sldId="2147481433"/>
            <ac:picMk id="238" creationId="{C1867E89-045D-B592-A5AB-864D2AB38AE6}"/>
          </ac:picMkLst>
        </pc:picChg>
        <pc:picChg chg="add mod">
          <ac:chgData name="RUFFET, Malcolm" userId="ef33cb5d-7c5f-44ea-8bd1-71f6d9da9dec" providerId="ADAL" clId="{42A6F1C5-53D2-4848-9E6F-5902AFD5EAD4}" dt="2024-02-22T14:00:49.552" v="12680"/>
          <ac:picMkLst>
            <pc:docMk/>
            <pc:sldMk cId="436686117" sldId="2147481433"/>
            <ac:picMk id="240" creationId="{5F05E2E8-6596-99D6-73A3-F7403F9BA7D9}"/>
          </ac:picMkLst>
        </pc:picChg>
        <pc:picChg chg="add mod">
          <ac:chgData name="RUFFET, Malcolm" userId="ef33cb5d-7c5f-44ea-8bd1-71f6d9da9dec" providerId="ADAL" clId="{42A6F1C5-53D2-4848-9E6F-5902AFD5EAD4}" dt="2024-02-22T14:00:49.552" v="12680"/>
          <ac:picMkLst>
            <pc:docMk/>
            <pc:sldMk cId="436686117" sldId="2147481433"/>
            <ac:picMk id="242" creationId="{F1C7E549-EF44-F7CB-8EB9-D57879062BD8}"/>
          </ac:picMkLst>
        </pc:picChg>
        <pc:picChg chg="add mod">
          <ac:chgData name="RUFFET, Malcolm" userId="ef33cb5d-7c5f-44ea-8bd1-71f6d9da9dec" providerId="ADAL" clId="{42A6F1C5-53D2-4848-9E6F-5902AFD5EAD4}" dt="2024-02-22T14:00:49.552" v="12680"/>
          <ac:picMkLst>
            <pc:docMk/>
            <pc:sldMk cId="436686117" sldId="2147481433"/>
            <ac:picMk id="245" creationId="{F24A20AE-E59A-EF31-9A82-3733D27A49A4}"/>
          </ac:picMkLst>
        </pc:picChg>
        <pc:picChg chg="add mod">
          <ac:chgData name="RUFFET, Malcolm" userId="ef33cb5d-7c5f-44ea-8bd1-71f6d9da9dec" providerId="ADAL" clId="{42A6F1C5-53D2-4848-9E6F-5902AFD5EAD4}" dt="2024-02-22T14:00:49.552" v="12680"/>
          <ac:picMkLst>
            <pc:docMk/>
            <pc:sldMk cId="436686117" sldId="2147481433"/>
            <ac:picMk id="247" creationId="{1FC271B4-98A8-6218-0281-17235F17AF17}"/>
          </ac:picMkLst>
        </pc:picChg>
        <pc:cxnChg chg="add mod">
          <ac:chgData name="RUFFET, Malcolm" userId="ef33cb5d-7c5f-44ea-8bd1-71f6d9da9dec" providerId="ADAL" clId="{42A6F1C5-53D2-4848-9E6F-5902AFD5EAD4}" dt="2024-02-22T14:00:49.552" v="12680"/>
          <ac:cxnSpMkLst>
            <pc:docMk/>
            <pc:sldMk cId="436686117" sldId="2147481433"/>
            <ac:cxnSpMk id="2" creationId="{09A13806-D407-C593-DAE0-6DE7BD5D9120}"/>
          </ac:cxnSpMkLst>
        </pc:cxnChg>
        <pc:cxnChg chg="add mod">
          <ac:chgData name="RUFFET, Malcolm" userId="ef33cb5d-7c5f-44ea-8bd1-71f6d9da9dec" providerId="ADAL" clId="{42A6F1C5-53D2-4848-9E6F-5902AFD5EAD4}" dt="2024-02-22T14:00:49.552" v="12680"/>
          <ac:cxnSpMkLst>
            <pc:docMk/>
            <pc:sldMk cId="436686117" sldId="2147481433"/>
            <ac:cxnSpMk id="4" creationId="{844F19DC-5097-7766-1433-5E4C604F5EB7}"/>
          </ac:cxnSpMkLst>
        </pc:cxnChg>
        <pc:cxnChg chg="del">
          <ac:chgData name="RUFFET, Malcolm" userId="ef33cb5d-7c5f-44ea-8bd1-71f6d9da9dec" providerId="ADAL" clId="{42A6F1C5-53D2-4848-9E6F-5902AFD5EAD4}" dt="2024-02-22T14:00:33.035" v="12678" actId="478"/>
          <ac:cxnSpMkLst>
            <pc:docMk/>
            <pc:sldMk cId="436686117" sldId="2147481433"/>
            <ac:cxnSpMk id="33" creationId="{1204B050-1DC7-F7FF-695F-B19A2EA81217}"/>
          </ac:cxnSpMkLst>
        </pc:cxnChg>
        <pc:cxnChg chg="del">
          <ac:chgData name="RUFFET, Malcolm" userId="ef33cb5d-7c5f-44ea-8bd1-71f6d9da9dec" providerId="ADAL" clId="{42A6F1C5-53D2-4848-9E6F-5902AFD5EAD4}" dt="2024-02-22T14:00:33.035" v="12678" actId="478"/>
          <ac:cxnSpMkLst>
            <pc:docMk/>
            <pc:sldMk cId="436686117" sldId="2147481433"/>
            <ac:cxnSpMk id="44" creationId="{2D99F3A5-1C82-0E4E-990E-2951C9D8AE93}"/>
          </ac:cxnSpMkLst>
        </pc:cxnChg>
        <pc:cxnChg chg="del">
          <ac:chgData name="RUFFET, Malcolm" userId="ef33cb5d-7c5f-44ea-8bd1-71f6d9da9dec" providerId="ADAL" clId="{42A6F1C5-53D2-4848-9E6F-5902AFD5EAD4}" dt="2024-02-22T14:00:33.035" v="12678" actId="478"/>
          <ac:cxnSpMkLst>
            <pc:docMk/>
            <pc:sldMk cId="436686117" sldId="2147481433"/>
            <ac:cxnSpMk id="46" creationId="{B87DD264-51FD-6E25-23A5-C6EF87A4BAE6}"/>
          </ac:cxnSpMkLst>
        </pc:cxnChg>
        <pc:cxnChg chg="add mod">
          <ac:chgData name="RUFFET, Malcolm" userId="ef33cb5d-7c5f-44ea-8bd1-71f6d9da9dec" providerId="ADAL" clId="{42A6F1C5-53D2-4848-9E6F-5902AFD5EAD4}" dt="2024-02-22T14:00:49.552" v="12680"/>
          <ac:cxnSpMkLst>
            <pc:docMk/>
            <pc:sldMk cId="436686117" sldId="2147481433"/>
            <ac:cxnSpMk id="97" creationId="{A3409BDE-DB59-22D6-C837-4437B318CAAB}"/>
          </ac:cxnSpMkLst>
        </pc:cxnChg>
      </pc:sldChg>
      <pc:sldChg chg="addSp delSp modSp add mod">
        <pc:chgData name="RUFFET, Malcolm" userId="ef33cb5d-7c5f-44ea-8bd1-71f6d9da9dec" providerId="ADAL" clId="{42A6F1C5-53D2-4848-9E6F-5902AFD5EAD4}" dt="2024-02-22T14:16:16.154" v="12741" actId="20577"/>
        <pc:sldMkLst>
          <pc:docMk/>
          <pc:sldMk cId="3632670280" sldId="2147481434"/>
        </pc:sldMkLst>
        <pc:spChg chg="del">
          <ac:chgData name="RUFFET, Malcolm" userId="ef33cb5d-7c5f-44ea-8bd1-71f6d9da9dec" providerId="ADAL" clId="{42A6F1C5-53D2-4848-9E6F-5902AFD5EAD4}" dt="2024-02-22T14:01:43.932" v="12686" actId="478"/>
          <ac:spMkLst>
            <pc:docMk/>
            <pc:sldMk cId="3632670280" sldId="2147481434"/>
            <ac:spMk id="3" creationId="{FCE54E78-32FB-3780-7072-EBE7A21DCDFF}"/>
          </ac:spMkLst>
        </pc:spChg>
        <pc:spChg chg="mod">
          <ac:chgData name="RUFFET, Malcolm" userId="ef33cb5d-7c5f-44ea-8bd1-71f6d9da9dec" providerId="ADAL" clId="{42A6F1C5-53D2-4848-9E6F-5902AFD5EAD4}" dt="2024-02-22T14:16:16.154" v="12741" actId="20577"/>
          <ac:spMkLst>
            <pc:docMk/>
            <pc:sldMk cId="3632670280" sldId="2147481434"/>
            <ac:spMk id="5" creationId="{345F714E-B0DB-4AC0-A544-A6932E332BDD}"/>
          </ac:spMkLst>
        </pc:spChg>
        <pc:spChg chg="del">
          <ac:chgData name="RUFFET, Malcolm" userId="ef33cb5d-7c5f-44ea-8bd1-71f6d9da9dec" providerId="ADAL" clId="{42A6F1C5-53D2-4848-9E6F-5902AFD5EAD4}" dt="2024-02-22T14:01:43.932" v="12686" actId="478"/>
          <ac:spMkLst>
            <pc:docMk/>
            <pc:sldMk cId="3632670280" sldId="2147481434"/>
            <ac:spMk id="6" creationId="{8CEC6A37-DEA8-BB0B-FE43-6A55747C34D6}"/>
          </ac:spMkLst>
        </pc:spChg>
        <pc:spChg chg="add del mod">
          <ac:chgData name="RUFFET, Malcolm" userId="ef33cb5d-7c5f-44ea-8bd1-71f6d9da9dec" providerId="ADAL" clId="{42A6F1C5-53D2-4848-9E6F-5902AFD5EAD4}" dt="2024-02-22T14:15:39.590" v="12733" actId="478"/>
          <ac:spMkLst>
            <pc:docMk/>
            <pc:sldMk cId="3632670280" sldId="2147481434"/>
            <ac:spMk id="7" creationId="{ECF3A617-06AD-FA0A-5CFA-0E7435F994E2}"/>
          </ac:spMkLst>
        </pc:spChg>
        <pc:spChg chg="del">
          <ac:chgData name="RUFFET, Malcolm" userId="ef33cb5d-7c5f-44ea-8bd1-71f6d9da9dec" providerId="ADAL" clId="{42A6F1C5-53D2-4848-9E6F-5902AFD5EAD4}" dt="2024-02-22T14:01:43.932" v="12686" actId="478"/>
          <ac:spMkLst>
            <pc:docMk/>
            <pc:sldMk cId="3632670280" sldId="2147481434"/>
            <ac:spMk id="8" creationId="{B87A26A2-86A6-6C94-BA50-A5728B0285B2}"/>
          </ac:spMkLst>
        </pc:spChg>
        <pc:spChg chg="del">
          <ac:chgData name="RUFFET, Malcolm" userId="ef33cb5d-7c5f-44ea-8bd1-71f6d9da9dec" providerId="ADAL" clId="{42A6F1C5-53D2-4848-9E6F-5902AFD5EAD4}" dt="2024-02-22T14:01:43.932" v="12686" actId="478"/>
          <ac:spMkLst>
            <pc:docMk/>
            <pc:sldMk cId="3632670280" sldId="2147481434"/>
            <ac:spMk id="9" creationId="{9728AC0B-0743-CE9F-5AEE-0D6F342211B1}"/>
          </ac:spMkLst>
        </pc:spChg>
        <pc:spChg chg="del">
          <ac:chgData name="RUFFET, Malcolm" userId="ef33cb5d-7c5f-44ea-8bd1-71f6d9da9dec" providerId="ADAL" clId="{42A6F1C5-53D2-4848-9E6F-5902AFD5EAD4}" dt="2024-02-22T14:01:43.932" v="12686" actId="478"/>
          <ac:spMkLst>
            <pc:docMk/>
            <pc:sldMk cId="3632670280" sldId="2147481434"/>
            <ac:spMk id="11" creationId="{D688E535-89A5-1C5E-ED91-E836198687DA}"/>
          </ac:spMkLst>
        </pc:spChg>
        <pc:spChg chg="del">
          <ac:chgData name="RUFFET, Malcolm" userId="ef33cb5d-7c5f-44ea-8bd1-71f6d9da9dec" providerId="ADAL" clId="{42A6F1C5-53D2-4848-9E6F-5902AFD5EAD4}" dt="2024-02-22T14:01:43.932" v="12686" actId="478"/>
          <ac:spMkLst>
            <pc:docMk/>
            <pc:sldMk cId="3632670280" sldId="2147481434"/>
            <ac:spMk id="12" creationId="{D709C43B-4C5C-9ED9-7358-F94CA376D468}"/>
          </ac:spMkLst>
        </pc:spChg>
        <pc:spChg chg="del">
          <ac:chgData name="RUFFET, Malcolm" userId="ef33cb5d-7c5f-44ea-8bd1-71f6d9da9dec" providerId="ADAL" clId="{42A6F1C5-53D2-4848-9E6F-5902AFD5EAD4}" dt="2024-02-22T14:01:43.932" v="12686" actId="478"/>
          <ac:spMkLst>
            <pc:docMk/>
            <pc:sldMk cId="3632670280" sldId="2147481434"/>
            <ac:spMk id="13" creationId="{FC18329E-A472-A39B-AB79-F3DEC175E4E0}"/>
          </ac:spMkLst>
        </pc:spChg>
        <pc:spChg chg="del">
          <ac:chgData name="RUFFET, Malcolm" userId="ef33cb5d-7c5f-44ea-8bd1-71f6d9da9dec" providerId="ADAL" clId="{42A6F1C5-53D2-4848-9E6F-5902AFD5EAD4}" dt="2024-02-22T14:01:43.932" v="12686" actId="478"/>
          <ac:spMkLst>
            <pc:docMk/>
            <pc:sldMk cId="3632670280" sldId="2147481434"/>
            <ac:spMk id="14" creationId="{D42F0508-7BD1-6EF3-1D64-668517C0152B}"/>
          </ac:spMkLst>
        </pc:spChg>
        <pc:spChg chg="mod">
          <ac:chgData name="RUFFET, Malcolm" userId="ef33cb5d-7c5f-44ea-8bd1-71f6d9da9dec" providerId="ADAL" clId="{42A6F1C5-53D2-4848-9E6F-5902AFD5EAD4}" dt="2024-02-22T14:01:45.057" v="12687"/>
          <ac:spMkLst>
            <pc:docMk/>
            <pc:sldMk cId="3632670280" sldId="2147481434"/>
            <ac:spMk id="15" creationId="{53347A13-FB89-3218-8042-F68CE69A83AB}"/>
          </ac:spMkLst>
        </pc:spChg>
        <pc:spChg chg="mod">
          <ac:chgData name="RUFFET, Malcolm" userId="ef33cb5d-7c5f-44ea-8bd1-71f6d9da9dec" providerId="ADAL" clId="{42A6F1C5-53D2-4848-9E6F-5902AFD5EAD4}" dt="2024-02-22T14:01:45.057" v="12687"/>
          <ac:spMkLst>
            <pc:docMk/>
            <pc:sldMk cId="3632670280" sldId="2147481434"/>
            <ac:spMk id="16" creationId="{BBB22C77-D3FA-7ADE-6321-E244E83C5B20}"/>
          </ac:spMkLst>
        </pc:spChg>
        <pc:spChg chg="mod">
          <ac:chgData name="RUFFET, Malcolm" userId="ef33cb5d-7c5f-44ea-8bd1-71f6d9da9dec" providerId="ADAL" clId="{42A6F1C5-53D2-4848-9E6F-5902AFD5EAD4}" dt="2024-02-22T14:01:45.057" v="12687"/>
          <ac:spMkLst>
            <pc:docMk/>
            <pc:sldMk cId="3632670280" sldId="2147481434"/>
            <ac:spMk id="17" creationId="{2754CE84-18AD-5B41-3012-9549BC2420CE}"/>
          </ac:spMkLst>
        </pc:spChg>
        <pc:spChg chg="del">
          <ac:chgData name="RUFFET, Malcolm" userId="ef33cb5d-7c5f-44ea-8bd1-71f6d9da9dec" providerId="ADAL" clId="{42A6F1C5-53D2-4848-9E6F-5902AFD5EAD4}" dt="2024-02-22T14:01:43.932" v="12686" actId="478"/>
          <ac:spMkLst>
            <pc:docMk/>
            <pc:sldMk cId="3632670280" sldId="2147481434"/>
            <ac:spMk id="18" creationId="{684D87A3-9941-4DCA-9A6C-A951AE27A4A2}"/>
          </ac:spMkLst>
        </pc:spChg>
        <pc:spChg chg="del">
          <ac:chgData name="RUFFET, Malcolm" userId="ef33cb5d-7c5f-44ea-8bd1-71f6d9da9dec" providerId="ADAL" clId="{42A6F1C5-53D2-4848-9E6F-5902AFD5EAD4}" dt="2024-02-22T14:01:43.932" v="12686" actId="478"/>
          <ac:spMkLst>
            <pc:docMk/>
            <pc:sldMk cId="3632670280" sldId="2147481434"/>
            <ac:spMk id="19" creationId="{83139EE0-2A9C-35A2-A03A-CD90625EED8B}"/>
          </ac:spMkLst>
        </pc:spChg>
        <pc:spChg chg="del">
          <ac:chgData name="RUFFET, Malcolm" userId="ef33cb5d-7c5f-44ea-8bd1-71f6d9da9dec" providerId="ADAL" clId="{42A6F1C5-53D2-4848-9E6F-5902AFD5EAD4}" dt="2024-02-22T14:01:43.932" v="12686" actId="478"/>
          <ac:spMkLst>
            <pc:docMk/>
            <pc:sldMk cId="3632670280" sldId="2147481434"/>
            <ac:spMk id="20" creationId="{F1B68105-98BE-6FA9-99CD-0C8EF8EE82D1}"/>
          </ac:spMkLst>
        </pc:spChg>
        <pc:spChg chg="mod">
          <ac:chgData name="RUFFET, Malcolm" userId="ef33cb5d-7c5f-44ea-8bd1-71f6d9da9dec" providerId="ADAL" clId="{42A6F1C5-53D2-4848-9E6F-5902AFD5EAD4}" dt="2024-02-22T14:01:45.057" v="12687"/>
          <ac:spMkLst>
            <pc:docMk/>
            <pc:sldMk cId="3632670280" sldId="2147481434"/>
            <ac:spMk id="21" creationId="{AE6AA849-B3E8-5E3D-7054-C63A946E3D72}"/>
          </ac:spMkLst>
        </pc:spChg>
        <pc:spChg chg="mod">
          <ac:chgData name="RUFFET, Malcolm" userId="ef33cb5d-7c5f-44ea-8bd1-71f6d9da9dec" providerId="ADAL" clId="{42A6F1C5-53D2-4848-9E6F-5902AFD5EAD4}" dt="2024-02-22T14:01:45.057" v="12687"/>
          <ac:spMkLst>
            <pc:docMk/>
            <pc:sldMk cId="3632670280" sldId="2147481434"/>
            <ac:spMk id="22" creationId="{596DFF29-B0B7-2AEC-20E2-73989406EBD9}"/>
          </ac:spMkLst>
        </pc:spChg>
        <pc:spChg chg="mod">
          <ac:chgData name="RUFFET, Malcolm" userId="ef33cb5d-7c5f-44ea-8bd1-71f6d9da9dec" providerId="ADAL" clId="{42A6F1C5-53D2-4848-9E6F-5902AFD5EAD4}" dt="2024-02-22T14:01:45.057" v="12687"/>
          <ac:spMkLst>
            <pc:docMk/>
            <pc:sldMk cId="3632670280" sldId="2147481434"/>
            <ac:spMk id="23" creationId="{0E4FEC45-C56C-380D-A2CC-C46B1DD3E538}"/>
          </ac:spMkLst>
        </pc:spChg>
        <pc:spChg chg="mod">
          <ac:chgData name="RUFFET, Malcolm" userId="ef33cb5d-7c5f-44ea-8bd1-71f6d9da9dec" providerId="ADAL" clId="{42A6F1C5-53D2-4848-9E6F-5902AFD5EAD4}" dt="2024-02-22T14:01:45.057" v="12687"/>
          <ac:spMkLst>
            <pc:docMk/>
            <pc:sldMk cId="3632670280" sldId="2147481434"/>
            <ac:spMk id="24" creationId="{8BB4A7DC-A33D-A425-AE4F-AB7FD07CFE97}"/>
          </ac:spMkLst>
        </pc:spChg>
        <pc:spChg chg="mod">
          <ac:chgData name="RUFFET, Malcolm" userId="ef33cb5d-7c5f-44ea-8bd1-71f6d9da9dec" providerId="ADAL" clId="{42A6F1C5-53D2-4848-9E6F-5902AFD5EAD4}" dt="2024-02-22T14:01:45.057" v="12687"/>
          <ac:spMkLst>
            <pc:docMk/>
            <pc:sldMk cId="3632670280" sldId="2147481434"/>
            <ac:spMk id="25" creationId="{99243AEC-230C-D17E-8B6B-0325CE3AD689}"/>
          </ac:spMkLst>
        </pc:spChg>
        <pc:spChg chg="mod">
          <ac:chgData name="RUFFET, Malcolm" userId="ef33cb5d-7c5f-44ea-8bd1-71f6d9da9dec" providerId="ADAL" clId="{42A6F1C5-53D2-4848-9E6F-5902AFD5EAD4}" dt="2024-02-22T14:01:45.057" v="12687"/>
          <ac:spMkLst>
            <pc:docMk/>
            <pc:sldMk cId="3632670280" sldId="2147481434"/>
            <ac:spMk id="26" creationId="{B54689DE-ACD3-A707-CAEA-0D7578CB1446}"/>
          </ac:spMkLst>
        </pc:spChg>
        <pc:spChg chg="mod">
          <ac:chgData name="RUFFET, Malcolm" userId="ef33cb5d-7c5f-44ea-8bd1-71f6d9da9dec" providerId="ADAL" clId="{42A6F1C5-53D2-4848-9E6F-5902AFD5EAD4}" dt="2024-02-22T14:01:45.057" v="12687"/>
          <ac:spMkLst>
            <pc:docMk/>
            <pc:sldMk cId="3632670280" sldId="2147481434"/>
            <ac:spMk id="27" creationId="{C7B8BCA6-4DBC-1424-C488-337C6443D74A}"/>
          </ac:spMkLst>
        </pc:spChg>
        <pc:spChg chg="mod">
          <ac:chgData name="RUFFET, Malcolm" userId="ef33cb5d-7c5f-44ea-8bd1-71f6d9da9dec" providerId="ADAL" clId="{42A6F1C5-53D2-4848-9E6F-5902AFD5EAD4}" dt="2024-02-22T14:01:45.057" v="12687"/>
          <ac:spMkLst>
            <pc:docMk/>
            <pc:sldMk cId="3632670280" sldId="2147481434"/>
            <ac:spMk id="28" creationId="{805E7EBF-A09A-E8F7-3850-347333D2CDEB}"/>
          </ac:spMkLst>
        </pc:spChg>
        <pc:spChg chg="mod">
          <ac:chgData name="RUFFET, Malcolm" userId="ef33cb5d-7c5f-44ea-8bd1-71f6d9da9dec" providerId="ADAL" clId="{42A6F1C5-53D2-4848-9E6F-5902AFD5EAD4}" dt="2024-02-22T14:01:45.057" v="12687"/>
          <ac:spMkLst>
            <pc:docMk/>
            <pc:sldMk cId="3632670280" sldId="2147481434"/>
            <ac:spMk id="29" creationId="{F188AADA-90BC-5F5E-C2C6-9C1D85B3CD95}"/>
          </ac:spMkLst>
        </pc:spChg>
        <pc:spChg chg="add mod">
          <ac:chgData name="RUFFET, Malcolm" userId="ef33cb5d-7c5f-44ea-8bd1-71f6d9da9dec" providerId="ADAL" clId="{42A6F1C5-53D2-4848-9E6F-5902AFD5EAD4}" dt="2024-02-22T14:16:05.109" v="12740" actId="403"/>
          <ac:spMkLst>
            <pc:docMk/>
            <pc:sldMk cId="3632670280" sldId="2147481434"/>
            <ac:spMk id="32" creationId="{A155236A-C8D8-3F34-161F-7380E116E34B}"/>
          </ac:spMkLst>
        </pc:spChg>
        <pc:spChg chg="del">
          <ac:chgData name="RUFFET, Malcolm" userId="ef33cb5d-7c5f-44ea-8bd1-71f6d9da9dec" providerId="ADAL" clId="{42A6F1C5-53D2-4848-9E6F-5902AFD5EAD4}" dt="2024-02-22T14:01:43.932" v="12686" actId="478"/>
          <ac:spMkLst>
            <pc:docMk/>
            <pc:sldMk cId="3632670280" sldId="2147481434"/>
            <ac:spMk id="54" creationId="{73589B68-C667-6EE7-AC17-00A7DFDFE1FA}"/>
          </ac:spMkLst>
        </pc:spChg>
        <pc:spChg chg="del">
          <ac:chgData name="RUFFET, Malcolm" userId="ef33cb5d-7c5f-44ea-8bd1-71f6d9da9dec" providerId="ADAL" clId="{42A6F1C5-53D2-4848-9E6F-5902AFD5EAD4}" dt="2024-02-22T14:01:43.932" v="12686" actId="478"/>
          <ac:spMkLst>
            <pc:docMk/>
            <pc:sldMk cId="3632670280" sldId="2147481434"/>
            <ac:spMk id="89" creationId="{5418B780-1F1C-D9D8-EBCC-D6DBF73B70C3}"/>
          </ac:spMkLst>
        </pc:spChg>
        <pc:spChg chg="del">
          <ac:chgData name="RUFFET, Malcolm" userId="ef33cb5d-7c5f-44ea-8bd1-71f6d9da9dec" providerId="ADAL" clId="{42A6F1C5-53D2-4848-9E6F-5902AFD5EAD4}" dt="2024-02-22T14:01:43.932" v="12686" actId="478"/>
          <ac:spMkLst>
            <pc:docMk/>
            <pc:sldMk cId="3632670280" sldId="2147481434"/>
            <ac:spMk id="90" creationId="{9248DFD5-F676-B148-5264-74114F613CB7}"/>
          </ac:spMkLst>
        </pc:spChg>
        <pc:spChg chg="del">
          <ac:chgData name="RUFFET, Malcolm" userId="ef33cb5d-7c5f-44ea-8bd1-71f6d9da9dec" providerId="ADAL" clId="{42A6F1C5-53D2-4848-9E6F-5902AFD5EAD4}" dt="2024-02-22T14:01:43.932" v="12686" actId="478"/>
          <ac:spMkLst>
            <pc:docMk/>
            <pc:sldMk cId="3632670280" sldId="2147481434"/>
            <ac:spMk id="92" creationId="{25133C55-334C-9E50-26D2-490EE7F304D3}"/>
          </ac:spMkLst>
        </pc:spChg>
        <pc:spChg chg="del">
          <ac:chgData name="RUFFET, Malcolm" userId="ef33cb5d-7c5f-44ea-8bd1-71f6d9da9dec" providerId="ADAL" clId="{42A6F1C5-53D2-4848-9E6F-5902AFD5EAD4}" dt="2024-02-22T14:01:43.932" v="12686" actId="478"/>
          <ac:spMkLst>
            <pc:docMk/>
            <pc:sldMk cId="3632670280" sldId="2147481434"/>
            <ac:spMk id="94" creationId="{617ED4F4-D089-6EED-3269-180E436F9EF8}"/>
          </ac:spMkLst>
        </pc:spChg>
        <pc:spChg chg="del">
          <ac:chgData name="RUFFET, Malcolm" userId="ef33cb5d-7c5f-44ea-8bd1-71f6d9da9dec" providerId="ADAL" clId="{42A6F1C5-53D2-4848-9E6F-5902AFD5EAD4}" dt="2024-02-22T14:01:43.932" v="12686" actId="478"/>
          <ac:spMkLst>
            <pc:docMk/>
            <pc:sldMk cId="3632670280" sldId="2147481434"/>
            <ac:spMk id="96" creationId="{92BCA199-AAF0-9AB1-7711-D244FC98F49C}"/>
          </ac:spMkLst>
        </pc:spChg>
        <pc:spChg chg="del">
          <ac:chgData name="RUFFET, Malcolm" userId="ef33cb5d-7c5f-44ea-8bd1-71f6d9da9dec" providerId="ADAL" clId="{42A6F1C5-53D2-4848-9E6F-5902AFD5EAD4}" dt="2024-02-22T14:01:43.932" v="12686" actId="478"/>
          <ac:spMkLst>
            <pc:docMk/>
            <pc:sldMk cId="3632670280" sldId="2147481434"/>
            <ac:spMk id="98" creationId="{86C8ED8B-5F09-04E6-FE83-A9BDFA12F6E6}"/>
          </ac:spMkLst>
        </pc:spChg>
        <pc:spChg chg="del">
          <ac:chgData name="RUFFET, Malcolm" userId="ef33cb5d-7c5f-44ea-8bd1-71f6d9da9dec" providerId="ADAL" clId="{42A6F1C5-53D2-4848-9E6F-5902AFD5EAD4}" dt="2024-02-22T14:01:43.932" v="12686" actId="478"/>
          <ac:spMkLst>
            <pc:docMk/>
            <pc:sldMk cId="3632670280" sldId="2147481434"/>
            <ac:spMk id="224" creationId="{F1187C47-DAD7-82C2-22BC-783F6516101C}"/>
          </ac:spMkLst>
        </pc:spChg>
        <pc:spChg chg="del">
          <ac:chgData name="RUFFET, Malcolm" userId="ef33cb5d-7c5f-44ea-8bd1-71f6d9da9dec" providerId="ADAL" clId="{42A6F1C5-53D2-4848-9E6F-5902AFD5EAD4}" dt="2024-02-22T14:01:43.932" v="12686" actId="478"/>
          <ac:spMkLst>
            <pc:docMk/>
            <pc:sldMk cId="3632670280" sldId="2147481434"/>
            <ac:spMk id="225" creationId="{0601B8AC-17E1-DC5A-6739-95B896A78405}"/>
          </ac:spMkLst>
        </pc:spChg>
        <pc:spChg chg="del">
          <ac:chgData name="RUFFET, Malcolm" userId="ef33cb5d-7c5f-44ea-8bd1-71f6d9da9dec" providerId="ADAL" clId="{42A6F1C5-53D2-4848-9E6F-5902AFD5EAD4}" dt="2024-02-22T14:01:43.932" v="12686" actId="478"/>
          <ac:spMkLst>
            <pc:docMk/>
            <pc:sldMk cId="3632670280" sldId="2147481434"/>
            <ac:spMk id="226" creationId="{309D26D7-308D-33C3-62A8-606D7BCC83B3}"/>
          </ac:spMkLst>
        </pc:spChg>
        <pc:spChg chg="del">
          <ac:chgData name="RUFFET, Malcolm" userId="ef33cb5d-7c5f-44ea-8bd1-71f6d9da9dec" providerId="ADAL" clId="{42A6F1C5-53D2-4848-9E6F-5902AFD5EAD4}" dt="2024-02-22T14:01:43.932" v="12686" actId="478"/>
          <ac:spMkLst>
            <pc:docMk/>
            <pc:sldMk cId="3632670280" sldId="2147481434"/>
            <ac:spMk id="227" creationId="{7A253671-51F4-40B3-C158-57E425CB0943}"/>
          </ac:spMkLst>
        </pc:spChg>
        <pc:spChg chg="del">
          <ac:chgData name="RUFFET, Malcolm" userId="ef33cb5d-7c5f-44ea-8bd1-71f6d9da9dec" providerId="ADAL" clId="{42A6F1C5-53D2-4848-9E6F-5902AFD5EAD4}" dt="2024-02-22T14:01:43.932" v="12686" actId="478"/>
          <ac:spMkLst>
            <pc:docMk/>
            <pc:sldMk cId="3632670280" sldId="2147481434"/>
            <ac:spMk id="237" creationId="{693AA1B0-C96A-AC6D-B0A9-D41F8499D158}"/>
          </ac:spMkLst>
        </pc:spChg>
        <pc:spChg chg="del">
          <ac:chgData name="RUFFET, Malcolm" userId="ef33cb5d-7c5f-44ea-8bd1-71f6d9da9dec" providerId="ADAL" clId="{42A6F1C5-53D2-4848-9E6F-5902AFD5EAD4}" dt="2024-02-22T14:01:43.932" v="12686" actId="478"/>
          <ac:spMkLst>
            <pc:docMk/>
            <pc:sldMk cId="3632670280" sldId="2147481434"/>
            <ac:spMk id="239" creationId="{9B441DB9-6998-DAAF-CCEC-1A79EAB912EE}"/>
          </ac:spMkLst>
        </pc:spChg>
        <pc:spChg chg="del">
          <ac:chgData name="RUFFET, Malcolm" userId="ef33cb5d-7c5f-44ea-8bd1-71f6d9da9dec" providerId="ADAL" clId="{42A6F1C5-53D2-4848-9E6F-5902AFD5EAD4}" dt="2024-02-22T14:01:43.932" v="12686" actId="478"/>
          <ac:spMkLst>
            <pc:docMk/>
            <pc:sldMk cId="3632670280" sldId="2147481434"/>
            <ac:spMk id="241" creationId="{47B3EA9B-7B91-05FE-CDF9-5526955B5757}"/>
          </ac:spMkLst>
        </pc:spChg>
        <pc:spChg chg="del">
          <ac:chgData name="RUFFET, Malcolm" userId="ef33cb5d-7c5f-44ea-8bd1-71f6d9da9dec" providerId="ADAL" clId="{42A6F1C5-53D2-4848-9E6F-5902AFD5EAD4}" dt="2024-02-22T14:01:43.932" v="12686" actId="478"/>
          <ac:spMkLst>
            <pc:docMk/>
            <pc:sldMk cId="3632670280" sldId="2147481434"/>
            <ac:spMk id="243" creationId="{9E0024CD-1E56-0285-2C34-98F2760F633D}"/>
          </ac:spMkLst>
        </pc:spChg>
        <pc:spChg chg="del">
          <ac:chgData name="RUFFET, Malcolm" userId="ef33cb5d-7c5f-44ea-8bd1-71f6d9da9dec" providerId="ADAL" clId="{42A6F1C5-53D2-4848-9E6F-5902AFD5EAD4}" dt="2024-02-22T14:01:43.932" v="12686" actId="478"/>
          <ac:spMkLst>
            <pc:docMk/>
            <pc:sldMk cId="3632670280" sldId="2147481434"/>
            <ac:spMk id="244" creationId="{4B9B82F6-82FE-21E7-880F-5E792FBAFD96}"/>
          </ac:spMkLst>
        </pc:spChg>
        <pc:spChg chg="del">
          <ac:chgData name="RUFFET, Malcolm" userId="ef33cb5d-7c5f-44ea-8bd1-71f6d9da9dec" providerId="ADAL" clId="{42A6F1C5-53D2-4848-9E6F-5902AFD5EAD4}" dt="2024-02-22T14:01:43.932" v="12686" actId="478"/>
          <ac:spMkLst>
            <pc:docMk/>
            <pc:sldMk cId="3632670280" sldId="2147481434"/>
            <ac:spMk id="246" creationId="{6ECDDAD0-C05E-A397-5142-FFEB7E60ACE6}"/>
          </ac:spMkLst>
        </pc:spChg>
        <pc:spChg chg="mod">
          <ac:chgData name="RUFFET, Malcolm" userId="ef33cb5d-7c5f-44ea-8bd1-71f6d9da9dec" providerId="ADAL" clId="{42A6F1C5-53D2-4848-9E6F-5902AFD5EAD4}" dt="2024-02-22T14:01:45.057" v="12687"/>
          <ac:spMkLst>
            <pc:docMk/>
            <pc:sldMk cId="3632670280" sldId="2147481434"/>
            <ac:spMk id="249" creationId="{6E2493A8-470A-E0A2-49DB-27D6688D86DD}"/>
          </ac:spMkLst>
        </pc:spChg>
        <pc:spChg chg="mod">
          <ac:chgData name="RUFFET, Malcolm" userId="ef33cb5d-7c5f-44ea-8bd1-71f6d9da9dec" providerId="ADAL" clId="{42A6F1C5-53D2-4848-9E6F-5902AFD5EAD4}" dt="2024-02-22T14:01:45.057" v="12687"/>
          <ac:spMkLst>
            <pc:docMk/>
            <pc:sldMk cId="3632670280" sldId="2147481434"/>
            <ac:spMk id="250" creationId="{D29AB7A9-BCF4-BFF3-26B9-23464C6C3AFB}"/>
          </ac:spMkLst>
        </pc:spChg>
        <pc:spChg chg="mod">
          <ac:chgData name="RUFFET, Malcolm" userId="ef33cb5d-7c5f-44ea-8bd1-71f6d9da9dec" providerId="ADAL" clId="{42A6F1C5-53D2-4848-9E6F-5902AFD5EAD4}" dt="2024-02-22T14:01:45.057" v="12687"/>
          <ac:spMkLst>
            <pc:docMk/>
            <pc:sldMk cId="3632670280" sldId="2147481434"/>
            <ac:spMk id="251" creationId="{719AF224-3A60-05B6-CCA3-E0B73C5A15D9}"/>
          </ac:spMkLst>
        </pc:spChg>
        <pc:spChg chg="mod">
          <ac:chgData name="RUFFET, Malcolm" userId="ef33cb5d-7c5f-44ea-8bd1-71f6d9da9dec" providerId="ADAL" clId="{42A6F1C5-53D2-4848-9E6F-5902AFD5EAD4}" dt="2024-02-22T14:01:45.057" v="12687"/>
          <ac:spMkLst>
            <pc:docMk/>
            <pc:sldMk cId="3632670280" sldId="2147481434"/>
            <ac:spMk id="252" creationId="{8841D7F0-AE98-B749-CFA2-477CBEAB706C}"/>
          </ac:spMkLst>
        </pc:spChg>
        <pc:spChg chg="mod">
          <ac:chgData name="RUFFET, Malcolm" userId="ef33cb5d-7c5f-44ea-8bd1-71f6d9da9dec" providerId="ADAL" clId="{42A6F1C5-53D2-4848-9E6F-5902AFD5EAD4}" dt="2024-02-22T14:01:45.057" v="12687"/>
          <ac:spMkLst>
            <pc:docMk/>
            <pc:sldMk cId="3632670280" sldId="2147481434"/>
            <ac:spMk id="253" creationId="{4E8B7B5E-7F29-CE2E-BE77-1F24610A3762}"/>
          </ac:spMkLst>
        </pc:spChg>
        <pc:grpChg chg="add mod">
          <ac:chgData name="RUFFET, Malcolm" userId="ef33cb5d-7c5f-44ea-8bd1-71f6d9da9dec" providerId="ADAL" clId="{42A6F1C5-53D2-4848-9E6F-5902AFD5EAD4}" dt="2024-02-22T14:01:45.057" v="12687"/>
          <ac:grpSpMkLst>
            <pc:docMk/>
            <pc:sldMk cId="3632670280" sldId="2147481434"/>
            <ac:grpSpMk id="10" creationId="{4CA5ACC4-F6CE-45F9-FD7D-A26CDF5B6EE6}"/>
          </ac:grpSpMkLst>
        </pc:grpChg>
        <pc:grpChg chg="del">
          <ac:chgData name="RUFFET, Malcolm" userId="ef33cb5d-7c5f-44ea-8bd1-71f6d9da9dec" providerId="ADAL" clId="{42A6F1C5-53D2-4848-9E6F-5902AFD5EAD4}" dt="2024-02-22T14:01:43.932" v="12686" actId="478"/>
          <ac:grpSpMkLst>
            <pc:docMk/>
            <pc:sldMk cId="3632670280" sldId="2147481434"/>
            <ac:grpSpMk id="228" creationId="{2FDE02F9-BEEB-8E75-1A93-1A5820A118BE}"/>
          </ac:grpSpMkLst>
        </pc:grpChg>
        <pc:grpChg chg="del">
          <ac:chgData name="RUFFET, Malcolm" userId="ef33cb5d-7c5f-44ea-8bd1-71f6d9da9dec" providerId="ADAL" clId="{42A6F1C5-53D2-4848-9E6F-5902AFD5EAD4}" dt="2024-02-22T14:01:43.932" v="12686" actId="478"/>
          <ac:grpSpMkLst>
            <pc:docMk/>
            <pc:sldMk cId="3632670280" sldId="2147481434"/>
            <ac:grpSpMk id="231" creationId="{5902CCF6-F4D0-FE3C-A9F0-5F70FC90CEBE}"/>
          </ac:grpSpMkLst>
        </pc:grpChg>
        <pc:grpChg chg="del">
          <ac:chgData name="RUFFET, Malcolm" userId="ef33cb5d-7c5f-44ea-8bd1-71f6d9da9dec" providerId="ADAL" clId="{42A6F1C5-53D2-4848-9E6F-5902AFD5EAD4}" dt="2024-02-22T14:01:43.932" v="12686" actId="478"/>
          <ac:grpSpMkLst>
            <pc:docMk/>
            <pc:sldMk cId="3632670280" sldId="2147481434"/>
            <ac:grpSpMk id="234" creationId="{C2364D57-4BE5-668B-9292-66628D81B44C}"/>
          </ac:grpSpMkLst>
        </pc:grpChg>
        <pc:picChg chg="mod">
          <ac:chgData name="RUFFET, Malcolm" userId="ef33cb5d-7c5f-44ea-8bd1-71f6d9da9dec" providerId="ADAL" clId="{42A6F1C5-53D2-4848-9E6F-5902AFD5EAD4}" dt="2024-02-22T14:01:45.057" v="12687"/>
          <ac:picMkLst>
            <pc:docMk/>
            <pc:sldMk cId="3632670280" sldId="2147481434"/>
            <ac:picMk id="30" creationId="{DEE27D09-C0DA-0F51-5E6C-989C86190B74}"/>
          </ac:picMkLst>
        </pc:picChg>
        <pc:picChg chg="mod">
          <ac:chgData name="RUFFET, Malcolm" userId="ef33cb5d-7c5f-44ea-8bd1-71f6d9da9dec" providerId="ADAL" clId="{42A6F1C5-53D2-4848-9E6F-5902AFD5EAD4}" dt="2024-02-22T14:01:45.057" v="12687"/>
          <ac:picMkLst>
            <pc:docMk/>
            <pc:sldMk cId="3632670280" sldId="2147481434"/>
            <ac:picMk id="31" creationId="{C91F0262-F54C-0BCA-E19A-77BCA1519F9C}"/>
          </ac:picMkLst>
        </pc:picChg>
        <pc:picChg chg="del">
          <ac:chgData name="RUFFET, Malcolm" userId="ef33cb5d-7c5f-44ea-8bd1-71f6d9da9dec" providerId="ADAL" clId="{42A6F1C5-53D2-4848-9E6F-5902AFD5EAD4}" dt="2024-02-22T14:01:43.932" v="12686" actId="478"/>
          <ac:picMkLst>
            <pc:docMk/>
            <pc:sldMk cId="3632670280" sldId="2147481434"/>
            <ac:picMk id="55" creationId="{2DC0262A-27EC-DF99-830F-42F78DB00953}"/>
          </ac:picMkLst>
        </pc:picChg>
        <pc:picChg chg="del">
          <ac:chgData name="RUFFET, Malcolm" userId="ef33cb5d-7c5f-44ea-8bd1-71f6d9da9dec" providerId="ADAL" clId="{42A6F1C5-53D2-4848-9E6F-5902AFD5EAD4}" dt="2024-02-22T14:01:43.932" v="12686" actId="478"/>
          <ac:picMkLst>
            <pc:docMk/>
            <pc:sldMk cId="3632670280" sldId="2147481434"/>
            <ac:picMk id="91" creationId="{8D843AC9-6000-1208-97AA-40A503DFAB01}"/>
          </ac:picMkLst>
        </pc:picChg>
        <pc:picChg chg="del">
          <ac:chgData name="RUFFET, Malcolm" userId="ef33cb5d-7c5f-44ea-8bd1-71f6d9da9dec" providerId="ADAL" clId="{42A6F1C5-53D2-4848-9E6F-5902AFD5EAD4}" dt="2024-02-22T14:01:43.932" v="12686" actId="478"/>
          <ac:picMkLst>
            <pc:docMk/>
            <pc:sldMk cId="3632670280" sldId="2147481434"/>
            <ac:picMk id="93" creationId="{BADA5282-A331-488E-B27F-58EE116C8D05}"/>
          </ac:picMkLst>
        </pc:picChg>
        <pc:picChg chg="del">
          <ac:chgData name="RUFFET, Malcolm" userId="ef33cb5d-7c5f-44ea-8bd1-71f6d9da9dec" providerId="ADAL" clId="{42A6F1C5-53D2-4848-9E6F-5902AFD5EAD4}" dt="2024-02-22T14:01:43.932" v="12686" actId="478"/>
          <ac:picMkLst>
            <pc:docMk/>
            <pc:sldMk cId="3632670280" sldId="2147481434"/>
            <ac:picMk id="95" creationId="{A3264259-66C3-A858-9760-E80E12D5E6A3}"/>
          </ac:picMkLst>
        </pc:picChg>
        <pc:picChg chg="del">
          <ac:chgData name="RUFFET, Malcolm" userId="ef33cb5d-7c5f-44ea-8bd1-71f6d9da9dec" providerId="ADAL" clId="{42A6F1C5-53D2-4848-9E6F-5902AFD5EAD4}" dt="2024-02-22T14:01:43.932" v="12686" actId="478"/>
          <ac:picMkLst>
            <pc:docMk/>
            <pc:sldMk cId="3632670280" sldId="2147481434"/>
            <ac:picMk id="238" creationId="{C1867E89-045D-B592-A5AB-864D2AB38AE6}"/>
          </ac:picMkLst>
        </pc:picChg>
        <pc:picChg chg="del">
          <ac:chgData name="RUFFET, Malcolm" userId="ef33cb5d-7c5f-44ea-8bd1-71f6d9da9dec" providerId="ADAL" clId="{42A6F1C5-53D2-4848-9E6F-5902AFD5EAD4}" dt="2024-02-22T14:01:43.932" v="12686" actId="478"/>
          <ac:picMkLst>
            <pc:docMk/>
            <pc:sldMk cId="3632670280" sldId="2147481434"/>
            <ac:picMk id="240" creationId="{5F05E2E8-6596-99D6-73A3-F7403F9BA7D9}"/>
          </ac:picMkLst>
        </pc:picChg>
        <pc:picChg chg="del">
          <ac:chgData name="RUFFET, Malcolm" userId="ef33cb5d-7c5f-44ea-8bd1-71f6d9da9dec" providerId="ADAL" clId="{42A6F1C5-53D2-4848-9E6F-5902AFD5EAD4}" dt="2024-02-22T14:01:43.932" v="12686" actId="478"/>
          <ac:picMkLst>
            <pc:docMk/>
            <pc:sldMk cId="3632670280" sldId="2147481434"/>
            <ac:picMk id="242" creationId="{F1C7E549-EF44-F7CB-8EB9-D57879062BD8}"/>
          </ac:picMkLst>
        </pc:picChg>
        <pc:picChg chg="del">
          <ac:chgData name="RUFFET, Malcolm" userId="ef33cb5d-7c5f-44ea-8bd1-71f6d9da9dec" providerId="ADAL" clId="{42A6F1C5-53D2-4848-9E6F-5902AFD5EAD4}" dt="2024-02-22T14:01:43.932" v="12686" actId="478"/>
          <ac:picMkLst>
            <pc:docMk/>
            <pc:sldMk cId="3632670280" sldId="2147481434"/>
            <ac:picMk id="245" creationId="{F24A20AE-E59A-EF31-9A82-3733D27A49A4}"/>
          </ac:picMkLst>
        </pc:picChg>
        <pc:picChg chg="del">
          <ac:chgData name="RUFFET, Malcolm" userId="ef33cb5d-7c5f-44ea-8bd1-71f6d9da9dec" providerId="ADAL" clId="{42A6F1C5-53D2-4848-9E6F-5902AFD5EAD4}" dt="2024-02-22T14:01:43.932" v="12686" actId="478"/>
          <ac:picMkLst>
            <pc:docMk/>
            <pc:sldMk cId="3632670280" sldId="2147481434"/>
            <ac:picMk id="247" creationId="{1FC271B4-98A8-6218-0281-17235F17AF17}"/>
          </ac:picMkLst>
        </pc:picChg>
        <pc:picChg chg="mod">
          <ac:chgData name="RUFFET, Malcolm" userId="ef33cb5d-7c5f-44ea-8bd1-71f6d9da9dec" providerId="ADAL" clId="{42A6F1C5-53D2-4848-9E6F-5902AFD5EAD4}" dt="2024-02-22T14:01:45.057" v="12687"/>
          <ac:picMkLst>
            <pc:docMk/>
            <pc:sldMk cId="3632670280" sldId="2147481434"/>
            <ac:picMk id="248" creationId="{ADB5BAF5-3698-6971-6DA6-261ACF38A484}"/>
          </ac:picMkLst>
        </pc:picChg>
        <pc:picChg chg="mod">
          <ac:chgData name="RUFFET, Malcolm" userId="ef33cb5d-7c5f-44ea-8bd1-71f6d9da9dec" providerId="ADAL" clId="{42A6F1C5-53D2-4848-9E6F-5902AFD5EAD4}" dt="2024-02-22T14:01:45.057" v="12687"/>
          <ac:picMkLst>
            <pc:docMk/>
            <pc:sldMk cId="3632670280" sldId="2147481434"/>
            <ac:picMk id="254" creationId="{6BDA9876-18EB-056B-9A1A-8D5F33D57DA1}"/>
          </ac:picMkLst>
        </pc:picChg>
        <pc:picChg chg="mod">
          <ac:chgData name="RUFFET, Malcolm" userId="ef33cb5d-7c5f-44ea-8bd1-71f6d9da9dec" providerId="ADAL" clId="{42A6F1C5-53D2-4848-9E6F-5902AFD5EAD4}" dt="2024-02-22T14:01:45.057" v="12687"/>
          <ac:picMkLst>
            <pc:docMk/>
            <pc:sldMk cId="3632670280" sldId="2147481434"/>
            <ac:picMk id="255" creationId="{6AF73844-4829-5366-87B5-9E95F761A270}"/>
          </ac:picMkLst>
        </pc:picChg>
        <pc:cxnChg chg="del">
          <ac:chgData name="RUFFET, Malcolm" userId="ef33cb5d-7c5f-44ea-8bd1-71f6d9da9dec" providerId="ADAL" clId="{42A6F1C5-53D2-4848-9E6F-5902AFD5EAD4}" dt="2024-02-22T14:01:43.932" v="12686" actId="478"/>
          <ac:cxnSpMkLst>
            <pc:docMk/>
            <pc:sldMk cId="3632670280" sldId="2147481434"/>
            <ac:cxnSpMk id="2" creationId="{09A13806-D407-C593-DAE0-6DE7BD5D9120}"/>
          </ac:cxnSpMkLst>
        </pc:cxnChg>
        <pc:cxnChg chg="del">
          <ac:chgData name="RUFFET, Malcolm" userId="ef33cb5d-7c5f-44ea-8bd1-71f6d9da9dec" providerId="ADAL" clId="{42A6F1C5-53D2-4848-9E6F-5902AFD5EAD4}" dt="2024-02-22T14:01:43.932" v="12686" actId="478"/>
          <ac:cxnSpMkLst>
            <pc:docMk/>
            <pc:sldMk cId="3632670280" sldId="2147481434"/>
            <ac:cxnSpMk id="4" creationId="{844F19DC-5097-7766-1433-5E4C604F5EB7}"/>
          </ac:cxnSpMkLst>
        </pc:cxnChg>
        <pc:cxnChg chg="del">
          <ac:chgData name="RUFFET, Malcolm" userId="ef33cb5d-7c5f-44ea-8bd1-71f6d9da9dec" providerId="ADAL" clId="{42A6F1C5-53D2-4848-9E6F-5902AFD5EAD4}" dt="2024-02-22T14:01:43.932" v="12686" actId="478"/>
          <ac:cxnSpMkLst>
            <pc:docMk/>
            <pc:sldMk cId="3632670280" sldId="2147481434"/>
            <ac:cxnSpMk id="97" creationId="{A3409BDE-DB59-22D6-C837-4437B318CAAB}"/>
          </ac:cxnSpMkLst>
        </pc:cxnChg>
      </pc:sldChg>
      <pc:sldChg chg="modSp add mod">
        <pc:chgData name="RUFFET, Malcolm" userId="ef33cb5d-7c5f-44ea-8bd1-71f6d9da9dec" providerId="ADAL" clId="{42A6F1C5-53D2-4848-9E6F-5902AFD5EAD4}" dt="2024-02-23T13:47:37.566" v="12758" actId="113"/>
        <pc:sldMkLst>
          <pc:docMk/>
          <pc:sldMk cId="2410083233" sldId="2147481435"/>
        </pc:sldMkLst>
        <pc:spChg chg="mod">
          <ac:chgData name="RUFFET, Malcolm" userId="ef33cb5d-7c5f-44ea-8bd1-71f6d9da9dec" providerId="ADAL" clId="{42A6F1C5-53D2-4848-9E6F-5902AFD5EAD4}" dt="2024-02-23T13:47:04.162" v="12748" actId="1076"/>
          <ac:spMkLst>
            <pc:docMk/>
            <pc:sldMk cId="2410083233" sldId="2147481435"/>
            <ac:spMk id="7" creationId="{130F58C5-2976-4846-A915-64CB73CFBA97}"/>
          </ac:spMkLst>
        </pc:spChg>
        <pc:spChg chg="mod">
          <ac:chgData name="RUFFET, Malcolm" userId="ef33cb5d-7c5f-44ea-8bd1-71f6d9da9dec" providerId="ADAL" clId="{42A6F1C5-53D2-4848-9E6F-5902AFD5EAD4}" dt="2024-02-23T13:47:19.608" v="12753" actId="113"/>
          <ac:spMkLst>
            <pc:docMk/>
            <pc:sldMk cId="2410083233" sldId="2147481435"/>
            <ac:spMk id="9" creationId="{9AD8FA80-D5E3-4090-937C-AA9F9330F5A6}"/>
          </ac:spMkLst>
        </pc:spChg>
        <pc:spChg chg="mod">
          <ac:chgData name="RUFFET, Malcolm" userId="ef33cb5d-7c5f-44ea-8bd1-71f6d9da9dec" providerId="ADAL" clId="{42A6F1C5-53D2-4848-9E6F-5902AFD5EAD4}" dt="2024-02-23T13:47:29.903" v="12756" actId="113"/>
          <ac:spMkLst>
            <pc:docMk/>
            <pc:sldMk cId="2410083233" sldId="2147481435"/>
            <ac:spMk id="10" creationId="{72D77523-56F9-4DB0-B3F4-BCD046E94FF1}"/>
          </ac:spMkLst>
        </pc:spChg>
        <pc:spChg chg="mod">
          <ac:chgData name="RUFFET, Malcolm" userId="ef33cb5d-7c5f-44ea-8bd1-71f6d9da9dec" providerId="ADAL" clId="{42A6F1C5-53D2-4848-9E6F-5902AFD5EAD4}" dt="2024-02-23T13:47:37.566" v="12758" actId="113"/>
          <ac:spMkLst>
            <pc:docMk/>
            <pc:sldMk cId="2410083233" sldId="2147481435"/>
            <ac:spMk id="11" creationId="{8B14E531-C1B7-41F2-88A2-8F7570051567}"/>
          </ac:spMkLst>
        </pc:spChg>
        <pc:spChg chg="mod">
          <ac:chgData name="RUFFET, Malcolm" userId="ef33cb5d-7c5f-44ea-8bd1-71f6d9da9dec" providerId="ADAL" clId="{42A6F1C5-53D2-4848-9E6F-5902AFD5EAD4}" dt="2024-02-23T13:47:25.346" v="12755" actId="113"/>
          <ac:spMkLst>
            <pc:docMk/>
            <pc:sldMk cId="2410083233" sldId="2147481435"/>
            <ac:spMk id="12" creationId="{4AEAA726-51D1-4E3F-A196-B2E10D9A8CE0}"/>
          </ac:spMkLst>
        </pc:spChg>
      </pc:sldChg>
      <pc:sldChg chg="modSp add mod">
        <pc:chgData name="RUFFET, Malcolm" userId="ef33cb5d-7c5f-44ea-8bd1-71f6d9da9dec" providerId="ADAL" clId="{42A6F1C5-53D2-4848-9E6F-5902AFD5EAD4}" dt="2024-02-23T13:48:45.739" v="12767" actId="404"/>
        <pc:sldMkLst>
          <pc:docMk/>
          <pc:sldMk cId="2390705556" sldId="2147481436"/>
        </pc:sldMkLst>
        <pc:spChg chg="mod">
          <ac:chgData name="RUFFET, Malcolm" userId="ef33cb5d-7c5f-44ea-8bd1-71f6d9da9dec" providerId="ADAL" clId="{42A6F1C5-53D2-4848-9E6F-5902AFD5EAD4}" dt="2024-02-23T13:48:36.014" v="12763" actId="1076"/>
          <ac:spMkLst>
            <pc:docMk/>
            <pc:sldMk cId="2390705556" sldId="2147481436"/>
            <ac:spMk id="7" creationId="{130F58C5-2976-4846-A915-64CB73CFBA97}"/>
          </ac:spMkLst>
        </pc:spChg>
        <pc:spChg chg="mod">
          <ac:chgData name="RUFFET, Malcolm" userId="ef33cb5d-7c5f-44ea-8bd1-71f6d9da9dec" providerId="ADAL" clId="{42A6F1C5-53D2-4848-9E6F-5902AFD5EAD4}" dt="2024-02-23T13:48:45.739" v="12767" actId="404"/>
          <ac:spMkLst>
            <pc:docMk/>
            <pc:sldMk cId="2390705556" sldId="2147481436"/>
            <ac:spMk id="11" creationId="{8B14E531-C1B7-41F2-88A2-8F7570051567}"/>
          </ac:spMkLst>
        </pc:spChg>
        <pc:spChg chg="mod">
          <ac:chgData name="RUFFET, Malcolm" userId="ef33cb5d-7c5f-44ea-8bd1-71f6d9da9dec" providerId="ADAL" clId="{42A6F1C5-53D2-4848-9E6F-5902AFD5EAD4}" dt="2024-02-23T13:48:45.739" v="12767" actId="404"/>
          <ac:spMkLst>
            <pc:docMk/>
            <pc:sldMk cId="2390705556" sldId="2147481436"/>
            <ac:spMk id="12" creationId="{4AEAA726-51D1-4E3F-A196-B2E10D9A8CE0}"/>
          </ac:spMkLst>
        </pc:spChg>
        <pc:spChg chg="mod">
          <ac:chgData name="RUFFET, Malcolm" userId="ef33cb5d-7c5f-44ea-8bd1-71f6d9da9dec" providerId="ADAL" clId="{42A6F1C5-53D2-4848-9E6F-5902AFD5EAD4}" dt="2024-02-23T13:48:41.452" v="12765" actId="403"/>
          <ac:spMkLst>
            <pc:docMk/>
            <pc:sldMk cId="2390705556" sldId="2147481436"/>
            <ac:spMk id="13" creationId="{14D4E5A5-9B4A-4417-8C3F-DBDA645918ED}"/>
          </ac:spMkLst>
        </pc:spChg>
        <pc:spChg chg="mod">
          <ac:chgData name="RUFFET, Malcolm" userId="ef33cb5d-7c5f-44ea-8bd1-71f6d9da9dec" providerId="ADAL" clId="{42A6F1C5-53D2-4848-9E6F-5902AFD5EAD4}" dt="2024-02-23T13:48:41.452" v="12765" actId="403"/>
          <ac:spMkLst>
            <pc:docMk/>
            <pc:sldMk cId="2390705556" sldId="2147481436"/>
            <ac:spMk id="14" creationId="{340FCAD7-B6E4-4B6B-8698-EC77417F54FB}"/>
          </ac:spMkLst>
        </pc:spChg>
      </pc:sldChg>
      <pc:sldChg chg="addSp delSp modSp add mod">
        <pc:chgData name="RUFFET, Malcolm" userId="ef33cb5d-7c5f-44ea-8bd1-71f6d9da9dec" providerId="ADAL" clId="{42A6F1C5-53D2-4848-9E6F-5902AFD5EAD4}" dt="2024-02-26T17:26:36.796" v="14526" actId="20577"/>
        <pc:sldMkLst>
          <pc:docMk/>
          <pc:sldMk cId="1510124791" sldId="2147481440"/>
        </pc:sldMkLst>
        <pc:spChg chg="add mod">
          <ac:chgData name="RUFFET, Malcolm" userId="ef33cb5d-7c5f-44ea-8bd1-71f6d9da9dec" providerId="ADAL" clId="{42A6F1C5-53D2-4848-9E6F-5902AFD5EAD4}" dt="2024-02-26T17:26:36.796" v="14526" actId="20577"/>
          <ac:spMkLst>
            <pc:docMk/>
            <pc:sldMk cId="1510124791" sldId="2147481440"/>
            <ac:spMk id="3" creationId="{0D07E198-E1CD-773D-2022-267A4B92A91F}"/>
          </ac:spMkLst>
        </pc:spChg>
        <pc:spChg chg="del">
          <ac:chgData name="RUFFET, Malcolm" userId="ef33cb5d-7c5f-44ea-8bd1-71f6d9da9dec" providerId="ADAL" clId="{42A6F1C5-53D2-4848-9E6F-5902AFD5EAD4}" dt="2024-02-26T17:16:47.049" v="13891" actId="478"/>
          <ac:spMkLst>
            <pc:docMk/>
            <pc:sldMk cId="1510124791" sldId="2147481440"/>
            <ac:spMk id="4" creationId="{DAE16798-D8DF-1B41-F81F-FC82264B23D1}"/>
          </ac:spMkLst>
        </pc:spChg>
        <pc:spChg chg="del">
          <ac:chgData name="RUFFET, Malcolm" userId="ef33cb5d-7c5f-44ea-8bd1-71f6d9da9dec" providerId="ADAL" clId="{42A6F1C5-53D2-4848-9E6F-5902AFD5EAD4}" dt="2024-02-26T17:22:55.639" v="14273" actId="478"/>
          <ac:spMkLst>
            <pc:docMk/>
            <pc:sldMk cId="1510124791" sldId="2147481440"/>
            <ac:spMk id="7" creationId="{49ADEC3A-DC5A-84D7-6B36-514A9F8F4232}"/>
          </ac:spMkLst>
        </pc:spChg>
        <pc:spChg chg="del">
          <ac:chgData name="RUFFET, Malcolm" userId="ef33cb5d-7c5f-44ea-8bd1-71f6d9da9dec" providerId="ADAL" clId="{42A6F1C5-53D2-4848-9E6F-5902AFD5EAD4}" dt="2024-02-26T17:16:50.323" v="13892" actId="478"/>
          <ac:spMkLst>
            <pc:docMk/>
            <pc:sldMk cId="1510124791" sldId="2147481440"/>
            <ac:spMk id="8" creationId="{570DB14C-EC77-9285-F49E-D2D3FB6838EC}"/>
          </ac:spMkLst>
        </pc:spChg>
        <pc:spChg chg="del">
          <ac:chgData name="RUFFET, Malcolm" userId="ef33cb5d-7c5f-44ea-8bd1-71f6d9da9dec" providerId="ADAL" clId="{42A6F1C5-53D2-4848-9E6F-5902AFD5EAD4}" dt="2024-02-26T17:22:59.047" v="14274" actId="478"/>
          <ac:spMkLst>
            <pc:docMk/>
            <pc:sldMk cId="1510124791" sldId="2147481440"/>
            <ac:spMk id="10" creationId="{B3ADF2ED-D0D9-4BBE-82CF-F29B88C87406}"/>
          </ac:spMkLst>
        </pc:spChg>
        <pc:spChg chg="mod">
          <ac:chgData name="RUFFET, Malcolm" userId="ef33cb5d-7c5f-44ea-8bd1-71f6d9da9dec" providerId="ADAL" clId="{42A6F1C5-53D2-4848-9E6F-5902AFD5EAD4}" dt="2024-02-26T17:24:31.945" v="14371" actId="20577"/>
          <ac:spMkLst>
            <pc:docMk/>
            <pc:sldMk cId="1510124791" sldId="2147481440"/>
            <ac:spMk id="23" creationId="{829AF7EE-145B-4C4A-8CEB-F55DCBE6686C}"/>
          </ac:spMkLst>
        </pc:spChg>
        <pc:spChg chg="del">
          <ac:chgData name="RUFFET, Malcolm" userId="ef33cb5d-7c5f-44ea-8bd1-71f6d9da9dec" providerId="ADAL" clId="{42A6F1C5-53D2-4848-9E6F-5902AFD5EAD4}" dt="2024-02-26T17:16:56.630" v="13893" actId="478"/>
          <ac:spMkLst>
            <pc:docMk/>
            <pc:sldMk cId="1510124791" sldId="2147481440"/>
            <ac:spMk id="26" creationId="{03C61382-5F82-43FB-ABD5-FFFC49E9DFF9}"/>
          </ac:spMkLst>
        </pc:spChg>
        <pc:spChg chg="del">
          <ac:chgData name="RUFFET, Malcolm" userId="ef33cb5d-7c5f-44ea-8bd1-71f6d9da9dec" providerId="ADAL" clId="{42A6F1C5-53D2-4848-9E6F-5902AFD5EAD4}" dt="2024-02-26T17:16:56.630" v="13893" actId="478"/>
          <ac:spMkLst>
            <pc:docMk/>
            <pc:sldMk cId="1510124791" sldId="2147481440"/>
            <ac:spMk id="27" creationId="{A5A1BB8E-DC13-4F1C-9F04-73E259911A6E}"/>
          </ac:spMkLst>
        </pc:spChg>
        <pc:spChg chg="del">
          <ac:chgData name="RUFFET, Malcolm" userId="ef33cb5d-7c5f-44ea-8bd1-71f6d9da9dec" providerId="ADAL" clId="{42A6F1C5-53D2-4848-9E6F-5902AFD5EAD4}" dt="2024-02-26T17:16:56.630" v="13893" actId="478"/>
          <ac:spMkLst>
            <pc:docMk/>
            <pc:sldMk cId="1510124791" sldId="2147481440"/>
            <ac:spMk id="30" creationId="{1AFE6425-7484-46E1-B2DD-F9012A8084B8}"/>
          </ac:spMkLst>
        </pc:spChg>
        <pc:spChg chg="del">
          <ac:chgData name="RUFFET, Malcolm" userId="ef33cb5d-7c5f-44ea-8bd1-71f6d9da9dec" providerId="ADAL" clId="{42A6F1C5-53D2-4848-9E6F-5902AFD5EAD4}" dt="2024-02-26T17:16:56.630" v="13893" actId="478"/>
          <ac:spMkLst>
            <pc:docMk/>
            <pc:sldMk cId="1510124791" sldId="2147481440"/>
            <ac:spMk id="31" creationId="{63B56E63-C69F-474A-914B-467A3A0A89A9}"/>
          </ac:spMkLst>
        </pc:spChg>
        <pc:grpChg chg="del">
          <ac:chgData name="RUFFET, Malcolm" userId="ef33cb5d-7c5f-44ea-8bd1-71f6d9da9dec" providerId="ADAL" clId="{42A6F1C5-53D2-4848-9E6F-5902AFD5EAD4}" dt="2024-02-26T17:23:03.119" v="14275" actId="478"/>
          <ac:grpSpMkLst>
            <pc:docMk/>
            <pc:sldMk cId="1510124791" sldId="2147481440"/>
            <ac:grpSpMk id="5" creationId="{78B1BBA8-665F-4B89-8C70-8FF8C64CA2C4}"/>
          </ac:grpSpMkLst>
        </pc:grpChg>
        <pc:picChg chg="add mod">
          <ac:chgData name="RUFFET, Malcolm" userId="ef33cb5d-7c5f-44ea-8bd1-71f6d9da9dec" providerId="ADAL" clId="{42A6F1C5-53D2-4848-9E6F-5902AFD5EAD4}" dt="2024-02-26T17:23:46.880" v="14284" actId="208"/>
          <ac:picMkLst>
            <pc:docMk/>
            <pc:sldMk cId="1510124791" sldId="2147481440"/>
            <ac:picMk id="12" creationId="{377D15FA-6EE3-1FD3-82A3-E216145FD01F}"/>
          </ac:picMkLst>
        </pc:picChg>
        <pc:picChg chg="del">
          <ac:chgData name="RUFFET, Malcolm" userId="ef33cb5d-7c5f-44ea-8bd1-71f6d9da9dec" providerId="ADAL" clId="{42A6F1C5-53D2-4848-9E6F-5902AFD5EAD4}" dt="2024-02-26T17:16:56.630" v="13893" actId="478"/>
          <ac:picMkLst>
            <pc:docMk/>
            <pc:sldMk cId="1510124791" sldId="2147481440"/>
            <ac:picMk id="24" creationId="{694DAF5C-3E8D-4700-89A5-6C1B37D484D2}"/>
          </ac:picMkLst>
        </pc:picChg>
        <pc:cxnChg chg="del">
          <ac:chgData name="RUFFET, Malcolm" userId="ef33cb5d-7c5f-44ea-8bd1-71f6d9da9dec" providerId="ADAL" clId="{42A6F1C5-53D2-4848-9E6F-5902AFD5EAD4}" dt="2024-02-26T17:16:56.630" v="13893" actId="478"/>
          <ac:cxnSpMkLst>
            <pc:docMk/>
            <pc:sldMk cId="1510124791" sldId="2147481440"/>
            <ac:cxnSpMk id="25" creationId="{59717E33-9BFF-4E06-A919-61188768EAB5}"/>
          </ac:cxnSpMkLst>
        </pc:cxnChg>
        <pc:cxnChg chg="del">
          <ac:chgData name="RUFFET, Malcolm" userId="ef33cb5d-7c5f-44ea-8bd1-71f6d9da9dec" providerId="ADAL" clId="{42A6F1C5-53D2-4848-9E6F-5902AFD5EAD4}" dt="2024-02-26T17:16:56.630" v="13893" actId="478"/>
          <ac:cxnSpMkLst>
            <pc:docMk/>
            <pc:sldMk cId="1510124791" sldId="2147481440"/>
            <ac:cxnSpMk id="32" creationId="{D193CCF8-6F87-4870-8734-4E505700D7D8}"/>
          </ac:cxnSpMkLst>
        </pc:cxnChg>
      </pc:sldChg>
      <pc:sldChg chg="delSp modSp add mod">
        <pc:chgData name="RUFFET, Malcolm" userId="ef33cb5d-7c5f-44ea-8bd1-71f6d9da9dec" providerId="ADAL" clId="{42A6F1C5-53D2-4848-9E6F-5902AFD5EAD4}" dt="2024-02-26T17:29:58.571" v="14614" actId="20577"/>
        <pc:sldMkLst>
          <pc:docMk/>
          <pc:sldMk cId="288322715" sldId="2147481443"/>
        </pc:sldMkLst>
        <pc:spChg chg="mod topLvl">
          <ac:chgData name="RUFFET, Malcolm" userId="ef33cb5d-7c5f-44ea-8bd1-71f6d9da9dec" providerId="ADAL" clId="{42A6F1C5-53D2-4848-9E6F-5902AFD5EAD4}" dt="2024-02-26T17:29:22.503" v="14572" actId="1076"/>
          <ac:spMkLst>
            <pc:docMk/>
            <pc:sldMk cId="288322715" sldId="2147481443"/>
            <ac:spMk id="15" creationId="{5E6C5390-43A8-4CB0-B612-EDA38A5E4C92}"/>
          </ac:spMkLst>
        </pc:spChg>
        <pc:spChg chg="mod topLvl">
          <ac:chgData name="RUFFET, Malcolm" userId="ef33cb5d-7c5f-44ea-8bd1-71f6d9da9dec" providerId="ADAL" clId="{42A6F1C5-53D2-4848-9E6F-5902AFD5EAD4}" dt="2024-02-26T17:29:22.503" v="14572" actId="1076"/>
          <ac:spMkLst>
            <pc:docMk/>
            <pc:sldMk cId="288322715" sldId="2147481443"/>
            <ac:spMk id="16" creationId="{9BFADDB0-4957-4DF4-B899-0DBE4C0412F0}"/>
          </ac:spMkLst>
        </pc:spChg>
        <pc:spChg chg="mod">
          <ac:chgData name="RUFFET, Malcolm" userId="ef33cb5d-7c5f-44ea-8bd1-71f6d9da9dec" providerId="ADAL" clId="{42A6F1C5-53D2-4848-9E6F-5902AFD5EAD4}" dt="2024-02-26T17:28:23.880" v="14561" actId="165"/>
          <ac:spMkLst>
            <pc:docMk/>
            <pc:sldMk cId="288322715" sldId="2147481443"/>
            <ac:spMk id="30" creationId="{721AAE5E-B17C-442B-A509-BE0390C7658B}"/>
          </ac:spMkLst>
        </pc:spChg>
        <pc:spChg chg="mod">
          <ac:chgData name="RUFFET, Malcolm" userId="ef33cb5d-7c5f-44ea-8bd1-71f6d9da9dec" providerId="ADAL" clId="{42A6F1C5-53D2-4848-9E6F-5902AFD5EAD4}" dt="2024-02-26T17:28:23.880" v="14561" actId="165"/>
          <ac:spMkLst>
            <pc:docMk/>
            <pc:sldMk cId="288322715" sldId="2147481443"/>
            <ac:spMk id="31" creationId="{23C414D6-88D4-4852-86C5-00D9F8D96263}"/>
          </ac:spMkLst>
        </pc:spChg>
        <pc:spChg chg="mod">
          <ac:chgData name="RUFFET, Malcolm" userId="ef33cb5d-7c5f-44ea-8bd1-71f6d9da9dec" providerId="ADAL" clId="{42A6F1C5-53D2-4848-9E6F-5902AFD5EAD4}" dt="2024-02-26T17:28:23.880" v="14561" actId="165"/>
          <ac:spMkLst>
            <pc:docMk/>
            <pc:sldMk cId="288322715" sldId="2147481443"/>
            <ac:spMk id="32" creationId="{8BCAC549-F11F-41AD-9445-3E50E9599FAB}"/>
          </ac:spMkLst>
        </pc:spChg>
        <pc:spChg chg="mod">
          <ac:chgData name="RUFFET, Malcolm" userId="ef33cb5d-7c5f-44ea-8bd1-71f6d9da9dec" providerId="ADAL" clId="{42A6F1C5-53D2-4848-9E6F-5902AFD5EAD4}" dt="2024-02-26T17:28:23.880" v="14561" actId="165"/>
          <ac:spMkLst>
            <pc:docMk/>
            <pc:sldMk cId="288322715" sldId="2147481443"/>
            <ac:spMk id="36" creationId="{A7E947A8-DA8A-4EB2-8EDB-B5FD656FAB35}"/>
          </ac:spMkLst>
        </pc:spChg>
        <pc:spChg chg="mod">
          <ac:chgData name="RUFFET, Malcolm" userId="ef33cb5d-7c5f-44ea-8bd1-71f6d9da9dec" providerId="ADAL" clId="{42A6F1C5-53D2-4848-9E6F-5902AFD5EAD4}" dt="2024-02-26T17:28:23.880" v="14561" actId="165"/>
          <ac:spMkLst>
            <pc:docMk/>
            <pc:sldMk cId="288322715" sldId="2147481443"/>
            <ac:spMk id="37" creationId="{D3089160-0DC8-4F45-8B56-D104729461D5}"/>
          </ac:spMkLst>
        </pc:spChg>
        <pc:spChg chg="mod">
          <ac:chgData name="RUFFET, Malcolm" userId="ef33cb5d-7c5f-44ea-8bd1-71f6d9da9dec" providerId="ADAL" clId="{42A6F1C5-53D2-4848-9E6F-5902AFD5EAD4}" dt="2024-02-26T17:28:23.880" v="14561" actId="165"/>
          <ac:spMkLst>
            <pc:docMk/>
            <pc:sldMk cId="288322715" sldId="2147481443"/>
            <ac:spMk id="38" creationId="{36C2616F-8AC4-481A-82A1-534162F01541}"/>
          </ac:spMkLst>
        </pc:spChg>
        <pc:spChg chg="del">
          <ac:chgData name="RUFFET, Malcolm" userId="ef33cb5d-7c5f-44ea-8bd1-71f6d9da9dec" providerId="ADAL" clId="{42A6F1C5-53D2-4848-9E6F-5902AFD5EAD4}" dt="2024-02-26T17:28:16.598" v="14560" actId="478"/>
          <ac:spMkLst>
            <pc:docMk/>
            <pc:sldMk cId="288322715" sldId="2147481443"/>
            <ac:spMk id="39" creationId="{781C8424-C8B3-45AE-819A-CAFB5BEEFD87}"/>
          </ac:spMkLst>
        </pc:spChg>
        <pc:spChg chg="mod topLvl">
          <ac:chgData name="RUFFET, Malcolm" userId="ef33cb5d-7c5f-44ea-8bd1-71f6d9da9dec" providerId="ADAL" clId="{42A6F1C5-53D2-4848-9E6F-5902AFD5EAD4}" dt="2024-02-26T17:29:58.571" v="14614" actId="20577"/>
          <ac:spMkLst>
            <pc:docMk/>
            <pc:sldMk cId="288322715" sldId="2147481443"/>
            <ac:spMk id="45" creationId="{F408FC67-A24F-47D4-941B-1EB9CBAD83BF}"/>
          </ac:spMkLst>
        </pc:spChg>
        <pc:spChg chg="mod topLvl">
          <ac:chgData name="RUFFET, Malcolm" userId="ef33cb5d-7c5f-44ea-8bd1-71f6d9da9dec" providerId="ADAL" clId="{42A6F1C5-53D2-4848-9E6F-5902AFD5EAD4}" dt="2024-02-26T17:29:22.503" v="14572" actId="1076"/>
          <ac:spMkLst>
            <pc:docMk/>
            <pc:sldMk cId="288322715" sldId="2147481443"/>
            <ac:spMk id="46" creationId="{197056FA-5540-4B79-8C59-FE1ECA93B783}"/>
          </ac:spMkLst>
        </pc:spChg>
        <pc:spChg chg="mod topLvl">
          <ac:chgData name="RUFFET, Malcolm" userId="ef33cb5d-7c5f-44ea-8bd1-71f6d9da9dec" providerId="ADAL" clId="{42A6F1C5-53D2-4848-9E6F-5902AFD5EAD4}" dt="2024-02-26T17:29:37.935" v="14591" actId="20577"/>
          <ac:spMkLst>
            <pc:docMk/>
            <pc:sldMk cId="288322715" sldId="2147481443"/>
            <ac:spMk id="47" creationId="{3920B3C7-7398-4748-82C4-DC29BD597B6E}"/>
          </ac:spMkLst>
        </pc:spChg>
        <pc:spChg chg="mod topLvl">
          <ac:chgData name="RUFFET, Malcolm" userId="ef33cb5d-7c5f-44ea-8bd1-71f6d9da9dec" providerId="ADAL" clId="{42A6F1C5-53D2-4848-9E6F-5902AFD5EAD4}" dt="2024-02-26T17:29:22.503" v="14572" actId="1076"/>
          <ac:spMkLst>
            <pc:docMk/>
            <pc:sldMk cId="288322715" sldId="2147481443"/>
            <ac:spMk id="48" creationId="{70758E8A-BA7C-4E32-B755-D8F429F306D2}"/>
          </ac:spMkLst>
        </pc:spChg>
        <pc:spChg chg="del mod">
          <ac:chgData name="RUFFET, Malcolm" userId="ef33cb5d-7c5f-44ea-8bd1-71f6d9da9dec" providerId="ADAL" clId="{42A6F1C5-53D2-4848-9E6F-5902AFD5EAD4}" dt="2024-02-26T17:28:29.224" v="14563" actId="478"/>
          <ac:spMkLst>
            <pc:docMk/>
            <pc:sldMk cId="288322715" sldId="2147481443"/>
            <ac:spMk id="51" creationId="{97BE9A86-9D48-43CB-8DC0-1B411EA96617}"/>
          </ac:spMkLst>
        </pc:spChg>
        <pc:spChg chg="del mod topLvl">
          <ac:chgData name="RUFFET, Malcolm" userId="ef33cb5d-7c5f-44ea-8bd1-71f6d9da9dec" providerId="ADAL" clId="{42A6F1C5-53D2-4848-9E6F-5902AFD5EAD4}" dt="2024-02-26T17:28:40.394" v="14566" actId="478"/>
          <ac:spMkLst>
            <pc:docMk/>
            <pc:sldMk cId="288322715" sldId="2147481443"/>
            <ac:spMk id="52" creationId="{A23FC1E1-21AF-4560-BC75-2691EEADAF9C}"/>
          </ac:spMkLst>
        </pc:spChg>
        <pc:spChg chg="del mod topLvl">
          <ac:chgData name="RUFFET, Malcolm" userId="ef33cb5d-7c5f-44ea-8bd1-71f6d9da9dec" providerId="ADAL" clId="{42A6F1C5-53D2-4848-9E6F-5902AFD5EAD4}" dt="2024-02-26T17:28:40.394" v="14566" actId="478"/>
          <ac:spMkLst>
            <pc:docMk/>
            <pc:sldMk cId="288322715" sldId="2147481443"/>
            <ac:spMk id="53" creationId="{DF8458CF-0A65-48A9-BD06-07D26A605B15}"/>
          </ac:spMkLst>
        </pc:spChg>
        <pc:spChg chg="del">
          <ac:chgData name="RUFFET, Malcolm" userId="ef33cb5d-7c5f-44ea-8bd1-71f6d9da9dec" providerId="ADAL" clId="{42A6F1C5-53D2-4848-9E6F-5902AFD5EAD4}" dt="2024-02-26T17:28:40.394" v="14566" actId="478"/>
          <ac:spMkLst>
            <pc:docMk/>
            <pc:sldMk cId="288322715" sldId="2147481443"/>
            <ac:spMk id="56" creationId="{3D519270-92F4-4EF1-A37E-E700E6A3B31F}"/>
          </ac:spMkLst>
        </pc:spChg>
        <pc:spChg chg="del">
          <ac:chgData name="RUFFET, Malcolm" userId="ef33cb5d-7c5f-44ea-8bd1-71f6d9da9dec" providerId="ADAL" clId="{42A6F1C5-53D2-4848-9E6F-5902AFD5EAD4}" dt="2024-02-26T17:28:40.394" v="14566" actId="478"/>
          <ac:spMkLst>
            <pc:docMk/>
            <pc:sldMk cId="288322715" sldId="2147481443"/>
            <ac:spMk id="57" creationId="{C9AD606F-9853-45AF-9524-05BDE18E86CD}"/>
          </ac:spMkLst>
        </pc:spChg>
        <pc:spChg chg="del">
          <ac:chgData name="RUFFET, Malcolm" userId="ef33cb5d-7c5f-44ea-8bd1-71f6d9da9dec" providerId="ADAL" clId="{42A6F1C5-53D2-4848-9E6F-5902AFD5EAD4}" dt="2024-02-26T17:28:40.394" v="14566" actId="478"/>
          <ac:spMkLst>
            <pc:docMk/>
            <pc:sldMk cId="288322715" sldId="2147481443"/>
            <ac:spMk id="58" creationId="{603A5828-B7C2-4662-A37D-5FF8020C0A00}"/>
          </ac:spMkLst>
        </pc:spChg>
        <pc:spChg chg="del mod">
          <ac:chgData name="RUFFET, Malcolm" userId="ef33cb5d-7c5f-44ea-8bd1-71f6d9da9dec" providerId="ADAL" clId="{42A6F1C5-53D2-4848-9E6F-5902AFD5EAD4}" dt="2024-02-26T17:29:49.889" v="14595" actId="478"/>
          <ac:spMkLst>
            <pc:docMk/>
            <pc:sldMk cId="288322715" sldId="2147481443"/>
            <ac:spMk id="59" creationId="{431DD7A2-E95B-4338-88DF-3E0B7DD5BDB7}"/>
          </ac:spMkLst>
        </pc:spChg>
        <pc:spChg chg="del mod">
          <ac:chgData name="RUFFET, Malcolm" userId="ef33cb5d-7c5f-44ea-8bd1-71f6d9da9dec" providerId="ADAL" clId="{42A6F1C5-53D2-4848-9E6F-5902AFD5EAD4}" dt="2024-02-26T17:29:47.910" v="14594" actId="478"/>
          <ac:spMkLst>
            <pc:docMk/>
            <pc:sldMk cId="288322715" sldId="2147481443"/>
            <ac:spMk id="60" creationId="{81EA2BBA-0460-4624-9B71-48631AA8C8C0}"/>
          </ac:spMkLst>
        </pc:spChg>
        <pc:spChg chg="del mod">
          <ac:chgData name="RUFFET, Malcolm" userId="ef33cb5d-7c5f-44ea-8bd1-71f6d9da9dec" providerId="ADAL" clId="{42A6F1C5-53D2-4848-9E6F-5902AFD5EAD4}" dt="2024-02-26T17:29:45.844" v="14593" actId="478"/>
          <ac:spMkLst>
            <pc:docMk/>
            <pc:sldMk cId="288322715" sldId="2147481443"/>
            <ac:spMk id="61" creationId="{8CD4AAF6-AE97-46D4-8313-7FB403330BDD}"/>
          </ac:spMkLst>
        </pc:spChg>
        <pc:spChg chg="del mod">
          <ac:chgData name="RUFFET, Malcolm" userId="ef33cb5d-7c5f-44ea-8bd1-71f6d9da9dec" providerId="ADAL" clId="{42A6F1C5-53D2-4848-9E6F-5902AFD5EAD4}" dt="2024-02-26T17:29:43.552" v="14592" actId="478"/>
          <ac:spMkLst>
            <pc:docMk/>
            <pc:sldMk cId="288322715" sldId="2147481443"/>
            <ac:spMk id="62" creationId="{9BEAA2E1-EFFC-4A3A-B2A8-645CEC5954C3}"/>
          </ac:spMkLst>
        </pc:spChg>
        <pc:spChg chg="del">
          <ac:chgData name="RUFFET, Malcolm" userId="ef33cb5d-7c5f-44ea-8bd1-71f6d9da9dec" providerId="ADAL" clId="{42A6F1C5-53D2-4848-9E6F-5902AFD5EAD4}" dt="2024-02-26T17:28:31.918" v="14564" actId="478"/>
          <ac:spMkLst>
            <pc:docMk/>
            <pc:sldMk cId="288322715" sldId="2147481443"/>
            <ac:spMk id="63" creationId="{67E0038A-E42A-482A-9D7B-54EECCB4CC4D}"/>
          </ac:spMkLst>
        </pc:spChg>
        <pc:spChg chg="del">
          <ac:chgData name="RUFFET, Malcolm" userId="ef33cb5d-7c5f-44ea-8bd1-71f6d9da9dec" providerId="ADAL" clId="{42A6F1C5-53D2-4848-9E6F-5902AFD5EAD4}" dt="2024-02-26T17:28:40.394" v="14566" actId="478"/>
          <ac:spMkLst>
            <pc:docMk/>
            <pc:sldMk cId="288322715" sldId="2147481443"/>
            <ac:spMk id="64" creationId="{ACD556B1-4526-422F-A9A0-BF342E572142}"/>
          </ac:spMkLst>
        </pc:spChg>
        <pc:spChg chg="del">
          <ac:chgData name="RUFFET, Malcolm" userId="ef33cb5d-7c5f-44ea-8bd1-71f6d9da9dec" providerId="ADAL" clId="{42A6F1C5-53D2-4848-9E6F-5902AFD5EAD4}" dt="2024-02-26T17:28:40.394" v="14566" actId="478"/>
          <ac:spMkLst>
            <pc:docMk/>
            <pc:sldMk cId="288322715" sldId="2147481443"/>
            <ac:spMk id="65" creationId="{114E77D8-EDC6-4AE1-A00B-1F8E88A54089}"/>
          </ac:spMkLst>
        </pc:spChg>
        <pc:grpChg chg="del mod topLvl">
          <ac:chgData name="RUFFET, Malcolm" userId="ef33cb5d-7c5f-44ea-8bd1-71f6d9da9dec" providerId="ADAL" clId="{42A6F1C5-53D2-4848-9E6F-5902AFD5EAD4}" dt="2024-02-26T17:28:25.934" v="14562" actId="478"/>
          <ac:grpSpMkLst>
            <pc:docMk/>
            <pc:sldMk cId="288322715" sldId="2147481443"/>
            <ac:grpSpMk id="27" creationId="{6975B31B-3171-43C5-9BEA-51BE71A26B6A}"/>
          </ac:grpSpMkLst>
        </pc:grpChg>
        <pc:grpChg chg="del mod topLvl">
          <ac:chgData name="RUFFET, Malcolm" userId="ef33cb5d-7c5f-44ea-8bd1-71f6d9da9dec" providerId="ADAL" clId="{42A6F1C5-53D2-4848-9E6F-5902AFD5EAD4}" dt="2024-02-26T17:28:34.698" v="14565" actId="165"/>
          <ac:grpSpMkLst>
            <pc:docMk/>
            <pc:sldMk cId="288322715" sldId="2147481443"/>
            <ac:grpSpMk id="49" creationId="{43843829-FA57-43DF-8024-27A07F6E9A7E}"/>
          </ac:grpSpMkLst>
        </pc:grpChg>
        <pc:grpChg chg="del">
          <ac:chgData name="RUFFET, Malcolm" userId="ef33cb5d-7c5f-44ea-8bd1-71f6d9da9dec" providerId="ADAL" clId="{42A6F1C5-53D2-4848-9E6F-5902AFD5EAD4}" dt="2024-02-26T17:28:23.880" v="14561" actId="165"/>
          <ac:grpSpMkLst>
            <pc:docMk/>
            <pc:sldMk cId="288322715" sldId="2147481443"/>
            <ac:grpSpMk id="54" creationId="{8212E60C-3BE4-4CC6-9098-16859D0012E6}"/>
          </ac:grpSpMkLst>
        </pc:grpChg>
        <pc:cxnChg chg="mod">
          <ac:chgData name="RUFFET, Malcolm" userId="ef33cb5d-7c5f-44ea-8bd1-71f6d9da9dec" providerId="ADAL" clId="{42A6F1C5-53D2-4848-9E6F-5902AFD5EAD4}" dt="2024-02-26T17:28:23.880" v="14561" actId="165"/>
          <ac:cxnSpMkLst>
            <pc:docMk/>
            <pc:sldMk cId="288322715" sldId="2147481443"/>
            <ac:cxnSpMk id="28" creationId="{EC6FC15E-8460-415C-937E-9BFD241D9404}"/>
          </ac:cxnSpMkLst>
        </pc:cxnChg>
        <pc:cxnChg chg="mod">
          <ac:chgData name="RUFFET, Malcolm" userId="ef33cb5d-7c5f-44ea-8bd1-71f6d9da9dec" providerId="ADAL" clId="{42A6F1C5-53D2-4848-9E6F-5902AFD5EAD4}" dt="2024-02-26T17:28:23.880" v="14561" actId="165"/>
          <ac:cxnSpMkLst>
            <pc:docMk/>
            <pc:sldMk cId="288322715" sldId="2147481443"/>
            <ac:cxnSpMk id="29" creationId="{6FB1F865-1352-44A4-A708-1B51D6BAC7BE}"/>
          </ac:cxnSpMkLst>
        </pc:cxnChg>
        <pc:cxnChg chg="mod">
          <ac:chgData name="RUFFET, Malcolm" userId="ef33cb5d-7c5f-44ea-8bd1-71f6d9da9dec" providerId="ADAL" clId="{42A6F1C5-53D2-4848-9E6F-5902AFD5EAD4}" dt="2024-02-26T17:28:23.880" v="14561" actId="165"/>
          <ac:cxnSpMkLst>
            <pc:docMk/>
            <pc:sldMk cId="288322715" sldId="2147481443"/>
            <ac:cxnSpMk id="33" creationId="{DC4FB55E-11B6-487F-8EC1-FFEA3D37FF99}"/>
          </ac:cxnSpMkLst>
        </pc:cxnChg>
        <pc:cxnChg chg="mod">
          <ac:chgData name="RUFFET, Malcolm" userId="ef33cb5d-7c5f-44ea-8bd1-71f6d9da9dec" providerId="ADAL" clId="{42A6F1C5-53D2-4848-9E6F-5902AFD5EAD4}" dt="2024-02-26T17:28:23.880" v="14561" actId="165"/>
          <ac:cxnSpMkLst>
            <pc:docMk/>
            <pc:sldMk cId="288322715" sldId="2147481443"/>
            <ac:cxnSpMk id="34" creationId="{7C055C46-2B53-4129-9596-EB0004882877}"/>
          </ac:cxnSpMkLst>
        </pc:cxnChg>
        <pc:cxnChg chg="del">
          <ac:chgData name="RUFFET, Malcolm" userId="ef33cb5d-7c5f-44ea-8bd1-71f6d9da9dec" providerId="ADAL" clId="{42A6F1C5-53D2-4848-9E6F-5902AFD5EAD4}" dt="2024-02-26T17:28:40.394" v="14566" actId="478"/>
          <ac:cxnSpMkLst>
            <pc:docMk/>
            <pc:sldMk cId="288322715" sldId="2147481443"/>
            <ac:cxnSpMk id="67" creationId="{6C2B6C8D-96BC-4B81-902D-FD7A77B334CB}"/>
          </ac:cxnSpMkLst>
        </pc:cxnChg>
        <pc:cxnChg chg="del">
          <ac:chgData name="RUFFET, Malcolm" userId="ef33cb5d-7c5f-44ea-8bd1-71f6d9da9dec" providerId="ADAL" clId="{42A6F1C5-53D2-4848-9E6F-5902AFD5EAD4}" dt="2024-02-26T17:28:40.394" v="14566" actId="478"/>
          <ac:cxnSpMkLst>
            <pc:docMk/>
            <pc:sldMk cId="288322715" sldId="2147481443"/>
            <ac:cxnSpMk id="68" creationId="{777D1DED-13E6-44F5-9F4F-CA4D5F6BB4EA}"/>
          </ac:cxnSpMkLst>
        </pc:cxnChg>
      </pc:sldChg>
      <pc:sldChg chg="delSp modSp add del mod">
        <pc:chgData name="RUFFET, Malcolm" userId="ef33cb5d-7c5f-44ea-8bd1-71f6d9da9dec" providerId="ADAL" clId="{42A6F1C5-53D2-4848-9E6F-5902AFD5EAD4}" dt="2024-02-26T17:34:34.098" v="14838" actId="47"/>
        <pc:sldMkLst>
          <pc:docMk/>
          <pc:sldMk cId="7407891" sldId="2147481444"/>
        </pc:sldMkLst>
        <pc:spChg chg="del">
          <ac:chgData name="RUFFET, Malcolm" userId="ef33cb5d-7c5f-44ea-8bd1-71f6d9da9dec" providerId="ADAL" clId="{42A6F1C5-53D2-4848-9E6F-5902AFD5EAD4}" dt="2024-02-26T17:30:41.855" v="14617" actId="478"/>
          <ac:spMkLst>
            <pc:docMk/>
            <pc:sldMk cId="7407891" sldId="2147481444"/>
            <ac:spMk id="35" creationId="{8894392B-FB44-4655-B39E-3C0A0A535D87}"/>
          </ac:spMkLst>
        </pc:spChg>
        <pc:spChg chg="del">
          <ac:chgData name="RUFFET, Malcolm" userId="ef33cb5d-7c5f-44ea-8bd1-71f6d9da9dec" providerId="ADAL" clId="{42A6F1C5-53D2-4848-9E6F-5902AFD5EAD4}" dt="2024-02-26T17:30:41.855" v="14617" actId="478"/>
          <ac:spMkLst>
            <pc:docMk/>
            <pc:sldMk cId="7407891" sldId="2147481444"/>
            <ac:spMk id="36" creationId="{B16CDAE0-D515-499F-9F9D-77149D638C7E}"/>
          </ac:spMkLst>
        </pc:spChg>
        <pc:spChg chg="del">
          <ac:chgData name="RUFFET, Malcolm" userId="ef33cb5d-7c5f-44ea-8bd1-71f6d9da9dec" providerId="ADAL" clId="{42A6F1C5-53D2-4848-9E6F-5902AFD5EAD4}" dt="2024-02-26T17:30:41.855" v="14617" actId="478"/>
          <ac:spMkLst>
            <pc:docMk/>
            <pc:sldMk cId="7407891" sldId="2147481444"/>
            <ac:spMk id="37" creationId="{AC9A9FE5-0AC2-4A6B-A948-C3C2509B2433}"/>
          </ac:spMkLst>
        </pc:spChg>
        <pc:spChg chg="del">
          <ac:chgData name="RUFFET, Malcolm" userId="ef33cb5d-7c5f-44ea-8bd1-71f6d9da9dec" providerId="ADAL" clId="{42A6F1C5-53D2-4848-9E6F-5902AFD5EAD4}" dt="2024-02-26T17:30:41.855" v="14617" actId="478"/>
          <ac:spMkLst>
            <pc:docMk/>
            <pc:sldMk cId="7407891" sldId="2147481444"/>
            <ac:spMk id="39" creationId="{947E3B5F-1F9D-41B0-8D2E-88B91766D593}"/>
          </ac:spMkLst>
        </pc:spChg>
        <pc:spChg chg="del">
          <ac:chgData name="RUFFET, Malcolm" userId="ef33cb5d-7c5f-44ea-8bd1-71f6d9da9dec" providerId="ADAL" clId="{42A6F1C5-53D2-4848-9E6F-5902AFD5EAD4}" dt="2024-02-26T17:30:41.855" v="14617" actId="478"/>
          <ac:spMkLst>
            <pc:docMk/>
            <pc:sldMk cId="7407891" sldId="2147481444"/>
            <ac:spMk id="40" creationId="{89232AB4-9F8A-4D05-B8BC-3BAE30F51799}"/>
          </ac:spMkLst>
        </pc:spChg>
        <pc:spChg chg="del">
          <ac:chgData name="RUFFET, Malcolm" userId="ef33cb5d-7c5f-44ea-8bd1-71f6d9da9dec" providerId="ADAL" clId="{42A6F1C5-53D2-4848-9E6F-5902AFD5EAD4}" dt="2024-02-26T17:30:41.855" v="14617" actId="478"/>
          <ac:spMkLst>
            <pc:docMk/>
            <pc:sldMk cId="7407891" sldId="2147481444"/>
            <ac:spMk id="41" creationId="{9F7236DE-C273-423F-ADFC-F22261BAD8ED}"/>
          </ac:spMkLst>
        </pc:spChg>
        <pc:picChg chg="del">
          <ac:chgData name="RUFFET, Malcolm" userId="ef33cb5d-7c5f-44ea-8bd1-71f6d9da9dec" providerId="ADAL" clId="{42A6F1C5-53D2-4848-9E6F-5902AFD5EAD4}" dt="2024-02-26T17:30:41.855" v="14617" actId="478"/>
          <ac:picMkLst>
            <pc:docMk/>
            <pc:sldMk cId="7407891" sldId="2147481444"/>
            <ac:picMk id="20" creationId="{FAC91828-AF8C-4768-B329-C4276EA90A36}"/>
          </ac:picMkLst>
        </pc:picChg>
        <pc:cxnChg chg="del">
          <ac:chgData name="RUFFET, Malcolm" userId="ef33cb5d-7c5f-44ea-8bd1-71f6d9da9dec" providerId="ADAL" clId="{42A6F1C5-53D2-4848-9E6F-5902AFD5EAD4}" dt="2024-02-26T17:30:41.855" v="14617" actId="478"/>
          <ac:cxnSpMkLst>
            <pc:docMk/>
            <pc:sldMk cId="7407891" sldId="2147481444"/>
            <ac:cxnSpMk id="30" creationId="{DF80BBDF-E286-43EC-8FF1-FAC8C484C592}"/>
          </ac:cxnSpMkLst>
        </pc:cxnChg>
        <pc:cxnChg chg="del mod">
          <ac:chgData name="RUFFET, Malcolm" userId="ef33cb5d-7c5f-44ea-8bd1-71f6d9da9dec" providerId="ADAL" clId="{42A6F1C5-53D2-4848-9E6F-5902AFD5EAD4}" dt="2024-02-26T17:30:41.855" v="14617" actId="478"/>
          <ac:cxnSpMkLst>
            <pc:docMk/>
            <pc:sldMk cId="7407891" sldId="2147481444"/>
            <ac:cxnSpMk id="32" creationId="{28AA4F2D-888C-4833-94EB-5B4BCED9A7BE}"/>
          </ac:cxnSpMkLst>
        </pc:cxnChg>
        <pc:cxnChg chg="del">
          <ac:chgData name="RUFFET, Malcolm" userId="ef33cb5d-7c5f-44ea-8bd1-71f6d9da9dec" providerId="ADAL" clId="{42A6F1C5-53D2-4848-9E6F-5902AFD5EAD4}" dt="2024-02-26T17:30:41.855" v="14617" actId="478"/>
          <ac:cxnSpMkLst>
            <pc:docMk/>
            <pc:sldMk cId="7407891" sldId="2147481444"/>
            <ac:cxnSpMk id="34" creationId="{66463AFB-3CBD-492C-B655-6AA7433510B8}"/>
          </ac:cxnSpMkLst>
        </pc:cxnChg>
      </pc:sldChg>
      <pc:sldChg chg="addSp delSp modSp add mod">
        <pc:chgData name="RUFFET, Malcolm" userId="ef33cb5d-7c5f-44ea-8bd1-71f6d9da9dec" providerId="ADAL" clId="{42A6F1C5-53D2-4848-9E6F-5902AFD5EAD4}" dt="2024-02-26T17:34:37.589" v="14840" actId="20577"/>
        <pc:sldMkLst>
          <pc:docMk/>
          <pc:sldMk cId="1983833391" sldId="2147481445"/>
        </pc:sldMkLst>
        <pc:spChg chg="mod">
          <ac:chgData name="RUFFET, Malcolm" userId="ef33cb5d-7c5f-44ea-8bd1-71f6d9da9dec" providerId="ADAL" clId="{42A6F1C5-53D2-4848-9E6F-5902AFD5EAD4}" dt="2024-02-26T17:33:46.293" v="14830" actId="20577"/>
          <ac:spMkLst>
            <pc:docMk/>
            <pc:sldMk cId="1983833391" sldId="2147481445"/>
            <ac:spMk id="3" creationId="{0D07E198-E1CD-773D-2022-267A4B92A91F}"/>
          </ac:spMkLst>
        </pc:spChg>
        <pc:spChg chg="mod">
          <ac:chgData name="RUFFET, Malcolm" userId="ef33cb5d-7c5f-44ea-8bd1-71f6d9da9dec" providerId="ADAL" clId="{42A6F1C5-53D2-4848-9E6F-5902AFD5EAD4}" dt="2024-02-26T17:34:37.589" v="14840" actId="20577"/>
          <ac:spMkLst>
            <pc:docMk/>
            <pc:sldMk cId="1983833391" sldId="2147481445"/>
            <ac:spMk id="22" creationId="{92557DC4-B18F-4199-93D0-1D081E24520F}"/>
          </ac:spMkLst>
        </pc:spChg>
        <pc:spChg chg="mod">
          <ac:chgData name="RUFFET, Malcolm" userId="ef33cb5d-7c5f-44ea-8bd1-71f6d9da9dec" providerId="ADAL" clId="{42A6F1C5-53D2-4848-9E6F-5902AFD5EAD4}" dt="2024-02-26T17:31:02.218" v="14621" actId="20577"/>
          <ac:spMkLst>
            <pc:docMk/>
            <pc:sldMk cId="1983833391" sldId="2147481445"/>
            <ac:spMk id="23" creationId="{829AF7EE-145B-4C4A-8CEB-F55DCBE6686C}"/>
          </ac:spMkLst>
        </pc:spChg>
        <pc:picChg chg="add mod">
          <ac:chgData name="RUFFET, Malcolm" userId="ef33cb5d-7c5f-44ea-8bd1-71f6d9da9dec" providerId="ADAL" clId="{42A6F1C5-53D2-4848-9E6F-5902AFD5EAD4}" dt="2024-02-26T17:32:27.760" v="14631" actId="208"/>
          <ac:picMkLst>
            <pc:docMk/>
            <pc:sldMk cId="1983833391" sldId="2147481445"/>
            <ac:picMk id="5" creationId="{3D45D35C-DDD5-E4CD-CBCA-773B66C09CDF}"/>
          </ac:picMkLst>
        </pc:picChg>
        <pc:picChg chg="del">
          <ac:chgData name="RUFFET, Malcolm" userId="ef33cb5d-7c5f-44ea-8bd1-71f6d9da9dec" providerId="ADAL" clId="{42A6F1C5-53D2-4848-9E6F-5902AFD5EAD4}" dt="2024-02-26T17:31:28.338" v="14622" actId="478"/>
          <ac:picMkLst>
            <pc:docMk/>
            <pc:sldMk cId="1983833391" sldId="2147481445"/>
            <ac:picMk id="12" creationId="{377D15FA-6EE3-1FD3-82A3-E216145FD01F}"/>
          </ac:picMkLst>
        </pc:picChg>
        <pc:cxnChg chg="add mod">
          <ac:chgData name="RUFFET, Malcolm" userId="ef33cb5d-7c5f-44ea-8bd1-71f6d9da9dec" providerId="ADAL" clId="{42A6F1C5-53D2-4848-9E6F-5902AFD5EAD4}" dt="2024-02-26T17:34:08.307" v="14833" actId="208"/>
          <ac:cxnSpMkLst>
            <pc:docMk/>
            <pc:sldMk cId="1983833391" sldId="2147481445"/>
            <ac:cxnSpMk id="7" creationId="{792B02B8-DCE4-CAC3-7E98-58423129AE46}"/>
          </ac:cxnSpMkLst>
        </pc:cxnChg>
        <pc:cxnChg chg="add mod">
          <ac:chgData name="RUFFET, Malcolm" userId="ef33cb5d-7c5f-44ea-8bd1-71f6d9da9dec" providerId="ADAL" clId="{42A6F1C5-53D2-4848-9E6F-5902AFD5EAD4}" dt="2024-02-26T17:34:21.876" v="14835" actId="14100"/>
          <ac:cxnSpMkLst>
            <pc:docMk/>
            <pc:sldMk cId="1983833391" sldId="2147481445"/>
            <ac:cxnSpMk id="8" creationId="{3EFB7242-14EE-E214-3877-77DEFF4BE02D}"/>
          </ac:cxnSpMkLst>
        </pc:cxnChg>
        <pc:cxnChg chg="add mod">
          <ac:chgData name="RUFFET, Malcolm" userId="ef33cb5d-7c5f-44ea-8bd1-71f6d9da9dec" providerId="ADAL" clId="{42A6F1C5-53D2-4848-9E6F-5902AFD5EAD4}" dt="2024-02-26T17:34:27.644" v="14837" actId="14100"/>
          <ac:cxnSpMkLst>
            <pc:docMk/>
            <pc:sldMk cId="1983833391" sldId="2147481445"/>
            <ac:cxnSpMk id="10" creationId="{C1EC4DC6-20D3-BBBE-0670-58D4D2A6F90C}"/>
          </ac:cxnSpMkLst>
        </pc:cxnChg>
      </pc:sldChg>
      <pc:sldChg chg="add del">
        <pc:chgData name="RUFFET, Malcolm" userId="ef33cb5d-7c5f-44ea-8bd1-71f6d9da9dec" providerId="ADAL" clId="{42A6F1C5-53D2-4848-9E6F-5902AFD5EAD4}" dt="2024-02-27T10:44:17.949" v="14853"/>
        <pc:sldMkLst>
          <pc:docMk/>
          <pc:sldMk cId="560540597" sldId="2147481448"/>
        </pc:sldMkLst>
      </pc:sldChg>
      <pc:sldChg chg="delSp modSp add del mod modShow">
        <pc:chgData name="RUFFET, Malcolm" userId="ef33cb5d-7c5f-44ea-8bd1-71f6d9da9dec" providerId="ADAL" clId="{42A6F1C5-53D2-4848-9E6F-5902AFD5EAD4}" dt="2024-02-29T10:07:18.012" v="15091" actId="47"/>
        <pc:sldMkLst>
          <pc:docMk/>
          <pc:sldMk cId="1989360836" sldId="2147481449"/>
        </pc:sldMkLst>
        <pc:spChg chg="mod topLvl">
          <ac:chgData name="RUFFET, Malcolm" userId="ef33cb5d-7c5f-44ea-8bd1-71f6d9da9dec" providerId="ADAL" clId="{42A6F1C5-53D2-4848-9E6F-5902AFD5EAD4}" dt="2024-02-29T10:06:44.671" v="15088" actId="165"/>
          <ac:spMkLst>
            <pc:docMk/>
            <pc:sldMk cId="1989360836" sldId="2147481449"/>
            <ac:spMk id="15" creationId="{5E6C5390-43A8-4CB0-B612-EDA38A5E4C92}"/>
          </ac:spMkLst>
        </pc:spChg>
        <pc:spChg chg="mod topLvl">
          <ac:chgData name="RUFFET, Malcolm" userId="ef33cb5d-7c5f-44ea-8bd1-71f6d9da9dec" providerId="ADAL" clId="{42A6F1C5-53D2-4848-9E6F-5902AFD5EAD4}" dt="2024-02-29T10:06:44.671" v="15088" actId="165"/>
          <ac:spMkLst>
            <pc:docMk/>
            <pc:sldMk cId="1989360836" sldId="2147481449"/>
            <ac:spMk id="16" creationId="{9BFADDB0-4957-4DF4-B899-0DBE4C0412F0}"/>
          </ac:spMkLst>
        </pc:spChg>
        <pc:spChg chg="mod topLvl">
          <ac:chgData name="RUFFET, Malcolm" userId="ef33cb5d-7c5f-44ea-8bd1-71f6d9da9dec" providerId="ADAL" clId="{42A6F1C5-53D2-4848-9E6F-5902AFD5EAD4}" dt="2024-02-29T10:06:44.671" v="15088" actId="165"/>
          <ac:spMkLst>
            <pc:docMk/>
            <pc:sldMk cId="1989360836" sldId="2147481449"/>
            <ac:spMk id="30" creationId="{721AAE5E-B17C-442B-A509-BE0390C7658B}"/>
          </ac:spMkLst>
        </pc:spChg>
        <pc:spChg chg="mod topLvl">
          <ac:chgData name="RUFFET, Malcolm" userId="ef33cb5d-7c5f-44ea-8bd1-71f6d9da9dec" providerId="ADAL" clId="{42A6F1C5-53D2-4848-9E6F-5902AFD5EAD4}" dt="2024-02-29T10:06:44.671" v="15088" actId="165"/>
          <ac:spMkLst>
            <pc:docMk/>
            <pc:sldMk cId="1989360836" sldId="2147481449"/>
            <ac:spMk id="31" creationId="{23C414D6-88D4-4852-86C5-00D9F8D96263}"/>
          </ac:spMkLst>
        </pc:spChg>
        <pc:spChg chg="mod topLvl">
          <ac:chgData name="RUFFET, Malcolm" userId="ef33cb5d-7c5f-44ea-8bd1-71f6d9da9dec" providerId="ADAL" clId="{42A6F1C5-53D2-4848-9E6F-5902AFD5EAD4}" dt="2024-02-29T10:06:44.671" v="15088" actId="165"/>
          <ac:spMkLst>
            <pc:docMk/>
            <pc:sldMk cId="1989360836" sldId="2147481449"/>
            <ac:spMk id="32" creationId="{8BCAC549-F11F-41AD-9445-3E50E9599FAB}"/>
          </ac:spMkLst>
        </pc:spChg>
        <pc:spChg chg="mod topLvl">
          <ac:chgData name="RUFFET, Malcolm" userId="ef33cb5d-7c5f-44ea-8bd1-71f6d9da9dec" providerId="ADAL" clId="{42A6F1C5-53D2-4848-9E6F-5902AFD5EAD4}" dt="2024-02-29T10:06:44.671" v="15088" actId="165"/>
          <ac:spMkLst>
            <pc:docMk/>
            <pc:sldMk cId="1989360836" sldId="2147481449"/>
            <ac:spMk id="36" creationId="{A7E947A8-DA8A-4EB2-8EDB-B5FD656FAB35}"/>
          </ac:spMkLst>
        </pc:spChg>
        <pc:spChg chg="mod topLvl">
          <ac:chgData name="RUFFET, Malcolm" userId="ef33cb5d-7c5f-44ea-8bd1-71f6d9da9dec" providerId="ADAL" clId="{42A6F1C5-53D2-4848-9E6F-5902AFD5EAD4}" dt="2024-02-29T10:06:44.671" v="15088" actId="165"/>
          <ac:spMkLst>
            <pc:docMk/>
            <pc:sldMk cId="1989360836" sldId="2147481449"/>
            <ac:spMk id="37" creationId="{D3089160-0DC8-4F45-8B56-D104729461D5}"/>
          </ac:spMkLst>
        </pc:spChg>
        <pc:spChg chg="mod topLvl">
          <ac:chgData name="RUFFET, Malcolm" userId="ef33cb5d-7c5f-44ea-8bd1-71f6d9da9dec" providerId="ADAL" clId="{42A6F1C5-53D2-4848-9E6F-5902AFD5EAD4}" dt="2024-02-29T10:06:44.671" v="15088" actId="165"/>
          <ac:spMkLst>
            <pc:docMk/>
            <pc:sldMk cId="1989360836" sldId="2147481449"/>
            <ac:spMk id="38" creationId="{36C2616F-8AC4-481A-82A1-534162F01541}"/>
          </ac:spMkLst>
        </pc:spChg>
        <pc:spChg chg="mod topLvl">
          <ac:chgData name="RUFFET, Malcolm" userId="ef33cb5d-7c5f-44ea-8bd1-71f6d9da9dec" providerId="ADAL" clId="{42A6F1C5-53D2-4848-9E6F-5902AFD5EAD4}" dt="2024-02-29T10:06:44.671" v="15088" actId="165"/>
          <ac:spMkLst>
            <pc:docMk/>
            <pc:sldMk cId="1989360836" sldId="2147481449"/>
            <ac:spMk id="39" creationId="{781C8424-C8B3-45AE-819A-CAFB5BEEFD87}"/>
          </ac:spMkLst>
        </pc:spChg>
        <pc:spChg chg="mod topLvl">
          <ac:chgData name="RUFFET, Malcolm" userId="ef33cb5d-7c5f-44ea-8bd1-71f6d9da9dec" providerId="ADAL" clId="{42A6F1C5-53D2-4848-9E6F-5902AFD5EAD4}" dt="2024-02-29T10:06:44.671" v="15088" actId="165"/>
          <ac:spMkLst>
            <pc:docMk/>
            <pc:sldMk cId="1989360836" sldId="2147481449"/>
            <ac:spMk id="45" creationId="{F408FC67-A24F-47D4-941B-1EB9CBAD83BF}"/>
          </ac:spMkLst>
        </pc:spChg>
        <pc:spChg chg="mod topLvl">
          <ac:chgData name="RUFFET, Malcolm" userId="ef33cb5d-7c5f-44ea-8bd1-71f6d9da9dec" providerId="ADAL" clId="{42A6F1C5-53D2-4848-9E6F-5902AFD5EAD4}" dt="2024-02-29T10:06:44.671" v="15088" actId="165"/>
          <ac:spMkLst>
            <pc:docMk/>
            <pc:sldMk cId="1989360836" sldId="2147481449"/>
            <ac:spMk id="46" creationId="{197056FA-5540-4B79-8C59-FE1ECA93B783}"/>
          </ac:spMkLst>
        </pc:spChg>
        <pc:spChg chg="mod topLvl">
          <ac:chgData name="RUFFET, Malcolm" userId="ef33cb5d-7c5f-44ea-8bd1-71f6d9da9dec" providerId="ADAL" clId="{42A6F1C5-53D2-4848-9E6F-5902AFD5EAD4}" dt="2024-02-29T10:06:44.671" v="15088" actId="165"/>
          <ac:spMkLst>
            <pc:docMk/>
            <pc:sldMk cId="1989360836" sldId="2147481449"/>
            <ac:spMk id="47" creationId="{3920B3C7-7398-4748-82C4-DC29BD597B6E}"/>
          </ac:spMkLst>
        </pc:spChg>
        <pc:spChg chg="mod topLvl">
          <ac:chgData name="RUFFET, Malcolm" userId="ef33cb5d-7c5f-44ea-8bd1-71f6d9da9dec" providerId="ADAL" clId="{42A6F1C5-53D2-4848-9E6F-5902AFD5EAD4}" dt="2024-02-29T10:06:44.671" v="15088" actId="165"/>
          <ac:spMkLst>
            <pc:docMk/>
            <pc:sldMk cId="1989360836" sldId="2147481449"/>
            <ac:spMk id="48" creationId="{70758E8A-BA7C-4E32-B755-D8F429F306D2}"/>
          </ac:spMkLst>
        </pc:spChg>
        <pc:spChg chg="mod topLvl">
          <ac:chgData name="RUFFET, Malcolm" userId="ef33cb5d-7c5f-44ea-8bd1-71f6d9da9dec" providerId="ADAL" clId="{42A6F1C5-53D2-4848-9E6F-5902AFD5EAD4}" dt="2024-02-29T10:06:44.671" v="15088" actId="165"/>
          <ac:spMkLst>
            <pc:docMk/>
            <pc:sldMk cId="1989360836" sldId="2147481449"/>
            <ac:spMk id="51" creationId="{97BE9A86-9D48-43CB-8DC0-1B411EA96617}"/>
          </ac:spMkLst>
        </pc:spChg>
        <pc:spChg chg="mod topLvl">
          <ac:chgData name="RUFFET, Malcolm" userId="ef33cb5d-7c5f-44ea-8bd1-71f6d9da9dec" providerId="ADAL" clId="{42A6F1C5-53D2-4848-9E6F-5902AFD5EAD4}" dt="2024-02-29T10:06:44.671" v="15088" actId="165"/>
          <ac:spMkLst>
            <pc:docMk/>
            <pc:sldMk cId="1989360836" sldId="2147481449"/>
            <ac:spMk id="52" creationId="{A23FC1E1-21AF-4560-BC75-2691EEADAF9C}"/>
          </ac:spMkLst>
        </pc:spChg>
        <pc:spChg chg="mod topLvl">
          <ac:chgData name="RUFFET, Malcolm" userId="ef33cb5d-7c5f-44ea-8bd1-71f6d9da9dec" providerId="ADAL" clId="{42A6F1C5-53D2-4848-9E6F-5902AFD5EAD4}" dt="2024-02-29T10:06:44.671" v="15088" actId="165"/>
          <ac:spMkLst>
            <pc:docMk/>
            <pc:sldMk cId="1989360836" sldId="2147481449"/>
            <ac:spMk id="53" creationId="{DF8458CF-0A65-48A9-BD06-07D26A605B15}"/>
          </ac:spMkLst>
        </pc:spChg>
        <pc:grpChg chg="del mod topLvl">
          <ac:chgData name="RUFFET, Malcolm" userId="ef33cb5d-7c5f-44ea-8bd1-71f6d9da9dec" providerId="ADAL" clId="{42A6F1C5-53D2-4848-9E6F-5902AFD5EAD4}" dt="2024-02-29T10:06:44.671" v="15088" actId="165"/>
          <ac:grpSpMkLst>
            <pc:docMk/>
            <pc:sldMk cId="1989360836" sldId="2147481449"/>
            <ac:grpSpMk id="27" creationId="{6975B31B-3171-43C5-9BEA-51BE71A26B6A}"/>
          </ac:grpSpMkLst>
        </pc:grpChg>
        <pc:grpChg chg="del mod topLvl">
          <ac:chgData name="RUFFET, Malcolm" userId="ef33cb5d-7c5f-44ea-8bd1-71f6d9da9dec" providerId="ADAL" clId="{42A6F1C5-53D2-4848-9E6F-5902AFD5EAD4}" dt="2024-02-29T10:06:44.671" v="15088" actId="165"/>
          <ac:grpSpMkLst>
            <pc:docMk/>
            <pc:sldMk cId="1989360836" sldId="2147481449"/>
            <ac:grpSpMk id="49" creationId="{43843829-FA57-43DF-8024-27A07F6E9A7E}"/>
          </ac:grpSpMkLst>
        </pc:grpChg>
        <pc:grpChg chg="del">
          <ac:chgData name="RUFFET, Malcolm" userId="ef33cb5d-7c5f-44ea-8bd1-71f6d9da9dec" providerId="ADAL" clId="{42A6F1C5-53D2-4848-9E6F-5902AFD5EAD4}" dt="2024-02-29T10:06:43.741" v="15087" actId="165"/>
          <ac:grpSpMkLst>
            <pc:docMk/>
            <pc:sldMk cId="1989360836" sldId="2147481449"/>
            <ac:grpSpMk id="54" creationId="{8212E60C-3BE4-4CC6-9098-16859D0012E6}"/>
          </ac:grpSpMkLst>
        </pc:grpChg>
        <pc:cxnChg chg="mod topLvl">
          <ac:chgData name="RUFFET, Malcolm" userId="ef33cb5d-7c5f-44ea-8bd1-71f6d9da9dec" providerId="ADAL" clId="{42A6F1C5-53D2-4848-9E6F-5902AFD5EAD4}" dt="2024-02-29T10:06:44.671" v="15088" actId="165"/>
          <ac:cxnSpMkLst>
            <pc:docMk/>
            <pc:sldMk cId="1989360836" sldId="2147481449"/>
            <ac:cxnSpMk id="28" creationId="{EC6FC15E-8460-415C-937E-9BFD241D9404}"/>
          </ac:cxnSpMkLst>
        </pc:cxnChg>
        <pc:cxnChg chg="mod topLvl">
          <ac:chgData name="RUFFET, Malcolm" userId="ef33cb5d-7c5f-44ea-8bd1-71f6d9da9dec" providerId="ADAL" clId="{42A6F1C5-53D2-4848-9E6F-5902AFD5EAD4}" dt="2024-02-29T10:06:44.671" v="15088" actId="165"/>
          <ac:cxnSpMkLst>
            <pc:docMk/>
            <pc:sldMk cId="1989360836" sldId="2147481449"/>
            <ac:cxnSpMk id="29" creationId="{6FB1F865-1352-44A4-A708-1B51D6BAC7BE}"/>
          </ac:cxnSpMkLst>
        </pc:cxnChg>
        <pc:cxnChg chg="mod topLvl">
          <ac:chgData name="RUFFET, Malcolm" userId="ef33cb5d-7c5f-44ea-8bd1-71f6d9da9dec" providerId="ADAL" clId="{42A6F1C5-53D2-4848-9E6F-5902AFD5EAD4}" dt="2024-02-29T10:06:44.671" v="15088" actId="165"/>
          <ac:cxnSpMkLst>
            <pc:docMk/>
            <pc:sldMk cId="1989360836" sldId="2147481449"/>
            <ac:cxnSpMk id="33" creationId="{DC4FB55E-11B6-487F-8EC1-FFEA3D37FF99}"/>
          </ac:cxnSpMkLst>
        </pc:cxnChg>
        <pc:cxnChg chg="mod topLvl">
          <ac:chgData name="RUFFET, Malcolm" userId="ef33cb5d-7c5f-44ea-8bd1-71f6d9da9dec" providerId="ADAL" clId="{42A6F1C5-53D2-4848-9E6F-5902AFD5EAD4}" dt="2024-02-29T10:06:44.671" v="15088" actId="165"/>
          <ac:cxnSpMkLst>
            <pc:docMk/>
            <pc:sldMk cId="1989360836" sldId="2147481449"/>
            <ac:cxnSpMk id="34" creationId="{7C055C46-2B53-4129-9596-EB0004882877}"/>
          </ac:cxnSpMkLst>
        </pc:cxnChg>
      </pc:sldChg>
      <pc:sldChg chg="add">
        <pc:chgData name="RUFFET, Malcolm" userId="ef33cb5d-7c5f-44ea-8bd1-71f6d9da9dec" providerId="ADAL" clId="{42A6F1C5-53D2-4848-9E6F-5902AFD5EAD4}" dt="2024-02-29T10:07:01.570" v="15089"/>
        <pc:sldMkLst>
          <pc:docMk/>
          <pc:sldMk cId="4279065420" sldId="2147481450"/>
        </pc:sldMkLst>
      </pc:sldChg>
      <pc:sldChg chg="addSp delSp modSp add mod addCm modCm">
        <pc:chgData name="RUFFET, Malcolm" userId="ef33cb5d-7c5f-44ea-8bd1-71f6d9da9dec" providerId="ADAL" clId="{42A6F1C5-53D2-4848-9E6F-5902AFD5EAD4}" dt="2024-03-05T07:43:40.571" v="15294"/>
        <pc:sldMkLst>
          <pc:docMk/>
          <pc:sldMk cId="1228357790" sldId="2147481451"/>
        </pc:sldMkLst>
        <pc:spChg chg="add del mod">
          <ac:chgData name="RUFFET, Malcolm" userId="ef33cb5d-7c5f-44ea-8bd1-71f6d9da9dec" providerId="ADAL" clId="{42A6F1C5-53D2-4848-9E6F-5902AFD5EAD4}" dt="2024-02-29T10:11:50.598" v="15261" actId="478"/>
          <ac:spMkLst>
            <pc:docMk/>
            <pc:sldMk cId="1228357790" sldId="2147481451"/>
            <ac:spMk id="2" creationId="{33F207CC-D540-17F8-5291-B466CFE6BAF7}"/>
          </ac:spMkLst>
        </pc:spChg>
        <pc:spChg chg="del">
          <ac:chgData name="RUFFET, Malcolm" userId="ef33cb5d-7c5f-44ea-8bd1-71f6d9da9dec" providerId="ADAL" clId="{42A6F1C5-53D2-4848-9E6F-5902AFD5EAD4}" dt="2024-02-29T10:07:32.833" v="15094" actId="478"/>
          <ac:spMkLst>
            <pc:docMk/>
            <pc:sldMk cId="1228357790" sldId="2147481451"/>
            <ac:spMk id="3" creationId="{6CCDDADF-3B6F-C844-1AA2-846CADA1E70B}"/>
          </ac:spMkLst>
        </pc:spChg>
        <pc:graphicFrameChg chg="mod modGraphic">
          <ac:chgData name="RUFFET, Malcolm" userId="ef33cb5d-7c5f-44ea-8bd1-71f6d9da9dec" providerId="ADAL" clId="{42A6F1C5-53D2-4848-9E6F-5902AFD5EAD4}" dt="2024-02-29T10:12:14.130" v="15265" actId="255"/>
          <ac:graphicFrameMkLst>
            <pc:docMk/>
            <pc:sldMk cId="1228357790" sldId="2147481451"/>
            <ac:graphicFrameMk id="4" creationId="{868DAC96-CB41-D4D4-D037-AA7301259B0A}"/>
          </ac:graphicFrameMkLst>
        </pc:graphicFrameChg>
        <pc:extLst>
          <p:ext xmlns:p="http://schemas.openxmlformats.org/presentationml/2006/main" uri="{D6D511B9-2390-475A-947B-AFAB55BFBCF1}">
            <pc226:cmChg xmlns:pc226="http://schemas.microsoft.com/office/powerpoint/2022/06/main/command" chg="add">
              <pc226:chgData name="RUFFET, Malcolm" userId="ef33cb5d-7c5f-44ea-8bd1-71f6d9da9dec" providerId="ADAL" clId="{42A6F1C5-53D2-4848-9E6F-5902AFD5EAD4}" dt="2024-03-05T07:43:40.571" v="15294"/>
              <pc2:cmMkLst xmlns:pc2="http://schemas.microsoft.com/office/powerpoint/2019/9/main/command">
                <pc:docMk/>
                <pc:sldMk cId="1228357790" sldId="2147481451"/>
                <pc2:cmMk id="{B3FA9268-7F7F-46B3-98D8-6CAAF98A05D1}"/>
              </pc2:cmMkLst>
              <pc226:cmRplyChg chg="add">
                <pc226:chgData name="RUFFET, Malcolm" userId="ef33cb5d-7c5f-44ea-8bd1-71f6d9da9dec" providerId="ADAL" clId="{42A6F1C5-53D2-4848-9E6F-5902AFD5EAD4}" dt="2024-03-05T07:43:40.571" v="15294"/>
                <pc2:cmRplyMkLst xmlns:pc2="http://schemas.microsoft.com/office/powerpoint/2019/9/main/command">
                  <pc:docMk/>
                  <pc:sldMk cId="1228357790" sldId="2147481451"/>
                  <pc2:cmMk id="{B3FA9268-7F7F-46B3-98D8-6CAAF98A05D1}"/>
                  <pc2:cmRplyMk id="{FEB14F13-1BD2-4636-B860-BC686E732684}"/>
                </pc2:cmRplyMkLst>
              </pc226:cmRplyChg>
            </pc226:cmChg>
          </p:ext>
        </pc:extLst>
      </pc:sldChg>
      <pc:sldChg chg="addSp modSp mod">
        <pc:chgData name="RUFFET, Malcolm" userId="ef33cb5d-7c5f-44ea-8bd1-71f6d9da9dec" providerId="ADAL" clId="{42A6F1C5-53D2-4848-9E6F-5902AFD5EAD4}" dt="2024-03-13T22:34:42.061" v="15453" actId="20577"/>
        <pc:sldMkLst>
          <pc:docMk/>
          <pc:sldMk cId="3743689127" sldId="2147481452"/>
        </pc:sldMkLst>
        <pc:spChg chg="mod">
          <ac:chgData name="RUFFET, Malcolm" userId="ef33cb5d-7c5f-44ea-8bd1-71f6d9da9dec" providerId="ADAL" clId="{42A6F1C5-53D2-4848-9E6F-5902AFD5EAD4}" dt="2024-03-13T22:34:42.061" v="15453" actId="20577"/>
          <ac:spMkLst>
            <pc:docMk/>
            <pc:sldMk cId="3743689127" sldId="2147481452"/>
            <ac:spMk id="3" creationId="{DC01C05F-AD85-5415-CEC9-6BFBC0BE846C}"/>
          </ac:spMkLst>
        </pc:spChg>
        <pc:spChg chg="add mod">
          <ac:chgData name="RUFFET, Malcolm" userId="ef33cb5d-7c5f-44ea-8bd1-71f6d9da9dec" providerId="ADAL" clId="{42A6F1C5-53D2-4848-9E6F-5902AFD5EAD4}" dt="2024-03-07T15:43:54.018" v="15325" actId="1076"/>
          <ac:spMkLst>
            <pc:docMk/>
            <pc:sldMk cId="3743689127" sldId="2147481452"/>
            <ac:spMk id="4" creationId="{4842F1DE-EDFF-C250-B024-7D5F1BC49797}"/>
          </ac:spMkLst>
        </pc:spChg>
      </pc:sldChg>
      <pc:sldChg chg="addSp delSp modSp add mod">
        <pc:chgData name="RUFFET, Malcolm" userId="ef33cb5d-7c5f-44ea-8bd1-71f6d9da9dec" providerId="ADAL" clId="{42A6F1C5-53D2-4848-9E6F-5902AFD5EAD4}" dt="2024-03-07T16:10:36.139" v="15425"/>
        <pc:sldMkLst>
          <pc:docMk/>
          <pc:sldMk cId="1203554301" sldId="2147481457"/>
        </pc:sldMkLst>
        <pc:spChg chg="mod">
          <ac:chgData name="RUFFET, Malcolm" userId="ef33cb5d-7c5f-44ea-8bd1-71f6d9da9dec" providerId="ADAL" clId="{42A6F1C5-53D2-4848-9E6F-5902AFD5EAD4}" dt="2024-03-07T16:07:52.902" v="15411" actId="113"/>
          <ac:spMkLst>
            <pc:docMk/>
            <pc:sldMk cId="1203554301" sldId="2147481457"/>
            <ac:spMk id="3" creationId="{0D07E198-E1CD-773D-2022-267A4B92A91F}"/>
          </ac:spMkLst>
        </pc:spChg>
        <pc:spChg chg="add mod">
          <ac:chgData name="RUFFET, Malcolm" userId="ef33cb5d-7c5f-44ea-8bd1-71f6d9da9dec" providerId="ADAL" clId="{42A6F1C5-53D2-4848-9E6F-5902AFD5EAD4}" dt="2024-03-07T16:10:36.139" v="15425"/>
          <ac:spMkLst>
            <pc:docMk/>
            <pc:sldMk cId="1203554301" sldId="2147481457"/>
            <ac:spMk id="19" creationId="{36736309-53A4-6DAC-94F3-B07482F9AF26}"/>
          </ac:spMkLst>
        </pc:spChg>
        <pc:cxnChg chg="del mod">
          <ac:chgData name="RUFFET, Malcolm" userId="ef33cb5d-7c5f-44ea-8bd1-71f6d9da9dec" providerId="ADAL" clId="{42A6F1C5-53D2-4848-9E6F-5902AFD5EAD4}" dt="2024-03-07T16:08:23.392" v="15416" actId="478"/>
          <ac:cxnSpMkLst>
            <pc:docMk/>
            <pc:sldMk cId="1203554301" sldId="2147481457"/>
            <ac:cxnSpMk id="7" creationId="{792B02B8-DCE4-CAC3-7E98-58423129AE46}"/>
          </ac:cxnSpMkLst>
        </pc:cxnChg>
        <pc:cxnChg chg="mod">
          <ac:chgData name="RUFFET, Malcolm" userId="ef33cb5d-7c5f-44ea-8bd1-71f6d9da9dec" providerId="ADAL" clId="{42A6F1C5-53D2-4848-9E6F-5902AFD5EAD4}" dt="2024-03-07T16:08:38.295" v="15419" actId="14100"/>
          <ac:cxnSpMkLst>
            <pc:docMk/>
            <pc:sldMk cId="1203554301" sldId="2147481457"/>
            <ac:cxnSpMk id="8" creationId="{3EFB7242-14EE-E214-3877-77DEFF4BE02D}"/>
          </ac:cxnSpMkLst>
        </pc:cxnChg>
        <pc:cxnChg chg="mod">
          <ac:chgData name="RUFFET, Malcolm" userId="ef33cb5d-7c5f-44ea-8bd1-71f6d9da9dec" providerId="ADAL" clId="{42A6F1C5-53D2-4848-9E6F-5902AFD5EAD4}" dt="2024-03-07T16:08:40.828" v="15420" actId="14100"/>
          <ac:cxnSpMkLst>
            <pc:docMk/>
            <pc:sldMk cId="1203554301" sldId="2147481457"/>
            <ac:cxnSpMk id="10" creationId="{C1EC4DC6-20D3-BBBE-0670-58D4D2A6F90C}"/>
          </ac:cxnSpMkLst>
        </pc:cxnChg>
        <pc:cxnChg chg="add mod">
          <ac:chgData name="RUFFET, Malcolm" userId="ef33cb5d-7c5f-44ea-8bd1-71f6d9da9dec" providerId="ADAL" clId="{42A6F1C5-53D2-4848-9E6F-5902AFD5EAD4}" dt="2024-03-07T16:08:32.668" v="15418" actId="14100"/>
          <ac:cxnSpMkLst>
            <pc:docMk/>
            <pc:sldMk cId="1203554301" sldId="2147481457"/>
            <ac:cxnSpMk id="14" creationId="{08D79C5A-CF5E-DE5D-3641-3DE0A54C2E17}"/>
          </ac:cxnSpMkLst>
        </pc:cxnChg>
      </pc:sldChg>
      <pc:sldChg chg="addSp modSp add">
        <pc:chgData name="RUFFET, Malcolm" userId="ef33cb5d-7c5f-44ea-8bd1-71f6d9da9dec" providerId="ADAL" clId="{42A6F1C5-53D2-4848-9E6F-5902AFD5EAD4}" dt="2024-03-07T16:10:37.912" v="15426"/>
        <pc:sldMkLst>
          <pc:docMk/>
          <pc:sldMk cId="2310254202" sldId="2147481458"/>
        </pc:sldMkLst>
        <pc:spChg chg="add mod">
          <ac:chgData name="RUFFET, Malcolm" userId="ef33cb5d-7c5f-44ea-8bd1-71f6d9da9dec" providerId="ADAL" clId="{42A6F1C5-53D2-4848-9E6F-5902AFD5EAD4}" dt="2024-03-07T16:10:37.912" v="15426"/>
          <ac:spMkLst>
            <pc:docMk/>
            <pc:sldMk cId="2310254202" sldId="2147481458"/>
            <ac:spMk id="2" creationId="{C00B6F9E-0DCF-E86A-D53A-300E5AA32A95}"/>
          </ac:spMkLst>
        </pc:spChg>
      </pc:sldChg>
      <pc:sldChg chg="addSp modSp add">
        <pc:chgData name="RUFFET, Malcolm" userId="ef33cb5d-7c5f-44ea-8bd1-71f6d9da9dec" providerId="ADAL" clId="{42A6F1C5-53D2-4848-9E6F-5902AFD5EAD4}" dt="2024-03-07T16:10:45.185" v="15427"/>
        <pc:sldMkLst>
          <pc:docMk/>
          <pc:sldMk cId="1723512651" sldId="2147481460"/>
        </pc:sldMkLst>
        <pc:spChg chg="add mod">
          <ac:chgData name="RUFFET, Malcolm" userId="ef33cb5d-7c5f-44ea-8bd1-71f6d9da9dec" providerId="ADAL" clId="{42A6F1C5-53D2-4848-9E6F-5902AFD5EAD4}" dt="2024-03-07T16:10:45.185" v="15427"/>
          <ac:spMkLst>
            <pc:docMk/>
            <pc:sldMk cId="1723512651" sldId="2147481460"/>
            <ac:spMk id="4" creationId="{C4611F83-C766-AC65-F532-EDD8BE76BE96}"/>
          </ac:spMkLst>
        </pc:spChg>
      </pc:sldChg>
      <pc:sldChg chg="addSp modSp add">
        <pc:chgData name="RUFFET, Malcolm" userId="ef33cb5d-7c5f-44ea-8bd1-71f6d9da9dec" providerId="ADAL" clId="{42A6F1C5-53D2-4848-9E6F-5902AFD5EAD4}" dt="2024-03-07T16:10:46.377" v="15428"/>
        <pc:sldMkLst>
          <pc:docMk/>
          <pc:sldMk cId="4048011549" sldId="2147481461"/>
        </pc:sldMkLst>
        <pc:spChg chg="add mod">
          <ac:chgData name="RUFFET, Malcolm" userId="ef33cb5d-7c5f-44ea-8bd1-71f6d9da9dec" providerId="ADAL" clId="{42A6F1C5-53D2-4848-9E6F-5902AFD5EAD4}" dt="2024-03-07T16:10:46.377" v="15428"/>
          <ac:spMkLst>
            <pc:docMk/>
            <pc:sldMk cId="4048011549" sldId="2147481461"/>
            <ac:spMk id="2" creationId="{B590A364-B1FC-0453-E539-6B9B0C71391D}"/>
          </ac:spMkLst>
        </pc:spChg>
      </pc:sldChg>
      <pc:sldChg chg="addSp delSp modSp add mod">
        <pc:chgData name="RUFFET, Malcolm" userId="ef33cb5d-7c5f-44ea-8bd1-71f6d9da9dec" providerId="ADAL" clId="{42A6F1C5-53D2-4848-9E6F-5902AFD5EAD4}" dt="2024-03-14T15:15:28.382" v="16004" actId="207"/>
        <pc:sldMkLst>
          <pc:docMk/>
          <pc:sldMk cId="4251552819" sldId="2147481466"/>
        </pc:sldMkLst>
        <pc:spChg chg="del mod">
          <ac:chgData name="RUFFET, Malcolm" userId="ef33cb5d-7c5f-44ea-8bd1-71f6d9da9dec" providerId="ADAL" clId="{42A6F1C5-53D2-4848-9E6F-5902AFD5EAD4}" dt="2024-03-13T23:16:19.379" v="15995" actId="478"/>
          <ac:spMkLst>
            <pc:docMk/>
            <pc:sldMk cId="4251552819" sldId="2147481466"/>
            <ac:spMk id="2" creationId="{5FBEB8B5-A4CC-ADB2-80A6-EB127078C5C1}"/>
          </ac:spMkLst>
        </pc:spChg>
        <pc:spChg chg="add mod">
          <ac:chgData name="RUFFET, Malcolm" userId="ef33cb5d-7c5f-44ea-8bd1-71f6d9da9dec" providerId="ADAL" clId="{42A6F1C5-53D2-4848-9E6F-5902AFD5EAD4}" dt="2024-03-13T23:08:37.784" v="15692" actId="1076"/>
          <ac:spMkLst>
            <pc:docMk/>
            <pc:sldMk cId="4251552819" sldId="2147481466"/>
            <ac:spMk id="5" creationId="{D2C2B4F0-2A96-74E1-423A-7344876FC0D1}"/>
          </ac:spMkLst>
        </pc:spChg>
        <pc:spChg chg="add mod">
          <ac:chgData name="RUFFET, Malcolm" userId="ef33cb5d-7c5f-44ea-8bd1-71f6d9da9dec" providerId="ADAL" clId="{42A6F1C5-53D2-4848-9E6F-5902AFD5EAD4}" dt="2024-03-13T23:08:37.784" v="15692" actId="1076"/>
          <ac:spMkLst>
            <pc:docMk/>
            <pc:sldMk cId="4251552819" sldId="2147481466"/>
            <ac:spMk id="6" creationId="{B1F34F61-6B75-A4FE-4B7E-E7FC3D67BADA}"/>
          </ac:spMkLst>
        </pc:spChg>
        <pc:spChg chg="add mod">
          <ac:chgData name="RUFFET, Malcolm" userId="ef33cb5d-7c5f-44ea-8bd1-71f6d9da9dec" providerId="ADAL" clId="{42A6F1C5-53D2-4848-9E6F-5902AFD5EAD4}" dt="2024-03-13T23:08:37.784" v="15692" actId="1076"/>
          <ac:spMkLst>
            <pc:docMk/>
            <pc:sldMk cId="4251552819" sldId="2147481466"/>
            <ac:spMk id="7" creationId="{F0A4C460-D0E2-9B67-79FA-6E6BF566F924}"/>
          </ac:spMkLst>
        </pc:spChg>
        <pc:spChg chg="add mod">
          <ac:chgData name="RUFFET, Malcolm" userId="ef33cb5d-7c5f-44ea-8bd1-71f6d9da9dec" providerId="ADAL" clId="{42A6F1C5-53D2-4848-9E6F-5902AFD5EAD4}" dt="2024-03-13T23:08:37.784" v="15692" actId="1076"/>
          <ac:spMkLst>
            <pc:docMk/>
            <pc:sldMk cId="4251552819" sldId="2147481466"/>
            <ac:spMk id="8" creationId="{F2F8F800-7CBD-7755-07E3-650827CAA7D0}"/>
          </ac:spMkLst>
        </pc:spChg>
        <pc:spChg chg="add mod">
          <ac:chgData name="RUFFET, Malcolm" userId="ef33cb5d-7c5f-44ea-8bd1-71f6d9da9dec" providerId="ADAL" clId="{42A6F1C5-53D2-4848-9E6F-5902AFD5EAD4}" dt="2024-03-13T23:08:37.784" v="15692" actId="1076"/>
          <ac:spMkLst>
            <pc:docMk/>
            <pc:sldMk cId="4251552819" sldId="2147481466"/>
            <ac:spMk id="9" creationId="{0BE7F632-9CA6-1CAE-CEE9-508EB7046CAF}"/>
          </ac:spMkLst>
        </pc:spChg>
        <pc:spChg chg="add mod">
          <ac:chgData name="RUFFET, Malcolm" userId="ef33cb5d-7c5f-44ea-8bd1-71f6d9da9dec" providerId="ADAL" clId="{42A6F1C5-53D2-4848-9E6F-5902AFD5EAD4}" dt="2024-03-13T23:08:37.784" v="15692" actId="1076"/>
          <ac:spMkLst>
            <pc:docMk/>
            <pc:sldMk cId="4251552819" sldId="2147481466"/>
            <ac:spMk id="10" creationId="{03F1C896-D4A0-063B-8B3E-2E4259F7F2B0}"/>
          </ac:spMkLst>
        </pc:spChg>
        <pc:spChg chg="add mod">
          <ac:chgData name="RUFFET, Malcolm" userId="ef33cb5d-7c5f-44ea-8bd1-71f6d9da9dec" providerId="ADAL" clId="{42A6F1C5-53D2-4848-9E6F-5902AFD5EAD4}" dt="2024-03-13T23:08:37.784" v="15692" actId="1076"/>
          <ac:spMkLst>
            <pc:docMk/>
            <pc:sldMk cId="4251552819" sldId="2147481466"/>
            <ac:spMk id="11" creationId="{94B7A988-0FFB-E7F6-C562-E01DCB591492}"/>
          </ac:spMkLst>
        </pc:spChg>
        <pc:spChg chg="add mod">
          <ac:chgData name="RUFFET, Malcolm" userId="ef33cb5d-7c5f-44ea-8bd1-71f6d9da9dec" providerId="ADAL" clId="{42A6F1C5-53D2-4848-9E6F-5902AFD5EAD4}" dt="2024-03-13T23:08:37.784" v="15692" actId="1076"/>
          <ac:spMkLst>
            <pc:docMk/>
            <pc:sldMk cId="4251552819" sldId="2147481466"/>
            <ac:spMk id="12" creationId="{8549B85D-CA52-F907-32AC-2E430788A681}"/>
          </ac:spMkLst>
        </pc:spChg>
        <pc:spChg chg="add mod">
          <ac:chgData name="RUFFET, Malcolm" userId="ef33cb5d-7c5f-44ea-8bd1-71f6d9da9dec" providerId="ADAL" clId="{42A6F1C5-53D2-4848-9E6F-5902AFD5EAD4}" dt="2024-03-13T23:08:37.784" v="15692" actId="1076"/>
          <ac:spMkLst>
            <pc:docMk/>
            <pc:sldMk cId="4251552819" sldId="2147481466"/>
            <ac:spMk id="13" creationId="{7F8D42DD-DB2A-8D67-462E-B666FA327617}"/>
          </ac:spMkLst>
        </pc:spChg>
        <pc:spChg chg="add mod">
          <ac:chgData name="RUFFET, Malcolm" userId="ef33cb5d-7c5f-44ea-8bd1-71f6d9da9dec" providerId="ADAL" clId="{42A6F1C5-53D2-4848-9E6F-5902AFD5EAD4}" dt="2024-03-13T23:16:34.497" v="15997" actId="14100"/>
          <ac:spMkLst>
            <pc:docMk/>
            <pc:sldMk cId="4251552819" sldId="2147481466"/>
            <ac:spMk id="14" creationId="{9DCBF4C1-6745-09C5-A71C-4CD3E62A8E1C}"/>
          </ac:spMkLst>
        </pc:spChg>
        <pc:spChg chg="add mod">
          <ac:chgData name="RUFFET, Malcolm" userId="ef33cb5d-7c5f-44ea-8bd1-71f6d9da9dec" providerId="ADAL" clId="{42A6F1C5-53D2-4848-9E6F-5902AFD5EAD4}" dt="2024-03-13T23:08:37.784" v="15692" actId="1076"/>
          <ac:spMkLst>
            <pc:docMk/>
            <pc:sldMk cId="4251552819" sldId="2147481466"/>
            <ac:spMk id="15" creationId="{C660B7B5-1DEB-A7C2-9D22-BC8FE8A1371C}"/>
          </ac:spMkLst>
        </pc:spChg>
        <pc:spChg chg="add mod">
          <ac:chgData name="RUFFET, Malcolm" userId="ef33cb5d-7c5f-44ea-8bd1-71f6d9da9dec" providerId="ADAL" clId="{42A6F1C5-53D2-4848-9E6F-5902AFD5EAD4}" dt="2024-03-13T23:08:37.784" v="15692" actId="1076"/>
          <ac:spMkLst>
            <pc:docMk/>
            <pc:sldMk cId="4251552819" sldId="2147481466"/>
            <ac:spMk id="16" creationId="{E04367FF-730C-49D3-F6BA-F76D394CE0DA}"/>
          </ac:spMkLst>
        </pc:spChg>
        <pc:spChg chg="add mod">
          <ac:chgData name="RUFFET, Malcolm" userId="ef33cb5d-7c5f-44ea-8bd1-71f6d9da9dec" providerId="ADAL" clId="{42A6F1C5-53D2-4848-9E6F-5902AFD5EAD4}" dt="2024-03-13T23:16:52.540" v="16000" actId="403"/>
          <ac:spMkLst>
            <pc:docMk/>
            <pc:sldMk cId="4251552819" sldId="2147481466"/>
            <ac:spMk id="17" creationId="{C18329A7-BB40-8787-8D59-6BEF56268BAA}"/>
          </ac:spMkLst>
        </pc:spChg>
        <pc:spChg chg="add mod">
          <ac:chgData name="RUFFET, Malcolm" userId="ef33cb5d-7c5f-44ea-8bd1-71f6d9da9dec" providerId="ADAL" clId="{42A6F1C5-53D2-4848-9E6F-5902AFD5EAD4}" dt="2024-03-13T23:16:52.540" v="16000" actId="403"/>
          <ac:spMkLst>
            <pc:docMk/>
            <pc:sldMk cId="4251552819" sldId="2147481466"/>
            <ac:spMk id="18" creationId="{77202A68-BF48-EF92-4467-8B3D0761D406}"/>
          </ac:spMkLst>
        </pc:spChg>
        <pc:spChg chg="add mod">
          <ac:chgData name="RUFFET, Malcolm" userId="ef33cb5d-7c5f-44ea-8bd1-71f6d9da9dec" providerId="ADAL" clId="{42A6F1C5-53D2-4848-9E6F-5902AFD5EAD4}" dt="2024-03-14T15:15:28.382" v="16004" actId="207"/>
          <ac:spMkLst>
            <pc:docMk/>
            <pc:sldMk cId="4251552819" sldId="2147481466"/>
            <ac:spMk id="23" creationId="{EF22DD2C-05F3-E44F-691B-E31F91B75270}"/>
          </ac:spMkLst>
        </pc:spChg>
        <pc:spChg chg="add mod">
          <ac:chgData name="RUFFET, Malcolm" userId="ef33cb5d-7c5f-44ea-8bd1-71f6d9da9dec" providerId="ADAL" clId="{42A6F1C5-53D2-4848-9E6F-5902AFD5EAD4}" dt="2024-03-14T15:15:23.718" v="16003" actId="208"/>
          <ac:spMkLst>
            <pc:docMk/>
            <pc:sldMk cId="4251552819" sldId="2147481466"/>
            <ac:spMk id="24" creationId="{B54EA835-DC7A-59AB-0B43-888353845A86}"/>
          </ac:spMkLst>
        </pc:spChg>
        <pc:spChg chg="add mod">
          <ac:chgData name="RUFFET, Malcolm" userId="ef33cb5d-7c5f-44ea-8bd1-71f6d9da9dec" providerId="ADAL" clId="{42A6F1C5-53D2-4848-9E6F-5902AFD5EAD4}" dt="2024-03-13T23:12:07.653" v="15795" actId="6549"/>
          <ac:spMkLst>
            <pc:docMk/>
            <pc:sldMk cId="4251552819" sldId="2147481466"/>
            <ac:spMk id="25" creationId="{36C2F090-E5D5-805F-9D15-5EE11D9CB644}"/>
          </ac:spMkLst>
        </pc:spChg>
        <pc:spChg chg="add mod">
          <ac:chgData name="RUFFET, Malcolm" userId="ef33cb5d-7c5f-44ea-8bd1-71f6d9da9dec" providerId="ADAL" clId="{42A6F1C5-53D2-4848-9E6F-5902AFD5EAD4}" dt="2024-03-13T23:12:21.358" v="15812" actId="20577"/>
          <ac:spMkLst>
            <pc:docMk/>
            <pc:sldMk cId="4251552819" sldId="2147481466"/>
            <ac:spMk id="26" creationId="{0ACD8736-1A37-E512-783C-8B98123ECC5A}"/>
          </ac:spMkLst>
        </pc:spChg>
        <pc:spChg chg="add mod">
          <ac:chgData name="RUFFET, Malcolm" userId="ef33cb5d-7c5f-44ea-8bd1-71f6d9da9dec" providerId="ADAL" clId="{42A6F1C5-53D2-4848-9E6F-5902AFD5EAD4}" dt="2024-03-13T23:12:38.364" v="15828" actId="20577"/>
          <ac:spMkLst>
            <pc:docMk/>
            <pc:sldMk cId="4251552819" sldId="2147481466"/>
            <ac:spMk id="27" creationId="{5119CA58-8796-6D0B-C5EE-14466F602593}"/>
          </ac:spMkLst>
        </pc:spChg>
        <pc:spChg chg="add mod">
          <ac:chgData name="RUFFET, Malcolm" userId="ef33cb5d-7c5f-44ea-8bd1-71f6d9da9dec" providerId="ADAL" clId="{42A6F1C5-53D2-4848-9E6F-5902AFD5EAD4}" dt="2024-03-13T23:09:55.744" v="15723" actId="571"/>
          <ac:spMkLst>
            <pc:docMk/>
            <pc:sldMk cId="4251552819" sldId="2147481466"/>
            <ac:spMk id="28" creationId="{F5FEBD02-559C-6222-8A18-357457ADA804}"/>
          </ac:spMkLst>
        </pc:spChg>
        <pc:spChg chg="add mod">
          <ac:chgData name="RUFFET, Malcolm" userId="ef33cb5d-7c5f-44ea-8bd1-71f6d9da9dec" providerId="ADAL" clId="{42A6F1C5-53D2-4848-9E6F-5902AFD5EAD4}" dt="2024-03-13T23:12:53.577" v="15836" actId="6549"/>
          <ac:spMkLst>
            <pc:docMk/>
            <pc:sldMk cId="4251552819" sldId="2147481466"/>
            <ac:spMk id="29" creationId="{6E81242D-0E8A-0768-EE36-7A36723E716E}"/>
          </ac:spMkLst>
        </pc:spChg>
        <pc:spChg chg="add mod">
          <ac:chgData name="RUFFET, Malcolm" userId="ef33cb5d-7c5f-44ea-8bd1-71f6d9da9dec" providerId="ADAL" clId="{42A6F1C5-53D2-4848-9E6F-5902AFD5EAD4}" dt="2024-03-13T23:13:34.840" v="15878" actId="20577"/>
          <ac:spMkLst>
            <pc:docMk/>
            <pc:sldMk cId="4251552819" sldId="2147481466"/>
            <ac:spMk id="30" creationId="{ED9BC5B2-9B11-C727-9118-62D214DC5651}"/>
          </ac:spMkLst>
        </pc:spChg>
        <pc:spChg chg="add mod">
          <ac:chgData name="RUFFET, Malcolm" userId="ef33cb5d-7c5f-44ea-8bd1-71f6d9da9dec" providerId="ADAL" clId="{42A6F1C5-53D2-4848-9E6F-5902AFD5EAD4}" dt="2024-03-13T23:14:24.375" v="15892" actId="20577"/>
          <ac:spMkLst>
            <pc:docMk/>
            <pc:sldMk cId="4251552819" sldId="2147481466"/>
            <ac:spMk id="31" creationId="{91C27CED-291C-09CD-A363-02F70A41CBC6}"/>
          </ac:spMkLst>
        </pc:spChg>
        <pc:spChg chg="add mod">
          <ac:chgData name="RUFFET, Malcolm" userId="ef33cb5d-7c5f-44ea-8bd1-71f6d9da9dec" providerId="ADAL" clId="{42A6F1C5-53D2-4848-9E6F-5902AFD5EAD4}" dt="2024-03-13T23:17:40.208" v="16002" actId="14100"/>
          <ac:spMkLst>
            <pc:docMk/>
            <pc:sldMk cId="4251552819" sldId="2147481466"/>
            <ac:spMk id="32" creationId="{4381AC0B-823A-B5E3-F3CE-291FCC44FD5B}"/>
          </ac:spMkLst>
        </pc:spChg>
        <pc:spChg chg="add mod">
          <ac:chgData name="RUFFET, Malcolm" userId="ef33cb5d-7c5f-44ea-8bd1-71f6d9da9dec" providerId="ADAL" clId="{42A6F1C5-53D2-4848-9E6F-5902AFD5EAD4}" dt="2024-03-13T23:16:02.582" v="15966" actId="20577"/>
          <ac:spMkLst>
            <pc:docMk/>
            <pc:sldMk cId="4251552819" sldId="2147481466"/>
            <ac:spMk id="33" creationId="{11182950-3114-C55C-EC4B-4B9A33FE906F}"/>
          </ac:spMkLst>
        </pc:spChg>
        <pc:spChg chg="add mod">
          <ac:chgData name="RUFFET, Malcolm" userId="ef33cb5d-7c5f-44ea-8bd1-71f6d9da9dec" providerId="ADAL" clId="{42A6F1C5-53D2-4848-9E6F-5902AFD5EAD4}" dt="2024-03-13T23:16:16.394" v="15994" actId="20577"/>
          <ac:spMkLst>
            <pc:docMk/>
            <pc:sldMk cId="4251552819" sldId="2147481466"/>
            <ac:spMk id="34" creationId="{17FA8EFD-7058-FBFB-B9FE-D3B81B4F0252}"/>
          </ac:spMkLst>
        </pc:spChg>
        <pc:spChg chg="add del mod">
          <ac:chgData name="RUFFET, Malcolm" userId="ef33cb5d-7c5f-44ea-8bd1-71f6d9da9dec" providerId="ADAL" clId="{42A6F1C5-53D2-4848-9E6F-5902AFD5EAD4}" dt="2024-03-13T23:16:21.981" v="15996" actId="478"/>
          <ac:spMkLst>
            <pc:docMk/>
            <pc:sldMk cId="4251552819" sldId="2147481466"/>
            <ac:spMk id="36" creationId="{3B060154-881A-3744-DFF2-CCD74E6B9111}"/>
          </ac:spMkLst>
        </pc:spChg>
        <pc:cxnChg chg="add mod">
          <ac:chgData name="RUFFET, Malcolm" userId="ef33cb5d-7c5f-44ea-8bd1-71f6d9da9dec" providerId="ADAL" clId="{42A6F1C5-53D2-4848-9E6F-5902AFD5EAD4}" dt="2024-03-13T23:10:01.311" v="15724" actId="1076"/>
          <ac:cxnSpMkLst>
            <pc:docMk/>
            <pc:sldMk cId="4251552819" sldId="2147481466"/>
            <ac:cxnSpMk id="20" creationId="{A4B3B986-A9D4-5E94-4771-63738D26CFBA}"/>
          </ac:cxnSpMkLst>
        </pc:cxnChg>
      </pc:sldChg>
      <pc:sldMasterChg chg="delSldLayout">
        <pc:chgData name="RUFFET, Malcolm" userId="ef33cb5d-7c5f-44ea-8bd1-71f6d9da9dec" providerId="ADAL" clId="{42A6F1C5-53D2-4848-9E6F-5902AFD5EAD4}" dt="2024-02-21T10:07:57.175" v="11785" actId="47"/>
        <pc:sldMasterMkLst>
          <pc:docMk/>
          <pc:sldMasterMk cId="3148905397" sldId="2147483899"/>
        </pc:sldMasterMkLst>
        <pc:sldLayoutChg chg="del">
          <pc:chgData name="RUFFET, Malcolm" userId="ef33cb5d-7c5f-44ea-8bd1-71f6d9da9dec" providerId="ADAL" clId="{42A6F1C5-53D2-4848-9E6F-5902AFD5EAD4}" dt="2024-02-21T10:07:57.175" v="11785" actId="47"/>
          <pc:sldLayoutMkLst>
            <pc:docMk/>
            <pc:sldMasterMk cId="3148905397" sldId="2147483899"/>
            <pc:sldLayoutMk cId="933199566" sldId="2147484259"/>
          </pc:sldLayoutMkLst>
        </pc:sldLayoutChg>
        <pc:sldLayoutChg chg="del">
          <pc:chgData name="RUFFET, Malcolm" userId="ef33cb5d-7c5f-44ea-8bd1-71f6d9da9dec" providerId="ADAL" clId="{42A6F1C5-53D2-4848-9E6F-5902AFD5EAD4}" dt="2024-02-19T08:51:02.406" v="9036" actId="2696"/>
          <pc:sldLayoutMkLst>
            <pc:docMk/>
            <pc:sldMasterMk cId="3148905397" sldId="2147483899"/>
            <pc:sldLayoutMk cId="1562321918" sldId="2147484262"/>
          </pc:sldLayoutMkLst>
        </pc:sldLayoutChg>
      </pc:sldMasterChg>
      <pc:sldMasterChg chg="del delSldLayout">
        <pc:chgData name="RUFFET, Malcolm" userId="ef33cb5d-7c5f-44ea-8bd1-71f6d9da9dec" providerId="ADAL" clId="{42A6F1C5-53D2-4848-9E6F-5902AFD5EAD4}" dt="2024-02-21T15:19:52.699" v="12580" actId="2696"/>
        <pc:sldMasterMkLst>
          <pc:docMk/>
          <pc:sldMasterMk cId="1189454160" sldId="2147484042"/>
        </pc:sldMasterMkLst>
        <pc:sldLayoutChg chg="del">
          <pc:chgData name="RUFFET, Malcolm" userId="ef33cb5d-7c5f-44ea-8bd1-71f6d9da9dec" providerId="ADAL" clId="{42A6F1C5-53D2-4848-9E6F-5902AFD5EAD4}" dt="2024-02-21T15:19:52.699" v="12580" actId="2696"/>
          <pc:sldLayoutMkLst>
            <pc:docMk/>
            <pc:sldMasterMk cId="1189454160" sldId="2147484042"/>
            <pc:sldLayoutMk cId="193467446" sldId="2147484043"/>
          </pc:sldLayoutMkLst>
        </pc:sldLayoutChg>
        <pc:sldLayoutChg chg="del">
          <pc:chgData name="RUFFET, Malcolm" userId="ef33cb5d-7c5f-44ea-8bd1-71f6d9da9dec" providerId="ADAL" clId="{42A6F1C5-53D2-4848-9E6F-5902AFD5EAD4}" dt="2024-02-21T15:19:52.699" v="12580" actId="2696"/>
          <pc:sldLayoutMkLst>
            <pc:docMk/>
            <pc:sldMasterMk cId="1189454160" sldId="2147484042"/>
            <pc:sldLayoutMk cId="591815915" sldId="2147484044"/>
          </pc:sldLayoutMkLst>
        </pc:sldLayoutChg>
        <pc:sldLayoutChg chg="del">
          <pc:chgData name="RUFFET, Malcolm" userId="ef33cb5d-7c5f-44ea-8bd1-71f6d9da9dec" providerId="ADAL" clId="{42A6F1C5-53D2-4848-9E6F-5902AFD5EAD4}" dt="2024-02-21T15:19:52.699" v="12580" actId="2696"/>
          <pc:sldLayoutMkLst>
            <pc:docMk/>
            <pc:sldMasterMk cId="1189454160" sldId="2147484042"/>
            <pc:sldLayoutMk cId="2979328974" sldId="2147484045"/>
          </pc:sldLayoutMkLst>
        </pc:sldLayoutChg>
        <pc:sldLayoutChg chg="del">
          <pc:chgData name="RUFFET, Malcolm" userId="ef33cb5d-7c5f-44ea-8bd1-71f6d9da9dec" providerId="ADAL" clId="{42A6F1C5-53D2-4848-9E6F-5902AFD5EAD4}" dt="2024-02-21T15:19:52.699" v="12580" actId="2696"/>
          <pc:sldLayoutMkLst>
            <pc:docMk/>
            <pc:sldMasterMk cId="1189454160" sldId="2147484042"/>
            <pc:sldLayoutMk cId="534752668" sldId="2147484046"/>
          </pc:sldLayoutMkLst>
        </pc:sldLayoutChg>
        <pc:sldLayoutChg chg="del">
          <pc:chgData name="RUFFET, Malcolm" userId="ef33cb5d-7c5f-44ea-8bd1-71f6d9da9dec" providerId="ADAL" clId="{42A6F1C5-53D2-4848-9E6F-5902AFD5EAD4}" dt="2024-02-21T15:19:52.699" v="12580" actId="2696"/>
          <pc:sldLayoutMkLst>
            <pc:docMk/>
            <pc:sldMasterMk cId="1189454160" sldId="2147484042"/>
            <pc:sldLayoutMk cId="3780430084" sldId="2147484047"/>
          </pc:sldLayoutMkLst>
        </pc:sldLayoutChg>
        <pc:sldLayoutChg chg="del">
          <pc:chgData name="RUFFET, Malcolm" userId="ef33cb5d-7c5f-44ea-8bd1-71f6d9da9dec" providerId="ADAL" clId="{42A6F1C5-53D2-4848-9E6F-5902AFD5EAD4}" dt="2024-02-21T15:19:52.699" v="12580" actId="2696"/>
          <pc:sldLayoutMkLst>
            <pc:docMk/>
            <pc:sldMasterMk cId="1189454160" sldId="2147484042"/>
            <pc:sldLayoutMk cId="826700834" sldId="2147484048"/>
          </pc:sldLayoutMkLst>
        </pc:sldLayoutChg>
        <pc:sldLayoutChg chg="del">
          <pc:chgData name="RUFFET, Malcolm" userId="ef33cb5d-7c5f-44ea-8bd1-71f6d9da9dec" providerId="ADAL" clId="{42A6F1C5-53D2-4848-9E6F-5902AFD5EAD4}" dt="2024-02-21T15:19:52.699" v="12580" actId="2696"/>
          <pc:sldLayoutMkLst>
            <pc:docMk/>
            <pc:sldMasterMk cId="1189454160" sldId="2147484042"/>
            <pc:sldLayoutMk cId="2533814372" sldId="2147484049"/>
          </pc:sldLayoutMkLst>
        </pc:sldLayoutChg>
        <pc:sldLayoutChg chg="del">
          <pc:chgData name="RUFFET, Malcolm" userId="ef33cb5d-7c5f-44ea-8bd1-71f6d9da9dec" providerId="ADAL" clId="{42A6F1C5-53D2-4848-9E6F-5902AFD5EAD4}" dt="2024-02-01T16:04:52.905" v="34" actId="47"/>
          <pc:sldLayoutMkLst>
            <pc:docMk/>
            <pc:sldMasterMk cId="1189454160" sldId="2147484042"/>
            <pc:sldLayoutMk cId="4081657560" sldId="2147484050"/>
          </pc:sldLayoutMkLst>
        </pc:sldLayoutChg>
        <pc:sldLayoutChg chg="del">
          <pc:chgData name="RUFFET, Malcolm" userId="ef33cb5d-7c5f-44ea-8bd1-71f6d9da9dec" providerId="ADAL" clId="{42A6F1C5-53D2-4848-9E6F-5902AFD5EAD4}" dt="2024-02-21T15:19:52.699" v="12580" actId="2696"/>
          <pc:sldLayoutMkLst>
            <pc:docMk/>
            <pc:sldMasterMk cId="1189454160" sldId="2147484042"/>
            <pc:sldLayoutMk cId="3458272138" sldId="2147484052"/>
          </pc:sldLayoutMkLst>
        </pc:sldLayoutChg>
        <pc:sldLayoutChg chg="del">
          <pc:chgData name="RUFFET, Malcolm" userId="ef33cb5d-7c5f-44ea-8bd1-71f6d9da9dec" providerId="ADAL" clId="{42A6F1C5-53D2-4848-9E6F-5902AFD5EAD4}" dt="2024-02-21T15:19:52.699" v="12580" actId="2696"/>
          <pc:sldLayoutMkLst>
            <pc:docMk/>
            <pc:sldMasterMk cId="1189454160" sldId="2147484042"/>
            <pc:sldLayoutMk cId="2468220293" sldId="2147484053"/>
          </pc:sldLayoutMkLst>
        </pc:sldLayoutChg>
        <pc:sldLayoutChg chg="del">
          <pc:chgData name="RUFFET, Malcolm" userId="ef33cb5d-7c5f-44ea-8bd1-71f6d9da9dec" providerId="ADAL" clId="{42A6F1C5-53D2-4848-9E6F-5902AFD5EAD4}" dt="2024-02-21T15:19:52.699" v="12580" actId="2696"/>
          <pc:sldLayoutMkLst>
            <pc:docMk/>
            <pc:sldMasterMk cId="1189454160" sldId="2147484042"/>
            <pc:sldLayoutMk cId="2098683150" sldId="2147484054"/>
          </pc:sldLayoutMkLst>
        </pc:sldLayoutChg>
        <pc:sldLayoutChg chg="del">
          <pc:chgData name="RUFFET, Malcolm" userId="ef33cb5d-7c5f-44ea-8bd1-71f6d9da9dec" providerId="ADAL" clId="{42A6F1C5-53D2-4848-9E6F-5902AFD5EAD4}" dt="2024-02-21T15:19:52.699" v="12580" actId="2696"/>
          <pc:sldLayoutMkLst>
            <pc:docMk/>
            <pc:sldMasterMk cId="1189454160" sldId="2147484042"/>
            <pc:sldLayoutMk cId="2126152932" sldId="2147484055"/>
          </pc:sldLayoutMkLst>
        </pc:sldLayoutChg>
        <pc:sldLayoutChg chg="del">
          <pc:chgData name="RUFFET, Malcolm" userId="ef33cb5d-7c5f-44ea-8bd1-71f6d9da9dec" providerId="ADAL" clId="{42A6F1C5-53D2-4848-9E6F-5902AFD5EAD4}" dt="2024-02-21T15:19:52.699" v="12580" actId="2696"/>
          <pc:sldLayoutMkLst>
            <pc:docMk/>
            <pc:sldMasterMk cId="1189454160" sldId="2147484042"/>
            <pc:sldLayoutMk cId="1013218165" sldId="2147484056"/>
          </pc:sldLayoutMkLst>
        </pc:sldLayoutChg>
        <pc:sldLayoutChg chg="del">
          <pc:chgData name="RUFFET, Malcolm" userId="ef33cb5d-7c5f-44ea-8bd1-71f6d9da9dec" providerId="ADAL" clId="{42A6F1C5-53D2-4848-9E6F-5902AFD5EAD4}" dt="2024-02-21T15:19:52.699" v="12580" actId="2696"/>
          <pc:sldLayoutMkLst>
            <pc:docMk/>
            <pc:sldMasterMk cId="1189454160" sldId="2147484042"/>
            <pc:sldLayoutMk cId="1063319819" sldId="2147484057"/>
          </pc:sldLayoutMkLst>
        </pc:sldLayoutChg>
        <pc:sldLayoutChg chg="del">
          <pc:chgData name="RUFFET, Malcolm" userId="ef33cb5d-7c5f-44ea-8bd1-71f6d9da9dec" providerId="ADAL" clId="{42A6F1C5-53D2-4848-9E6F-5902AFD5EAD4}" dt="2024-02-01T16:04:52.737" v="33" actId="47"/>
          <pc:sldLayoutMkLst>
            <pc:docMk/>
            <pc:sldMasterMk cId="1189454160" sldId="2147484042"/>
            <pc:sldLayoutMk cId="2577708912" sldId="2147484084"/>
          </pc:sldLayoutMkLst>
        </pc:sldLayoutChg>
      </pc:sldMasterChg>
      <pc:sldMasterChg chg="delSldLayout">
        <pc:chgData name="RUFFET, Malcolm" userId="ef33cb5d-7c5f-44ea-8bd1-71f6d9da9dec" providerId="ADAL" clId="{42A6F1C5-53D2-4848-9E6F-5902AFD5EAD4}" dt="2024-02-01T16:05:05.872" v="44" actId="18676"/>
        <pc:sldMasterMkLst>
          <pc:docMk/>
          <pc:sldMasterMk cId="4109235644" sldId="2147484088"/>
        </pc:sldMasterMkLst>
        <pc:sldLayoutChg chg="del">
          <pc:chgData name="RUFFET, Malcolm" userId="ef33cb5d-7c5f-44ea-8bd1-71f6d9da9dec" providerId="ADAL" clId="{42A6F1C5-53D2-4848-9E6F-5902AFD5EAD4}" dt="2024-02-01T16:05:05.872" v="44" actId="18676"/>
          <pc:sldLayoutMkLst>
            <pc:docMk/>
            <pc:sldMasterMk cId="4109235644" sldId="2147484088"/>
            <pc:sldLayoutMk cId="3114801634" sldId="2147484103"/>
          </pc:sldLayoutMkLst>
        </pc:sldLayoutChg>
        <pc:sldLayoutChg chg="del">
          <pc:chgData name="RUFFET, Malcolm" userId="ef33cb5d-7c5f-44ea-8bd1-71f6d9da9dec" providerId="ADAL" clId="{42A6F1C5-53D2-4848-9E6F-5902AFD5EAD4}" dt="2024-02-01T16:05:05.872" v="44" actId="18676"/>
          <pc:sldLayoutMkLst>
            <pc:docMk/>
            <pc:sldMasterMk cId="4109235644" sldId="2147484088"/>
            <pc:sldLayoutMk cId="1345979354" sldId="2147484110"/>
          </pc:sldLayoutMkLst>
        </pc:sldLayoutChg>
      </pc:sldMasterChg>
      <pc:sldMasterChg chg="del delSldLayout">
        <pc:chgData name="RUFFET, Malcolm" userId="ef33cb5d-7c5f-44ea-8bd1-71f6d9da9dec" providerId="ADAL" clId="{42A6F1C5-53D2-4848-9E6F-5902AFD5EAD4}" dt="2024-02-01T16:05:05.872" v="44" actId="18676"/>
        <pc:sldMasterMkLst>
          <pc:docMk/>
          <pc:sldMasterMk cId="2991649028" sldId="2147484112"/>
        </pc:sldMasterMkLst>
        <pc:sldLayoutChg chg="del">
          <pc:chgData name="RUFFET, Malcolm" userId="ef33cb5d-7c5f-44ea-8bd1-71f6d9da9dec" providerId="ADAL" clId="{42A6F1C5-53D2-4848-9E6F-5902AFD5EAD4}" dt="2024-02-01T16:05:05.872" v="44" actId="18676"/>
          <pc:sldLayoutMkLst>
            <pc:docMk/>
            <pc:sldMasterMk cId="2991649028" sldId="2147484112"/>
            <pc:sldLayoutMk cId="3399699377" sldId="2147484113"/>
          </pc:sldLayoutMkLst>
        </pc:sldLayoutChg>
        <pc:sldLayoutChg chg="del">
          <pc:chgData name="RUFFET, Malcolm" userId="ef33cb5d-7c5f-44ea-8bd1-71f6d9da9dec" providerId="ADAL" clId="{42A6F1C5-53D2-4848-9E6F-5902AFD5EAD4}" dt="2024-02-01T16:05:05.872" v="44" actId="18676"/>
          <pc:sldLayoutMkLst>
            <pc:docMk/>
            <pc:sldMasterMk cId="2991649028" sldId="2147484112"/>
            <pc:sldLayoutMk cId="120116753" sldId="2147484114"/>
          </pc:sldLayoutMkLst>
        </pc:sldLayoutChg>
        <pc:sldLayoutChg chg="del">
          <pc:chgData name="RUFFET, Malcolm" userId="ef33cb5d-7c5f-44ea-8bd1-71f6d9da9dec" providerId="ADAL" clId="{42A6F1C5-53D2-4848-9E6F-5902AFD5EAD4}" dt="2024-02-01T16:05:05.872" v="44" actId="18676"/>
          <pc:sldLayoutMkLst>
            <pc:docMk/>
            <pc:sldMasterMk cId="2991649028" sldId="2147484112"/>
            <pc:sldLayoutMk cId="3864345372" sldId="2147484115"/>
          </pc:sldLayoutMkLst>
        </pc:sldLayoutChg>
        <pc:sldLayoutChg chg="del">
          <pc:chgData name="RUFFET, Malcolm" userId="ef33cb5d-7c5f-44ea-8bd1-71f6d9da9dec" providerId="ADAL" clId="{42A6F1C5-53D2-4848-9E6F-5902AFD5EAD4}" dt="2024-02-01T16:05:05.872" v="44" actId="18676"/>
          <pc:sldLayoutMkLst>
            <pc:docMk/>
            <pc:sldMasterMk cId="2991649028" sldId="2147484112"/>
            <pc:sldLayoutMk cId="3184379471" sldId="2147484116"/>
          </pc:sldLayoutMkLst>
        </pc:sldLayoutChg>
        <pc:sldLayoutChg chg="del">
          <pc:chgData name="RUFFET, Malcolm" userId="ef33cb5d-7c5f-44ea-8bd1-71f6d9da9dec" providerId="ADAL" clId="{42A6F1C5-53D2-4848-9E6F-5902AFD5EAD4}" dt="2024-02-01T16:05:05.872" v="44" actId="18676"/>
          <pc:sldLayoutMkLst>
            <pc:docMk/>
            <pc:sldMasterMk cId="2991649028" sldId="2147484112"/>
            <pc:sldLayoutMk cId="1522835768" sldId="2147484117"/>
          </pc:sldLayoutMkLst>
        </pc:sldLayoutChg>
        <pc:sldLayoutChg chg="del">
          <pc:chgData name="RUFFET, Malcolm" userId="ef33cb5d-7c5f-44ea-8bd1-71f6d9da9dec" providerId="ADAL" clId="{42A6F1C5-53D2-4848-9E6F-5902AFD5EAD4}" dt="2024-02-01T16:05:05.872" v="44" actId="18676"/>
          <pc:sldLayoutMkLst>
            <pc:docMk/>
            <pc:sldMasterMk cId="2991649028" sldId="2147484112"/>
            <pc:sldLayoutMk cId="2134791663" sldId="2147484118"/>
          </pc:sldLayoutMkLst>
        </pc:sldLayoutChg>
        <pc:sldLayoutChg chg="del">
          <pc:chgData name="RUFFET, Malcolm" userId="ef33cb5d-7c5f-44ea-8bd1-71f6d9da9dec" providerId="ADAL" clId="{42A6F1C5-53D2-4848-9E6F-5902AFD5EAD4}" dt="2024-02-01T16:05:05.872" v="44" actId="18676"/>
          <pc:sldLayoutMkLst>
            <pc:docMk/>
            <pc:sldMasterMk cId="2991649028" sldId="2147484112"/>
            <pc:sldLayoutMk cId="272499827" sldId="2147484119"/>
          </pc:sldLayoutMkLst>
        </pc:sldLayoutChg>
        <pc:sldLayoutChg chg="del">
          <pc:chgData name="RUFFET, Malcolm" userId="ef33cb5d-7c5f-44ea-8bd1-71f6d9da9dec" providerId="ADAL" clId="{42A6F1C5-53D2-4848-9E6F-5902AFD5EAD4}" dt="2024-02-01T16:05:05.872" v="44" actId="18676"/>
          <pc:sldLayoutMkLst>
            <pc:docMk/>
            <pc:sldMasterMk cId="2991649028" sldId="2147484112"/>
            <pc:sldLayoutMk cId="1581589926" sldId="2147484120"/>
          </pc:sldLayoutMkLst>
        </pc:sldLayoutChg>
        <pc:sldLayoutChg chg="del">
          <pc:chgData name="RUFFET, Malcolm" userId="ef33cb5d-7c5f-44ea-8bd1-71f6d9da9dec" providerId="ADAL" clId="{42A6F1C5-53D2-4848-9E6F-5902AFD5EAD4}" dt="2024-02-01T16:05:05.872" v="44" actId="18676"/>
          <pc:sldLayoutMkLst>
            <pc:docMk/>
            <pc:sldMasterMk cId="2991649028" sldId="2147484112"/>
            <pc:sldLayoutMk cId="2039502963" sldId="2147484121"/>
          </pc:sldLayoutMkLst>
        </pc:sldLayoutChg>
        <pc:sldLayoutChg chg="del">
          <pc:chgData name="RUFFET, Malcolm" userId="ef33cb5d-7c5f-44ea-8bd1-71f6d9da9dec" providerId="ADAL" clId="{42A6F1C5-53D2-4848-9E6F-5902AFD5EAD4}" dt="2024-02-01T16:05:05.872" v="44" actId="18676"/>
          <pc:sldLayoutMkLst>
            <pc:docMk/>
            <pc:sldMasterMk cId="2991649028" sldId="2147484112"/>
            <pc:sldLayoutMk cId="1703134142" sldId="2147484122"/>
          </pc:sldLayoutMkLst>
        </pc:sldLayoutChg>
        <pc:sldLayoutChg chg="del">
          <pc:chgData name="RUFFET, Malcolm" userId="ef33cb5d-7c5f-44ea-8bd1-71f6d9da9dec" providerId="ADAL" clId="{42A6F1C5-53D2-4848-9E6F-5902AFD5EAD4}" dt="2024-02-01T16:05:05.872" v="44" actId="18676"/>
          <pc:sldLayoutMkLst>
            <pc:docMk/>
            <pc:sldMasterMk cId="2991649028" sldId="2147484112"/>
            <pc:sldLayoutMk cId="1395918430" sldId="2147484123"/>
          </pc:sldLayoutMkLst>
        </pc:sldLayoutChg>
        <pc:sldLayoutChg chg="del">
          <pc:chgData name="RUFFET, Malcolm" userId="ef33cb5d-7c5f-44ea-8bd1-71f6d9da9dec" providerId="ADAL" clId="{42A6F1C5-53D2-4848-9E6F-5902AFD5EAD4}" dt="2024-02-01T16:05:05.872" v="44" actId="18676"/>
          <pc:sldLayoutMkLst>
            <pc:docMk/>
            <pc:sldMasterMk cId="2991649028" sldId="2147484112"/>
            <pc:sldLayoutMk cId="3531395205" sldId="2147484124"/>
          </pc:sldLayoutMkLst>
        </pc:sldLayoutChg>
        <pc:sldLayoutChg chg="del">
          <pc:chgData name="RUFFET, Malcolm" userId="ef33cb5d-7c5f-44ea-8bd1-71f6d9da9dec" providerId="ADAL" clId="{42A6F1C5-53D2-4848-9E6F-5902AFD5EAD4}" dt="2024-02-01T16:05:05.872" v="44" actId="18676"/>
          <pc:sldLayoutMkLst>
            <pc:docMk/>
            <pc:sldMasterMk cId="2991649028" sldId="2147484112"/>
            <pc:sldLayoutMk cId="170685114" sldId="2147484125"/>
          </pc:sldLayoutMkLst>
        </pc:sldLayoutChg>
        <pc:sldLayoutChg chg="del">
          <pc:chgData name="RUFFET, Malcolm" userId="ef33cb5d-7c5f-44ea-8bd1-71f6d9da9dec" providerId="ADAL" clId="{42A6F1C5-53D2-4848-9E6F-5902AFD5EAD4}" dt="2024-02-01T16:05:05.872" v="44" actId="18676"/>
          <pc:sldLayoutMkLst>
            <pc:docMk/>
            <pc:sldMasterMk cId="2991649028" sldId="2147484112"/>
            <pc:sldLayoutMk cId="1454937680" sldId="2147484126"/>
          </pc:sldLayoutMkLst>
        </pc:sldLayoutChg>
        <pc:sldLayoutChg chg="del">
          <pc:chgData name="RUFFET, Malcolm" userId="ef33cb5d-7c5f-44ea-8bd1-71f6d9da9dec" providerId="ADAL" clId="{42A6F1C5-53D2-4848-9E6F-5902AFD5EAD4}" dt="2024-02-01T16:05:05.872" v="44" actId="18676"/>
          <pc:sldLayoutMkLst>
            <pc:docMk/>
            <pc:sldMasterMk cId="2991649028" sldId="2147484112"/>
            <pc:sldLayoutMk cId="3197447" sldId="2147484127"/>
          </pc:sldLayoutMkLst>
        </pc:sldLayoutChg>
        <pc:sldLayoutChg chg="del">
          <pc:chgData name="RUFFET, Malcolm" userId="ef33cb5d-7c5f-44ea-8bd1-71f6d9da9dec" providerId="ADAL" clId="{42A6F1C5-53D2-4848-9E6F-5902AFD5EAD4}" dt="2024-02-01T16:05:05.872" v="44" actId="18676"/>
          <pc:sldLayoutMkLst>
            <pc:docMk/>
            <pc:sldMasterMk cId="2991649028" sldId="2147484112"/>
            <pc:sldLayoutMk cId="1360403451" sldId="2147484128"/>
          </pc:sldLayoutMkLst>
        </pc:sldLayoutChg>
        <pc:sldLayoutChg chg="del">
          <pc:chgData name="RUFFET, Malcolm" userId="ef33cb5d-7c5f-44ea-8bd1-71f6d9da9dec" providerId="ADAL" clId="{42A6F1C5-53D2-4848-9E6F-5902AFD5EAD4}" dt="2024-02-01T16:05:05.872" v="44" actId="18676"/>
          <pc:sldLayoutMkLst>
            <pc:docMk/>
            <pc:sldMasterMk cId="2991649028" sldId="2147484112"/>
            <pc:sldLayoutMk cId="1940876152" sldId="2147484129"/>
          </pc:sldLayoutMkLst>
        </pc:sldLayoutChg>
      </pc:sldMasterChg>
      <pc:sldMasterChg chg="del delSldLayout">
        <pc:chgData name="RUFFET, Malcolm" userId="ef33cb5d-7c5f-44ea-8bd1-71f6d9da9dec" providerId="ADAL" clId="{42A6F1C5-53D2-4848-9E6F-5902AFD5EAD4}" dt="2024-02-01T16:05:01.539" v="43" actId="18676"/>
        <pc:sldMasterMkLst>
          <pc:docMk/>
          <pc:sldMasterMk cId="2037995995" sldId="2147484130"/>
        </pc:sldMasterMkLst>
        <pc:sldLayoutChg chg="del">
          <pc:chgData name="RUFFET, Malcolm" userId="ef33cb5d-7c5f-44ea-8bd1-71f6d9da9dec" providerId="ADAL" clId="{42A6F1C5-53D2-4848-9E6F-5902AFD5EAD4}" dt="2024-02-01T16:05:01.539" v="43" actId="18676"/>
          <pc:sldLayoutMkLst>
            <pc:docMk/>
            <pc:sldMasterMk cId="2037995995" sldId="2147484130"/>
            <pc:sldLayoutMk cId="2094235789" sldId="2147484131"/>
          </pc:sldLayoutMkLst>
        </pc:sldLayoutChg>
        <pc:sldLayoutChg chg="del">
          <pc:chgData name="RUFFET, Malcolm" userId="ef33cb5d-7c5f-44ea-8bd1-71f6d9da9dec" providerId="ADAL" clId="{42A6F1C5-53D2-4848-9E6F-5902AFD5EAD4}" dt="2024-02-01T16:05:01.539" v="43" actId="18676"/>
          <pc:sldLayoutMkLst>
            <pc:docMk/>
            <pc:sldMasterMk cId="2037995995" sldId="2147484130"/>
            <pc:sldLayoutMk cId="273087357" sldId="2147484132"/>
          </pc:sldLayoutMkLst>
        </pc:sldLayoutChg>
        <pc:sldLayoutChg chg="del">
          <pc:chgData name="RUFFET, Malcolm" userId="ef33cb5d-7c5f-44ea-8bd1-71f6d9da9dec" providerId="ADAL" clId="{42A6F1C5-53D2-4848-9E6F-5902AFD5EAD4}" dt="2024-02-01T16:05:01.539" v="43" actId="18676"/>
          <pc:sldLayoutMkLst>
            <pc:docMk/>
            <pc:sldMasterMk cId="2037995995" sldId="2147484130"/>
            <pc:sldLayoutMk cId="2737707288" sldId="2147484133"/>
          </pc:sldLayoutMkLst>
        </pc:sldLayoutChg>
        <pc:sldLayoutChg chg="del">
          <pc:chgData name="RUFFET, Malcolm" userId="ef33cb5d-7c5f-44ea-8bd1-71f6d9da9dec" providerId="ADAL" clId="{42A6F1C5-53D2-4848-9E6F-5902AFD5EAD4}" dt="2024-02-01T16:05:01.539" v="43" actId="18676"/>
          <pc:sldLayoutMkLst>
            <pc:docMk/>
            <pc:sldMasterMk cId="2037995995" sldId="2147484130"/>
            <pc:sldLayoutMk cId="3650672067" sldId="2147484134"/>
          </pc:sldLayoutMkLst>
        </pc:sldLayoutChg>
        <pc:sldLayoutChg chg="del">
          <pc:chgData name="RUFFET, Malcolm" userId="ef33cb5d-7c5f-44ea-8bd1-71f6d9da9dec" providerId="ADAL" clId="{42A6F1C5-53D2-4848-9E6F-5902AFD5EAD4}" dt="2024-02-01T16:05:01.539" v="43" actId="18676"/>
          <pc:sldLayoutMkLst>
            <pc:docMk/>
            <pc:sldMasterMk cId="2037995995" sldId="2147484130"/>
            <pc:sldLayoutMk cId="2483717819" sldId="2147484135"/>
          </pc:sldLayoutMkLst>
        </pc:sldLayoutChg>
        <pc:sldLayoutChg chg="del">
          <pc:chgData name="RUFFET, Malcolm" userId="ef33cb5d-7c5f-44ea-8bd1-71f6d9da9dec" providerId="ADAL" clId="{42A6F1C5-53D2-4848-9E6F-5902AFD5EAD4}" dt="2024-02-01T16:05:01.539" v="43" actId="18676"/>
          <pc:sldLayoutMkLst>
            <pc:docMk/>
            <pc:sldMasterMk cId="2037995995" sldId="2147484130"/>
            <pc:sldLayoutMk cId="3710522748" sldId="2147484136"/>
          </pc:sldLayoutMkLst>
        </pc:sldLayoutChg>
        <pc:sldLayoutChg chg="del">
          <pc:chgData name="RUFFET, Malcolm" userId="ef33cb5d-7c5f-44ea-8bd1-71f6d9da9dec" providerId="ADAL" clId="{42A6F1C5-53D2-4848-9E6F-5902AFD5EAD4}" dt="2024-02-01T16:05:01.539" v="43" actId="18676"/>
          <pc:sldLayoutMkLst>
            <pc:docMk/>
            <pc:sldMasterMk cId="2037995995" sldId="2147484130"/>
            <pc:sldLayoutMk cId="3238353252" sldId="2147484137"/>
          </pc:sldLayoutMkLst>
        </pc:sldLayoutChg>
        <pc:sldLayoutChg chg="del">
          <pc:chgData name="RUFFET, Malcolm" userId="ef33cb5d-7c5f-44ea-8bd1-71f6d9da9dec" providerId="ADAL" clId="{42A6F1C5-53D2-4848-9E6F-5902AFD5EAD4}" dt="2024-02-01T16:05:01.539" v="43" actId="18676"/>
          <pc:sldLayoutMkLst>
            <pc:docMk/>
            <pc:sldMasterMk cId="2037995995" sldId="2147484130"/>
            <pc:sldLayoutMk cId="3485949641" sldId="2147484138"/>
          </pc:sldLayoutMkLst>
        </pc:sldLayoutChg>
        <pc:sldLayoutChg chg="del">
          <pc:chgData name="RUFFET, Malcolm" userId="ef33cb5d-7c5f-44ea-8bd1-71f6d9da9dec" providerId="ADAL" clId="{42A6F1C5-53D2-4848-9E6F-5902AFD5EAD4}" dt="2024-02-01T16:05:01.539" v="43" actId="18676"/>
          <pc:sldLayoutMkLst>
            <pc:docMk/>
            <pc:sldMasterMk cId="2037995995" sldId="2147484130"/>
            <pc:sldLayoutMk cId="3545069611" sldId="2147484139"/>
          </pc:sldLayoutMkLst>
        </pc:sldLayoutChg>
        <pc:sldLayoutChg chg="del">
          <pc:chgData name="RUFFET, Malcolm" userId="ef33cb5d-7c5f-44ea-8bd1-71f6d9da9dec" providerId="ADAL" clId="{42A6F1C5-53D2-4848-9E6F-5902AFD5EAD4}" dt="2024-02-01T16:05:01.539" v="43" actId="18676"/>
          <pc:sldLayoutMkLst>
            <pc:docMk/>
            <pc:sldMasterMk cId="2037995995" sldId="2147484130"/>
            <pc:sldLayoutMk cId="379252619" sldId="2147484140"/>
          </pc:sldLayoutMkLst>
        </pc:sldLayoutChg>
        <pc:sldLayoutChg chg="del">
          <pc:chgData name="RUFFET, Malcolm" userId="ef33cb5d-7c5f-44ea-8bd1-71f6d9da9dec" providerId="ADAL" clId="{42A6F1C5-53D2-4848-9E6F-5902AFD5EAD4}" dt="2024-02-01T16:05:01.539" v="43" actId="18676"/>
          <pc:sldLayoutMkLst>
            <pc:docMk/>
            <pc:sldMasterMk cId="2037995995" sldId="2147484130"/>
            <pc:sldLayoutMk cId="738450555" sldId="2147484141"/>
          </pc:sldLayoutMkLst>
        </pc:sldLayoutChg>
      </pc:sldMasterChg>
      <pc:sldMasterChg chg="del delSldLayout">
        <pc:chgData name="RUFFET, Malcolm" userId="ef33cb5d-7c5f-44ea-8bd1-71f6d9da9dec" providerId="ADAL" clId="{42A6F1C5-53D2-4848-9E6F-5902AFD5EAD4}" dt="2024-02-01T16:05:01.539" v="43" actId="18676"/>
        <pc:sldMasterMkLst>
          <pc:docMk/>
          <pc:sldMasterMk cId="3589912358" sldId="2147484259"/>
        </pc:sldMasterMkLst>
        <pc:sldLayoutChg chg="del">
          <pc:chgData name="RUFFET, Malcolm" userId="ef33cb5d-7c5f-44ea-8bd1-71f6d9da9dec" providerId="ADAL" clId="{42A6F1C5-53D2-4848-9E6F-5902AFD5EAD4}" dt="2024-02-01T16:05:01.539" v="43" actId="18676"/>
          <pc:sldLayoutMkLst>
            <pc:docMk/>
            <pc:sldMasterMk cId="3589912358" sldId="2147484259"/>
            <pc:sldLayoutMk cId="555201508" sldId="2147484260"/>
          </pc:sldLayoutMkLst>
        </pc:sldLayoutChg>
        <pc:sldLayoutChg chg="del">
          <pc:chgData name="RUFFET, Malcolm" userId="ef33cb5d-7c5f-44ea-8bd1-71f6d9da9dec" providerId="ADAL" clId="{42A6F1C5-53D2-4848-9E6F-5902AFD5EAD4}" dt="2024-02-01T16:05:01.539" v="43" actId="18676"/>
          <pc:sldLayoutMkLst>
            <pc:docMk/>
            <pc:sldMasterMk cId="3589912358" sldId="2147484259"/>
            <pc:sldLayoutMk cId="3268152487" sldId="2147484262"/>
          </pc:sldLayoutMkLst>
        </pc:sldLayoutChg>
        <pc:sldLayoutChg chg="del">
          <pc:chgData name="RUFFET, Malcolm" userId="ef33cb5d-7c5f-44ea-8bd1-71f6d9da9dec" providerId="ADAL" clId="{42A6F1C5-53D2-4848-9E6F-5902AFD5EAD4}" dt="2024-02-01T16:05:01.539" v="43" actId="18676"/>
          <pc:sldLayoutMkLst>
            <pc:docMk/>
            <pc:sldMasterMk cId="3589912358" sldId="2147484259"/>
            <pc:sldLayoutMk cId="2501117478" sldId="2147484263"/>
          </pc:sldLayoutMkLst>
        </pc:sldLayoutChg>
        <pc:sldLayoutChg chg="del">
          <pc:chgData name="RUFFET, Malcolm" userId="ef33cb5d-7c5f-44ea-8bd1-71f6d9da9dec" providerId="ADAL" clId="{42A6F1C5-53D2-4848-9E6F-5902AFD5EAD4}" dt="2024-02-01T16:05:01.539" v="43" actId="18676"/>
          <pc:sldLayoutMkLst>
            <pc:docMk/>
            <pc:sldMasterMk cId="3589912358" sldId="2147484259"/>
            <pc:sldLayoutMk cId="1887342721" sldId="2147484264"/>
          </pc:sldLayoutMkLst>
        </pc:sldLayoutChg>
        <pc:sldLayoutChg chg="del">
          <pc:chgData name="RUFFET, Malcolm" userId="ef33cb5d-7c5f-44ea-8bd1-71f6d9da9dec" providerId="ADAL" clId="{42A6F1C5-53D2-4848-9E6F-5902AFD5EAD4}" dt="2024-02-01T16:05:01.539" v="43" actId="18676"/>
          <pc:sldLayoutMkLst>
            <pc:docMk/>
            <pc:sldMasterMk cId="3589912358" sldId="2147484259"/>
            <pc:sldLayoutMk cId="3896161833" sldId="2147484265"/>
          </pc:sldLayoutMkLst>
        </pc:sldLayoutChg>
        <pc:sldLayoutChg chg="del">
          <pc:chgData name="RUFFET, Malcolm" userId="ef33cb5d-7c5f-44ea-8bd1-71f6d9da9dec" providerId="ADAL" clId="{42A6F1C5-53D2-4848-9E6F-5902AFD5EAD4}" dt="2024-02-01T16:05:01.539" v="43" actId="18676"/>
          <pc:sldLayoutMkLst>
            <pc:docMk/>
            <pc:sldMasterMk cId="3589912358" sldId="2147484259"/>
            <pc:sldLayoutMk cId="1289398640" sldId="2147484266"/>
          </pc:sldLayoutMkLst>
        </pc:sldLayoutChg>
        <pc:sldLayoutChg chg="del">
          <pc:chgData name="RUFFET, Malcolm" userId="ef33cb5d-7c5f-44ea-8bd1-71f6d9da9dec" providerId="ADAL" clId="{42A6F1C5-53D2-4848-9E6F-5902AFD5EAD4}" dt="2024-02-01T16:05:01.539" v="43" actId="18676"/>
          <pc:sldLayoutMkLst>
            <pc:docMk/>
            <pc:sldMasterMk cId="3589912358" sldId="2147484259"/>
            <pc:sldLayoutMk cId="3975390353" sldId="2147484267"/>
          </pc:sldLayoutMkLst>
        </pc:sldLayoutChg>
        <pc:sldLayoutChg chg="del">
          <pc:chgData name="RUFFET, Malcolm" userId="ef33cb5d-7c5f-44ea-8bd1-71f6d9da9dec" providerId="ADAL" clId="{42A6F1C5-53D2-4848-9E6F-5902AFD5EAD4}" dt="2024-02-01T16:05:01.539" v="43" actId="18676"/>
          <pc:sldLayoutMkLst>
            <pc:docMk/>
            <pc:sldMasterMk cId="3589912358" sldId="2147484259"/>
            <pc:sldLayoutMk cId="2693046857" sldId="2147484268"/>
          </pc:sldLayoutMkLst>
        </pc:sldLayoutChg>
        <pc:sldLayoutChg chg="del">
          <pc:chgData name="RUFFET, Malcolm" userId="ef33cb5d-7c5f-44ea-8bd1-71f6d9da9dec" providerId="ADAL" clId="{42A6F1C5-53D2-4848-9E6F-5902AFD5EAD4}" dt="2024-02-01T16:05:01.539" v="43" actId="18676"/>
          <pc:sldLayoutMkLst>
            <pc:docMk/>
            <pc:sldMasterMk cId="3589912358" sldId="2147484259"/>
            <pc:sldLayoutMk cId="1580216560" sldId="2147484269"/>
          </pc:sldLayoutMkLst>
        </pc:sldLayoutChg>
        <pc:sldLayoutChg chg="del">
          <pc:chgData name="RUFFET, Malcolm" userId="ef33cb5d-7c5f-44ea-8bd1-71f6d9da9dec" providerId="ADAL" clId="{42A6F1C5-53D2-4848-9E6F-5902AFD5EAD4}" dt="2024-02-01T16:05:01.539" v="43" actId="18676"/>
          <pc:sldLayoutMkLst>
            <pc:docMk/>
            <pc:sldMasterMk cId="3589912358" sldId="2147484259"/>
            <pc:sldLayoutMk cId="4219201139" sldId="2147484270"/>
          </pc:sldLayoutMkLst>
        </pc:sldLayoutChg>
        <pc:sldLayoutChg chg="del">
          <pc:chgData name="RUFFET, Malcolm" userId="ef33cb5d-7c5f-44ea-8bd1-71f6d9da9dec" providerId="ADAL" clId="{42A6F1C5-53D2-4848-9E6F-5902AFD5EAD4}" dt="2024-02-01T16:05:01.539" v="43" actId="18676"/>
          <pc:sldLayoutMkLst>
            <pc:docMk/>
            <pc:sldMasterMk cId="3589912358" sldId="2147484259"/>
            <pc:sldLayoutMk cId="760934421" sldId="2147484271"/>
          </pc:sldLayoutMkLst>
        </pc:sldLayoutChg>
        <pc:sldLayoutChg chg="del">
          <pc:chgData name="RUFFET, Malcolm" userId="ef33cb5d-7c5f-44ea-8bd1-71f6d9da9dec" providerId="ADAL" clId="{42A6F1C5-53D2-4848-9E6F-5902AFD5EAD4}" dt="2024-02-01T16:05:01.539" v="43" actId="18676"/>
          <pc:sldLayoutMkLst>
            <pc:docMk/>
            <pc:sldMasterMk cId="3589912358" sldId="2147484259"/>
            <pc:sldLayoutMk cId="1010636544" sldId="2147484272"/>
          </pc:sldLayoutMkLst>
        </pc:sldLayoutChg>
      </pc:sldMasterChg>
      <pc:sldMasterChg chg="del delSldLayout">
        <pc:chgData name="RUFFET, Malcolm" userId="ef33cb5d-7c5f-44ea-8bd1-71f6d9da9dec" providerId="ADAL" clId="{42A6F1C5-53D2-4848-9E6F-5902AFD5EAD4}" dt="2024-02-01T16:05:01.539" v="43" actId="18676"/>
        <pc:sldMasterMkLst>
          <pc:docMk/>
          <pc:sldMasterMk cId="3929850839" sldId="2147484273"/>
        </pc:sldMasterMkLst>
        <pc:sldLayoutChg chg="del">
          <pc:chgData name="RUFFET, Malcolm" userId="ef33cb5d-7c5f-44ea-8bd1-71f6d9da9dec" providerId="ADAL" clId="{42A6F1C5-53D2-4848-9E6F-5902AFD5EAD4}" dt="2024-02-01T16:05:01.539" v="43" actId="18676"/>
          <pc:sldLayoutMkLst>
            <pc:docMk/>
            <pc:sldMasterMk cId="3929850839" sldId="2147484273"/>
            <pc:sldLayoutMk cId="4249023523" sldId="2147484274"/>
          </pc:sldLayoutMkLst>
        </pc:sldLayoutChg>
        <pc:sldLayoutChg chg="del">
          <pc:chgData name="RUFFET, Malcolm" userId="ef33cb5d-7c5f-44ea-8bd1-71f6d9da9dec" providerId="ADAL" clId="{42A6F1C5-53D2-4848-9E6F-5902AFD5EAD4}" dt="2024-02-01T16:05:01.539" v="43" actId="18676"/>
          <pc:sldLayoutMkLst>
            <pc:docMk/>
            <pc:sldMasterMk cId="3929850839" sldId="2147484273"/>
            <pc:sldLayoutMk cId="284238501" sldId="2147484275"/>
          </pc:sldLayoutMkLst>
        </pc:sldLayoutChg>
        <pc:sldLayoutChg chg="del">
          <pc:chgData name="RUFFET, Malcolm" userId="ef33cb5d-7c5f-44ea-8bd1-71f6d9da9dec" providerId="ADAL" clId="{42A6F1C5-53D2-4848-9E6F-5902AFD5EAD4}" dt="2024-02-01T16:05:01.539" v="43" actId="18676"/>
          <pc:sldLayoutMkLst>
            <pc:docMk/>
            <pc:sldMasterMk cId="3929850839" sldId="2147484273"/>
            <pc:sldLayoutMk cId="2362651698" sldId="2147484276"/>
          </pc:sldLayoutMkLst>
        </pc:sldLayoutChg>
        <pc:sldLayoutChg chg="del">
          <pc:chgData name="RUFFET, Malcolm" userId="ef33cb5d-7c5f-44ea-8bd1-71f6d9da9dec" providerId="ADAL" clId="{42A6F1C5-53D2-4848-9E6F-5902AFD5EAD4}" dt="2024-02-01T16:05:01.539" v="43" actId="18676"/>
          <pc:sldLayoutMkLst>
            <pc:docMk/>
            <pc:sldMasterMk cId="3929850839" sldId="2147484273"/>
            <pc:sldLayoutMk cId="164622461" sldId="2147484277"/>
          </pc:sldLayoutMkLst>
        </pc:sldLayoutChg>
        <pc:sldLayoutChg chg="del">
          <pc:chgData name="RUFFET, Malcolm" userId="ef33cb5d-7c5f-44ea-8bd1-71f6d9da9dec" providerId="ADAL" clId="{42A6F1C5-53D2-4848-9E6F-5902AFD5EAD4}" dt="2024-02-01T16:05:01.539" v="43" actId="18676"/>
          <pc:sldLayoutMkLst>
            <pc:docMk/>
            <pc:sldMasterMk cId="3929850839" sldId="2147484273"/>
            <pc:sldLayoutMk cId="3539721341" sldId="2147484278"/>
          </pc:sldLayoutMkLst>
        </pc:sldLayoutChg>
        <pc:sldLayoutChg chg="del">
          <pc:chgData name="RUFFET, Malcolm" userId="ef33cb5d-7c5f-44ea-8bd1-71f6d9da9dec" providerId="ADAL" clId="{42A6F1C5-53D2-4848-9E6F-5902AFD5EAD4}" dt="2024-02-01T16:05:01.539" v="43" actId="18676"/>
          <pc:sldLayoutMkLst>
            <pc:docMk/>
            <pc:sldMasterMk cId="3929850839" sldId="2147484273"/>
            <pc:sldLayoutMk cId="635392630" sldId="2147484279"/>
          </pc:sldLayoutMkLst>
        </pc:sldLayoutChg>
        <pc:sldLayoutChg chg="del">
          <pc:chgData name="RUFFET, Malcolm" userId="ef33cb5d-7c5f-44ea-8bd1-71f6d9da9dec" providerId="ADAL" clId="{42A6F1C5-53D2-4848-9E6F-5902AFD5EAD4}" dt="2024-02-01T16:05:01.539" v="43" actId="18676"/>
          <pc:sldLayoutMkLst>
            <pc:docMk/>
            <pc:sldMasterMk cId="3929850839" sldId="2147484273"/>
            <pc:sldLayoutMk cId="3710611445" sldId="2147484280"/>
          </pc:sldLayoutMkLst>
        </pc:sldLayoutChg>
        <pc:sldLayoutChg chg="del">
          <pc:chgData name="RUFFET, Malcolm" userId="ef33cb5d-7c5f-44ea-8bd1-71f6d9da9dec" providerId="ADAL" clId="{42A6F1C5-53D2-4848-9E6F-5902AFD5EAD4}" dt="2024-02-01T16:05:01.539" v="43" actId="18676"/>
          <pc:sldLayoutMkLst>
            <pc:docMk/>
            <pc:sldMasterMk cId="3929850839" sldId="2147484273"/>
            <pc:sldLayoutMk cId="1543470717" sldId="2147484281"/>
          </pc:sldLayoutMkLst>
        </pc:sldLayoutChg>
      </pc:sldMasterChg>
      <pc:sldMasterChg chg="del delSldLayout">
        <pc:chgData name="RUFFET, Malcolm" userId="ef33cb5d-7c5f-44ea-8bd1-71f6d9da9dec" providerId="ADAL" clId="{42A6F1C5-53D2-4848-9E6F-5902AFD5EAD4}" dt="2024-02-01T16:05:01.539" v="43" actId="18676"/>
        <pc:sldMasterMkLst>
          <pc:docMk/>
          <pc:sldMasterMk cId="4084657893" sldId="2147484282"/>
        </pc:sldMasterMkLst>
        <pc:sldLayoutChg chg="del">
          <pc:chgData name="RUFFET, Malcolm" userId="ef33cb5d-7c5f-44ea-8bd1-71f6d9da9dec" providerId="ADAL" clId="{42A6F1C5-53D2-4848-9E6F-5902AFD5EAD4}" dt="2024-02-01T16:05:01.539" v="43" actId="18676"/>
          <pc:sldLayoutMkLst>
            <pc:docMk/>
            <pc:sldMasterMk cId="4084657893" sldId="2147484282"/>
            <pc:sldLayoutMk cId="1969492808" sldId="2147484283"/>
          </pc:sldLayoutMkLst>
        </pc:sldLayoutChg>
        <pc:sldLayoutChg chg="del">
          <pc:chgData name="RUFFET, Malcolm" userId="ef33cb5d-7c5f-44ea-8bd1-71f6d9da9dec" providerId="ADAL" clId="{42A6F1C5-53D2-4848-9E6F-5902AFD5EAD4}" dt="2024-02-01T16:05:01.539" v="43" actId="18676"/>
          <pc:sldLayoutMkLst>
            <pc:docMk/>
            <pc:sldMasterMk cId="4084657893" sldId="2147484282"/>
            <pc:sldLayoutMk cId="2471813170" sldId="2147484284"/>
          </pc:sldLayoutMkLst>
        </pc:sldLayoutChg>
        <pc:sldLayoutChg chg="del">
          <pc:chgData name="RUFFET, Malcolm" userId="ef33cb5d-7c5f-44ea-8bd1-71f6d9da9dec" providerId="ADAL" clId="{42A6F1C5-53D2-4848-9E6F-5902AFD5EAD4}" dt="2024-02-01T16:05:01.539" v="43" actId="18676"/>
          <pc:sldLayoutMkLst>
            <pc:docMk/>
            <pc:sldMasterMk cId="4084657893" sldId="2147484282"/>
            <pc:sldLayoutMk cId="3944332959" sldId="2147484285"/>
          </pc:sldLayoutMkLst>
        </pc:sldLayoutChg>
        <pc:sldLayoutChg chg="del">
          <pc:chgData name="RUFFET, Malcolm" userId="ef33cb5d-7c5f-44ea-8bd1-71f6d9da9dec" providerId="ADAL" clId="{42A6F1C5-53D2-4848-9E6F-5902AFD5EAD4}" dt="2024-02-01T16:05:01.539" v="43" actId="18676"/>
          <pc:sldLayoutMkLst>
            <pc:docMk/>
            <pc:sldMasterMk cId="4084657893" sldId="2147484282"/>
            <pc:sldLayoutMk cId="3247620705" sldId="2147484286"/>
          </pc:sldLayoutMkLst>
        </pc:sldLayoutChg>
        <pc:sldLayoutChg chg="del">
          <pc:chgData name="RUFFET, Malcolm" userId="ef33cb5d-7c5f-44ea-8bd1-71f6d9da9dec" providerId="ADAL" clId="{42A6F1C5-53D2-4848-9E6F-5902AFD5EAD4}" dt="2024-02-01T16:05:01.539" v="43" actId="18676"/>
          <pc:sldLayoutMkLst>
            <pc:docMk/>
            <pc:sldMasterMk cId="4084657893" sldId="2147484282"/>
            <pc:sldLayoutMk cId="4009558897" sldId="2147484287"/>
          </pc:sldLayoutMkLst>
        </pc:sldLayoutChg>
        <pc:sldLayoutChg chg="del">
          <pc:chgData name="RUFFET, Malcolm" userId="ef33cb5d-7c5f-44ea-8bd1-71f6d9da9dec" providerId="ADAL" clId="{42A6F1C5-53D2-4848-9E6F-5902AFD5EAD4}" dt="2024-02-01T16:05:01.539" v="43" actId="18676"/>
          <pc:sldLayoutMkLst>
            <pc:docMk/>
            <pc:sldMasterMk cId="4084657893" sldId="2147484282"/>
            <pc:sldLayoutMk cId="2911821354" sldId="2147484288"/>
          </pc:sldLayoutMkLst>
        </pc:sldLayoutChg>
        <pc:sldLayoutChg chg="del">
          <pc:chgData name="RUFFET, Malcolm" userId="ef33cb5d-7c5f-44ea-8bd1-71f6d9da9dec" providerId="ADAL" clId="{42A6F1C5-53D2-4848-9E6F-5902AFD5EAD4}" dt="2024-02-01T16:05:01.539" v="43" actId="18676"/>
          <pc:sldLayoutMkLst>
            <pc:docMk/>
            <pc:sldMasterMk cId="4084657893" sldId="2147484282"/>
            <pc:sldLayoutMk cId="3979738644" sldId="2147484289"/>
          </pc:sldLayoutMkLst>
        </pc:sldLayoutChg>
        <pc:sldLayoutChg chg="del">
          <pc:chgData name="RUFFET, Malcolm" userId="ef33cb5d-7c5f-44ea-8bd1-71f6d9da9dec" providerId="ADAL" clId="{42A6F1C5-53D2-4848-9E6F-5902AFD5EAD4}" dt="2024-02-01T16:05:01.539" v="43" actId="18676"/>
          <pc:sldLayoutMkLst>
            <pc:docMk/>
            <pc:sldMasterMk cId="4084657893" sldId="2147484282"/>
            <pc:sldLayoutMk cId="135886763" sldId="2147484290"/>
          </pc:sldLayoutMkLst>
        </pc:sldLayoutChg>
        <pc:sldLayoutChg chg="del">
          <pc:chgData name="RUFFET, Malcolm" userId="ef33cb5d-7c5f-44ea-8bd1-71f6d9da9dec" providerId="ADAL" clId="{42A6F1C5-53D2-4848-9E6F-5902AFD5EAD4}" dt="2024-02-01T16:05:01.539" v="43" actId="18676"/>
          <pc:sldLayoutMkLst>
            <pc:docMk/>
            <pc:sldMasterMk cId="4084657893" sldId="2147484282"/>
            <pc:sldLayoutMk cId="381686129" sldId="2147484291"/>
          </pc:sldLayoutMkLst>
        </pc:sldLayoutChg>
        <pc:sldLayoutChg chg="del">
          <pc:chgData name="RUFFET, Malcolm" userId="ef33cb5d-7c5f-44ea-8bd1-71f6d9da9dec" providerId="ADAL" clId="{42A6F1C5-53D2-4848-9E6F-5902AFD5EAD4}" dt="2024-02-01T16:05:01.539" v="43" actId="18676"/>
          <pc:sldLayoutMkLst>
            <pc:docMk/>
            <pc:sldMasterMk cId="4084657893" sldId="2147484282"/>
            <pc:sldLayoutMk cId="3653347418" sldId="2147484292"/>
          </pc:sldLayoutMkLst>
        </pc:sldLayoutChg>
        <pc:sldLayoutChg chg="del">
          <pc:chgData name="RUFFET, Malcolm" userId="ef33cb5d-7c5f-44ea-8bd1-71f6d9da9dec" providerId="ADAL" clId="{42A6F1C5-53D2-4848-9E6F-5902AFD5EAD4}" dt="2024-02-01T16:05:01.539" v="43" actId="18676"/>
          <pc:sldLayoutMkLst>
            <pc:docMk/>
            <pc:sldMasterMk cId="4084657893" sldId="2147484282"/>
            <pc:sldLayoutMk cId="1195182771" sldId="2147484293"/>
          </pc:sldLayoutMkLst>
        </pc:sldLayoutChg>
        <pc:sldLayoutChg chg="del">
          <pc:chgData name="RUFFET, Malcolm" userId="ef33cb5d-7c5f-44ea-8bd1-71f6d9da9dec" providerId="ADAL" clId="{42A6F1C5-53D2-4848-9E6F-5902AFD5EAD4}" dt="2024-02-01T16:05:01.539" v="43" actId="18676"/>
          <pc:sldLayoutMkLst>
            <pc:docMk/>
            <pc:sldMasterMk cId="4084657893" sldId="2147484282"/>
            <pc:sldLayoutMk cId="2734692672" sldId="2147484294"/>
          </pc:sldLayoutMkLst>
        </pc:sldLayoutChg>
        <pc:sldLayoutChg chg="del">
          <pc:chgData name="RUFFET, Malcolm" userId="ef33cb5d-7c5f-44ea-8bd1-71f6d9da9dec" providerId="ADAL" clId="{42A6F1C5-53D2-4848-9E6F-5902AFD5EAD4}" dt="2024-02-01T16:05:01.539" v="43" actId="18676"/>
          <pc:sldLayoutMkLst>
            <pc:docMk/>
            <pc:sldMasterMk cId="4084657893" sldId="2147484282"/>
            <pc:sldLayoutMk cId="8252434" sldId="2147484295"/>
          </pc:sldLayoutMkLst>
        </pc:sldLayoutChg>
        <pc:sldLayoutChg chg="del">
          <pc:chgData name="RUFFET, Malcolm" userId="ef33cb5d-7c5f-44ea-8bd1-71f6d9da9dec" providerId="ADAL" clId="{42A6F1C5-53D2-4848-9E6F-5902AFD5EAD4}" dt="2024-02-01T16:05:01.539" v="43" actId="18676"/>
          <pc:sldLayoutMkLst>
            <pc:docMk/>
            <pc:sldMasterMk cId="4084657893" sldId="2147484282"/>
            <pc:sldLayoutMk cId="1792941703" sldId="2147484296"/>
          </pc:sldLayoutMkLst>
        </pc:sldLayoutChg>
        <pc:sldLayoutChg chg="del">
          <pc:chgData name="RUFFET, Malcolm" userId="ef33cb5d-7c5f-44ea-8bd1-71f6d9da9dec" providerId="ADAL" clId="{42A6F1C5-53D2-4848-9E6F-5902AFD5EAD4}" dt="2024-02-01T16:05:01.539" v="43" actId="18676"/>
          <pc:sldLayoutMkLst>
            <pc:docMk/>
            <pc:sldMasterMk cId="4084657893" sldId="2147484282"/>
            <pc:sldLayoutMk cId="2460019148" sldId="2147484297"/>
          </pc:sldLayoutMkLst>
        </pc:sldLayoutChg>
        <pc:sldLayoutChg chg="del">
          <pc:chgData name="RUFFET, Malcolm" userId="ef33cb5d-7c5f-44ea-8bd1-71f6d9da9dec" providerId="ADAL" clId="{42A6F1C5-53D2-4848-9E6F-5902AFD5EAD4}" dt="2024-02-01T16:05:01.539" v="43" actId="18676"/>
          <pc:sldLayoutMkLst>
            <pc:docMk/>
            <pc:sldMasterMk cId="4084657893" sldId="2147484282"/>
            <pc:sldLayoutMk cId="1180340746" sldId="2147484298"/>
          </pc:sldLayoutMkLst>
        </pc:sldLayoutChg>
        <pc:sldLayoutChg chg="del">
          <pc:chgData name="RUFFET, Malcolm" userId="ef33cb5d-7c5f-44ea-8bd1-71f6d9da9dec" providerId="ADAL" clId="{42A6F1C5-53D2-4848-9E6F-5902AFD5EAD4}" dt="2024-02-01T16:05:01.539" v="43" actId="18676"/>
          <pc:sldLayoutMkLst>
            <pc:docMk/>
            <pc:sldMasterMk cId="4084657893" sldId="2147484282"/>
            <pc:sldLayoutMk cId="2578572569" sldId="2147484299"/>
          </pc:sldLayoutMkLst>
        </pc:sldLayoutChg>
        <pc:sldLayoutChg chg="del">
          <pc:chgData name="RUFFET, Malcolm" userId="ef33cb5d-7c5f-44ea-8bd1-71f6d9da9dec" providerId="ADAL" clId="{42A6F1C5-53D2-4848-9E6F-5902AFD5EAD4}" dt="2024-02-01T16:05:01.539" v="43" actId="18676"/>
          <pc:sldLayoutMkLst>
            <pc:docMk/>
            <pc:sldMasterMk cId="4084657893" sldId="2147484282"/>
            <pc:sldLayoutMk cId="2756767847" sldId="2147484300"/>
          </pc:sldLayoutMkLst>
        </pc:sldLayoutChg>
        <pc:sldLayoutChg chg="del">
          <pc:chgData name="RUFFET, Malcolm" userId="ef33cb5d-7c5f-44ea-8bd1-71f6d9da9dec" providerId="ADAL" clId="{42A6F1C5-53D2-4848-9E6F-5902AFD5EAD4}" dt="2024-02-01T16:05:01.539" v="43" actId="18676"/>
          <pc:sldLayoutMkLst>
            <pc:docMk/>
            <pc:sldMasterMk cId="4084657893" sldId="2147484282"/>
            <pc:sldLayoutMk cId="2731060197" sldId="2147484301"/>
          </pc:sldLayoutMkLst>
        </pc:sldLayoutChg>
        <pc:sldLayoutChg chg="del">
          <pc:chgData name="RUFFET, Malcolm" userId="ef33cb5d-7c5f-44ea-8bd1-71f6d9da9dec" providerId="ADAL" clId="{42A6F1C5-53D2-4848-9E6F-5902AFD5EAD4}" dt="2024-02-01T16:05:01.539" v="43" actId="18676"/>
          <pc:sldLayoutMkLst>
            <pc:docMk/>
            <pc:sldMasterMk cId="4084657893" sldId="2147484282"/>
            <pc:sldLayoutMk cId="1656659851" sldId="2147484302"/>
          </pc:sldLayoutMkLst>
        </pc:sldLayoutChg>
      </pc:sldMasterChg>
    </pc:docChg>
  </pc:docChgLst>
  <pc:docChgLst>
    <pc:chgData name="KILANI, Yassine" userId="1aebaf60-5a20-455f-b28d-267e961535b9" providerId="ADAL" clId="{AB671B09-B1DE-401F-98C0-EFF1BD35B1AA}"/>
    <pc:docChg chg="undo custSel modSld">
      <pc:chgData name="KILANI, Yassine" userId="1aebaf60-5a20-455f-b28d-267e961535b9" providerId="ADAL" clId="{AB671B09-B1DE-401F-98C0-EFF1BD35B1AA}" dt="2024-03-11T08:26:28.493" v="356" actId="20577"/>
      <pc:docMkLst>
        <pc:docMk/>
      </pc:docMkLst>
      <pc:sldChg chg="delSp modSp mod">
        <pc:chgData name="KILANI, Yassine" userId="1aebaf60-5a20-455f-b28d-267e961535b9" providerId="ADAL" clId="{AB671B09-B1DE-401F-98C0-EFF1BD35B1AA}" dt="2024-03-11T08:26:28.493" v="356" actId="20577"/>
        <pc:sldMkLst>
          <pc:docMk/>
          <pc:sldMk cId="332520229" sldId="2147481408"/>
        </pc:sldMkLst>
        <pc:spChg chg="mod">
          <ac:chgData name="KILANI, Yassine" userId="1aebaf60-5a20-455f-b28d-267e961535b9" providerId="ADAL" clId="{AB671B09-B1DE-401F-98C0-EFF1BD35B1AA}" dt="2024-03-11T08:11:40.142" v="349" actId="20577"/>
          <ac:spMkLst>
            <pc:docMk/>
            <pc:sldMk cId="332520229" sldId="2147481408"/>
            <ac:spMk id="10" creationId="{7214088B-0432-0BF4-2EE4-915C8564C5B6}"/>
          </ac:spMkLst>
        </pc:spChg>
        <pc:spChg chg="mod">
          <ac:chgData name="KILANI, Yassine" userId="1aebaf60-5a20-455f-b28d-267e961535b9" providerId="ADAL" clId="{AB671B09-B1DE-401F-98C0-EFF1BD35B1AA}" dt="2024-03-11T08:26:28.493" v="356" actId="20577"/>
          <ac:spMkLst>
            <pc:docMk/>
            <pc:sldMk cId="332520229" sldId="2147481408"/>
            <ac:spMk id="12" creationId="{22029089-DDA4-A73C-198D-DCD968F3B02C}"/>
          </ac:spMkLst>
        </pc:spChg>
        <pc:spChg chg="del">
          <ac:chgData name="KILANI, Yassine" userId="1aebaf60-5a20-455f-b28d-267e961535b9" providerId="ADAL" clId="{AB671B09-B1DE-401F-98C0-EFF1BD35B1AA}" dt="2024-03-11T08:08:40.847" v="3" actId="478"/>
          <ac:spMkLst>
            <pc:docMk/>
            <pc:sldMk cId="332520229" sldId="2147481408"/>
            <ac:spMk id="13" creationId="{8A087B72-1431-9F94-6268-5AACA0369442}"/>
          </ac:spMkLst>
        </pc:spChg>
        <pc:picChg chg="mod">
          <ac:chgData name="KILANI, Yassine" userId="1aebaf60-5a20-455f-b28d-267e961535b9" providerId="ADAL" clId="{AB671B09-B1DE-401F-98C0-EFF1BD35B1AA}" dt="2024-03-11T08:25:53.541" v="353" actId="14100"/>
          <ac:picMkLst>
            <pc:docMk/>
            <pc:sldMk cId="332520229" sldId="2147481408"/>
            <ac:picMk id="9" creationId="{410D9B31-D28A-5E18-4A05-3B3DB2A5CAC7}"/>
          </ac:picMkLst>
        </pc:picChg>
      </pc:sldChg>
      <pc:sldChg chg="modSp mod">
        <pc:chgData name="KILANI, Yassine" userId="1aebaf60-5a20-455f-b28d-267e961535b9" providerId="ADAL" clId="{AB671B09-B1DE-401F-98C0-EFF1BD35B1AA}" dt="2024-03-08T10:12:16.819" v="1" actId="1076"/>
        <pc:sldMkLst>
          <pc:docMk/>
          <pc:sldMk cId="3928444635" sldId="2147481415"/>
        </pc:sldMkLst>
        <pc:spChg chg="mod">
          <ac:chgData name="KILANI, Yassine" userId="1aebaf60-5a20-455f-b28d-267e961535b9" providerId="ADAL" clId="{AB671B09-B1DE-401F-98C0-EFF1BD35B1AA}" dt="2024-03-08T10:12:16.819" v="1" actId="1076"/>
          <ac:spMkLst>
            <pc:docMk/>
            <pc:sldMk cId="3928444635" sldId="2147481415"/>
            <ac:spMk id="3" creationId="{82C18E46-EEBD-D6DE-E6A3-7F5A27B8BA41}"/>
          </ac:spMkLst>
        </pc:spChg>
      </pc:sldChg>
    </pc:docChg>
  </pc:docChgLst>
  <pc:docChgLst>
    <pc:chgData name="GUILLERME, Alexandre" userId="ea1c6976-b45d-4181-9324-3cd9e1255583" providerId="ADAL" clId="{5E666AAA-B3B8-4E21-BFAC-814441B2586C}"/>
    <pc:docChg chg="addSld delSld modSld addSection delSection modSection">
      <pc:chgData name="GUILLERME, Alexandre" userId="ea1c6976-b45d-4181-9324-3cd9e1255583" providerId="ADAL" clId="{5E666AAA-B3B8-4E21-BFAC-814441B2586C}" dt="2024-05-31T09:50:54.385" v="16"/>
      <pc:docMkLst>
        <pc:docMk/>
      </pc:docMkLst>
      <pc:sldChg chg="del">
        <pc:chgData name="GUILLERME, Alexandre" userId="ea1c6976-b45d-4181-9324-3cd9e1255583" providerId="ADAL" clId="{5E666AAA-B3B8-4E21-BFAC-814441B2586C}" dt="2024-05-31T09:49:40.941" v="0" actId="47"/>
        <pc:sldMkLst>
          <pc:docMk/>
          <pc:sldMk cId="1054645184" sldId="1051"/>
        </pc:sldMkLst>
      </pc:sldChg>
      <pc:sldChg chg="del">
        <pc:chgData name="GUILLERME, Alexandre" userId="ea1c6976-b45d-4181-9324-3cd9e1255583" providerId="ADAL" clId="{5E666AAA-B3B8-4E21-BFAC-814441B2586C}" dt="2024-05-31T09:49:48.247" v="5" actId="47"/>
        <pc:sldMkLst>
          <pc:docMk/>
          <pc:sldMk cId="2464078307" sldId="2793"/>
        </pc:sldMkLst>
      </pc:sldChg>
      <pc:sldChg chg="add del">
        <pc:chgData name="GUILLERME, Alexandre" userId="ea1c6976-b45d-4181-9324-3cd9e1255583" providerId="ADAL" clId="{5E666AAA-B3B8-4E21-BFAC-814441B2586C}" dt="2024-05-31T09:50:54.385" v="16"/>
        <pc:sldMkLst>
          <pc:docMk/>
          <pc:sldMk cId="1253693343" sldId="2808"/>
        </pc:sldMkLst>
      </pc:sldChg>
      <pc:sldChg chg="del">
        <pc:chgData name="GUILLERME, Alexandre" userId="ea1c6976-b45d-4181-9324-3cd9e1255583" providerId="ADAL" clId="{5E666AAA-B3B8-4E21-BFAC-814441B2586C}" dt="2024-05-31T09:49:48.247" v="5" actId="47"/>
        <pc:sldMkLst>
          <pc:docMk/>
          <pc:sldMk cId="3489761148" sldId="2844"/>
        </pc:sldMkLst>
      </pc:sldChg>
      <pc:sldChg chg="add del">
        <pc:chgData name="GUILLERME, Alexandre" userId="ea1c6976-b45d-4181-9324-3cd9e1255583" providerId="ADAL" clId="{5E666AAA-B3B8-4E21-BFAC-814441B2586C}" dt="2024-05-31T09:50:54.385" v="16"/>
        <pc:sldMkLst>
          <pc:docMk/>
          <pc:sldMk cId="810081332" sldId="2134806153"/>
        </pc:sldMkLst>
      </pc:sldChg>
      <pc:sldChg chg="add del">
        <pc:chgData name="GUILLERME, Alexandre" userId="ea1c6976-b45d-4181-9324-3cd9e1255583" providerId="ADAL" clId="{5E666AAA-B3B8-4E21-BFAC-814441B2586C}" dt="2024-05-31T09:50:54.385" v="16"/>
        <pc:sldMkLst>
          <pc:docMk/>
          <pc:sldMk cId="1540882398" sldId="2134806154"/>
        </pc:sldMkLst>
      </pc:sldChg>
      <pc:sldChg chg="del">
        <pc:chgData name="GUILLERME, Alexandre" userId="ea1c6976-b45d-4181-9324-3cd9e1255583" providerId="ADAL" clId="{5E666AAA-B3B8-4E21-BFAC-814441B2586C}" dt="2024-05-31T09:49:42.354" v="1" actId="47"/>
        <pc:sldMkLst>
          <pc:docMk/>
          <pc:sldMk cId="2631033068" sldId="2147229068"/>
        </pc:sldMkLst>
      </pc:sldChg>
      <pc:sldChg chg="del">
        <pc:chgData name="GUILLERME, Alexandre" userId="ea1c6976-b45d-4181-9324-3cd9e1255583" providerId="ADAL" clId="{5E666AAA-B3B8-4E21-BFAC-814441B2586C}" dt="2024-05-31T09:49:42.354" v="1" actId="47"/>
        <pc:sldMkLst>
          <pc:docMk/>
          <pc:sldMk cId="798083219" sldId="2147308509"/>
        </pc:sldMkLst>
      </pc:sldChg>
      <pc:sldChg chg="del">
        <pc:chgData name="GUILLERME, Alexandre" userId="ea1c6976-b45d-4181-9324-3cd9e1255583" providerId="ADAL" clId="{5E666AAA-B3B8-4E21-BFAC-814441B2586C}" dt="2024-05-31T09:49:48.247" v="5" actId="47"/>
        <pc:sldMkLst>
          <pc:docMk/>
          <pc:sldMk cId="3302673549" sldId="2147473370"/>
        </pc:sldMkLst>
      </pc:sldChg>
      <pc:sldChg chg="del">
        <pc:chgData name="GUILLERME, Alexandre" userId="ea1c6976-b45d-4181-9324-3cd9e1255583" providerId="ADAL" clId="{5E666AAA-B3B8-4E21-BFAC-814441B2586C}" dt="2024-05-31T09:49:45.150" v="4" actId="47"/>
        <pc:sldMkLst>
          <pc:docMk/>
          <pc:sldMk cId="2936182477" sldId="2147478736"/>
        </pc:sldMkLst>
      </pc:sldChg>
      <pc:sldChg chg="del">
        <pc:chgData name="GUILLERME, Alexandre" userId="ea1c6976-b45d-4181-9324-3cd9e1255583" providerId="ADAL" clId="{5E666AAA-B3B8-4E21-BFAC-814441B2586C}" dt="2024-05-31T09:49:48.247" v="5" actId="47"/>
        <pc:sldMkLst>
          <pc:docMk/>
          <pc:sldMk cId="1223035003" sldId="2147478774"/>
        </pc:sldMkLst>
      </pc:sldChg>
      <pc:sldChg chg="del">
        <pc:chgData name="GUILLERME, Alexandre" userId="ea1c6976-b45d-4181-9324-3cd9e1255583" providerId="ADAL" clId="{5E666AAA-B3B8-4E21-BFAC-814441B2586C}" dt="2024-05-31T09:49:48.247" v="5" actId="47"/>
        <pc:sldMkLst>
          <pc:docMk/>
          <pc:sldMk cId="851675497" sldId="2147478775"/>
        </pc:sldMkLst>
      </pc:sldChg>
      <pc:sldChg chg="del">
        <pc:chgData name="GUILLERME, Alexandre" userId="ea1c6976-b45d-4181-9324-3cd9e1255583" providerId="ADAL" clId="{5E666AAA-B3B8-4E21-BFAC-814441B2586C}" dt="2024-05-31T09:50:01.534" v="11" actId="47"/>
        <pc:sldMkLst>
          <pc:docMk/>
          <pc:sldMk cId="3188676440" sldId="2147478777"/>
        </pc:sldMkLst>
      </pc:sldChg>
      <pc:sldChg chg="del">
        <pc:chgData name="GUILLERME, Alexandre" userId="ea1c6976-b45d-4181-9324-3cd9e1255583" providerId="ADAL" clId="{5E666AAA-B3B8-4E21-BFAC-814441B2586C}" dt="2024-05-31T09:49:48.247" v="5" actId="47"/>
        <pc:sldMkLst>
          <pc:docMk/>
          <pc:sldMk cId="2028875791" sldId="2147478779"/>
        </pc:sldMkLst>
      </pc:sldChg>
      <pc:sldChg chg="del">
        <pc:chgData name="GUILLERME, Alexandre" userId="ea1c6976-b45d-4181-9324-3cd9e1255583" providerId="ADAL" clId="{5E666AAA-B3B8-4E21-BFAC-814441B2586C}" dt="2024-05-31T09:49:48.247" v="5" actId="47"/>
        <pc:sldMkLst>
          <pc:docMk/>
          <pc:sldMk cId="2199928286" sldId="2147478780"/>
        </pc:sldMkLst>
      </pc:sldChg>
      <pc:sldChg chg="del">
        <pc:chgData name="GUILLERME, Alexandre" userId="ea1c6976-b45d-4181-9324-3cd9e1255583" providerId="ADAL" clId="{5E666AAA-B3B8-4E21-BFAC-814441B2586C}" dt="2024-05-31T09:49:48.247" v="5" actId="47"/>
        <pc:sldMkLst>
          <pc:docMk/>
          <pc:sldMk cId="1198383416" sldId="2147478782"/>
        </pc:sldMkLst>
      </pc:sldChg>
      <pc:sldChg chg="del">
        <pc:chgData name="GUILLERME, Alexandre" userId="ea1c6976-b45d-4181-9324-3cd9e1255583" providerId="ADAL" clId="{5E666AAA-B3B8-4E21-BFAC-814441B2586C}" dt="2024-05-31T09:49:48.247" v="5" actId="47"/>
        <pc:sldMkLst>
          <pc:docMk/>
          <pc:sldMk cId="22637000" sldId="2147478783"/>
        </pc:sldMkLst>
      </pc:sldChg>
      <pc:sldChg chg="del">
        <pc:chgData name="GUILLERME, Alexandre" userId="ea1c6976-b45d-4181-9324-3cd9e1255583" providerId="ADAL" clId="{5E666AAA-B3B8-4E21-BFAC-814441B2586C}" dt="2024-05-31T09:50:01.534" v="11" actId="47"/>
        <pc:sldMkLst>
          <pc:docMk/>
          <pc:sldMk cId="2171850792" sldId="2147478785"/>
        </pc:sldMkLst>
      </pc:sldChg>
      <pc:sldChg chg="del">
        <pc:chgData name="GUILLERME, Alexandre" userId="ea1c6976-b45d-4181-9324-3cd9e1255583" providerId="ADAL" clId="{5E666AAA-B3B8-4E21-BFAC-814441B2586C}" dt="2024-05-31T09:50:01.534" v="11" actId="47"/>
        <pc:sldMkLst>
          <pc:docMk/>
          <pc:sldMk cId="2262288800" sldId="2147478786"/>
        </pc:sldMkLst>
      </pc:sldChg>
      <pc:sldChg chg="del">
        <pc:chgData name="GUILLERME, Alexandre" userId="ea1c6976-b45d-4181-9324-3cd9e1255583" providerId="ADAL" clId="{5E666AAA-B3B8-4E21-BFAC-814441B2586C}" dt="2024-05-31T09:50:01.534" v="11" actId="47"/>
        <pc:sldMkLst>
          <pc:docMk/>
          <pc:sldMk cId="1432170948" sldId="2147478787"/>
        </pc:sldMkLst>
      </pc:sldChg>
      <pc:sldChg chg="del">
        <pc:chgData name="GUILLERME, Alexandre" userId="ea1c6976-b45d-4181-9324-3cd9e1255583" providerId="ADAL" clId="{5E666AAA-B3B8-4E21-BFAC-814441B2586C}" dt="2024-05-31T09:49:48.247" v="5" actId="47"/>
        <pc:sldMkLst>
          <pc:docMk/>
          <pc:sldMk cId="1978401362" sldId="2147478791"/>
        </pc:sldMkLst>
      </pc:sldChg>
      <pc:sldChg chg="del">
        <pc:chgData name="GUILLERME, Alexandre" userId="ea1c6976-b45d-4181-9324-3cd9e1255583" providerId="ADAL" clId="{5E666AAA-B3B8-4E21-BFAC-814441B2586C}" dt="2024-05-31T09:49:48.247" v="5" actId="47"/>
        <pc:sldMkLst>
          <pc:docMk/>
          <pc:sldMk cId="1184573271" sldId="2147478792"/>
        </pc:sldMkLst>
      </pc:sldChg>
      <pc:sldChg chg="del">
        <pc:chgData name="GUILLERME, Alexandre" userId="ea1c6976-b45d-4181-9324-3cd9e1255583" providerId="ADAL" clId="{5E666AAA-B3B8-4E21-BFAC-814441B2586C}" dt="2024-05-31T09:49:48.247" v="5" actId="47"/>
        <pc:sldMkLst>
          <pc:docMk/>
          <pc:sldMk cId="1436541136" sldId="2147481374"/>
        </pc:sldMkLst>
      </pc:sldChg>
      <pc:sldChg chg="del">
        <pc:chgData name="GUILLERME, Alexandre" userId="ea1c6976-b45d-4181-9324-3cd9e1255583" providerId="ADAL" clId="{5E666AAA-B3B8-4E21-BFAC-814441B2586C}" dt="2024-05-31T09:49:49.293" v="6" actId="47"/>
        <pc:sldMkLst>
          <pc:docMk/>
          <pc:sldMk cId="536213464" sldId="2147481379"/>
        </pc:sldMkLst>
      </pc:sldChg>
      <pc:sldChg chg="del">
        <pc:chgData name="GUILLERME, Alexandre" userId="ea1c6976-b45d-4181-9324-3cd9e1255583" providerId="ADAL" clId="{5E666AAA-B3B8-4E21-BFAC-814441B2586C}" dt="2024-05-31T09:49:48.247" v="5" actId="47"/>
        <pc:sldMkLst>
          <pc:docMk/>
          <pc:sldMk cId="2261772202" sldId="2147481381"/>
        </pc:sldMkLst>
      </pc:sldChg>
      <pc:sldChg chg="del">
        <pc:chgData name="GUILLERME, Alexandre" userId="ea1c6976-b45d-4181-9324-3cd9e1255583" providerId="ADAL" clId="{5E666AAA-B3B8-4E21-BFAC-814441B2586C}" dt="2024-05-31T09:49:50.319" v="7" actId="47"/>
        <pc:sldMkLst>
          <pc:docMk/>
          <pc:sldMk cId="4080557187" sldId="2147481384"/>
        </pc:sldMkLst>
      </pc:sldChg>
      <pc:sldChg chg="del">
        <pc:chgData name="GUILLERME, Alexandre" userId="ea1c6976-b45d-4181-9324-3cd9e1255583" providerId="ADAL" clId="{5E666AAA-B3B8-4E21-BFAC-814441B2586C}" dt="2024-05-31T09:49:50.319" v="7" actId="47"/>
        <pc:sldMkLst>
          <pc:docMk/>
          <pc:sldMk cId="200085282" sldId="2147481385"/>
        </pc:sldMkLst>
      </pc:sldChg>
      <pc:sldChg chg="del">
        <pc:chgData name="GUILLERME, Alexandre" userId="ea1c6976-b45d-4181-9324-3cd9e1255583" providerId="ADAL" clId="{5E666AAA-B3B8-4E21-BFAC-814441B2586C}" dt="2024-05-31T09:49:45.150" v="4" actId="47"/>
        <pc:sldMkLst>
          <pc:docMk/>
          <pc:sldMk cId="2343162873" sldId="2147481395"/>
        </pc:sldMkLst>
      </pc:sldChg>
      <pc:sldChg chg="del">
        <pc:chgData name="GUILLERME, Alexandre" userId="ea1c6976-b45d-4181-9324-3cd9e1255583" providerId="ADAL" clId="{5E666AAA-B3B8-4E21-BFAC-814441B2586C}" dt="2024-05-31T09:50:00.449" v="10" actId="47"/>
        <pc:sldMkLst>
          <pc:docMk/>
          <pc:sldMk cId="2921129530" sldId="2147481396"/>
        </pc:sldMkLst>
      </pc:sldChg>
      <pc:sldChg chg="add del">
        <pc:chgData name="GUILLERME, Alexandre" userId="ea1c6976-b45d-4181-9324-3cd9e1255583" providerId="ADAL" clId="{5E666AAA-B3B8-4E21-BFAC-814441B2586C}" dt="2024-05-31T09:50:54.385" v="16"/>
        <pc:sldMkLst>
          <pc:docMk/>
          <pc:sldMk cId="413589813" sldId="2147481406"/>
        </pc:sldMkLst>
      </pc:sldChg>
      <pc:sldChg chg="del">
        <pc:chgData name="GUILLERME, Alexandre" userId="ea1c6976-b45d-4181-9324-3cd9e1255583" providerId="ADAL" clId="{5E666AAA-B3B8-4E21-BFAC-814441B2586C}" dt="2024-05-31T09:50:02.746" v="12" actId="47"/>
        <pc:sldMkLst>
          <pc:docMk/>
          <pc:sldMk cId="3229574289" sldId="2147481407"/>
        </pc:sldMkLst>
      </pc:sldChg>
      <pc:sldChg chg="add del">
        <pc:chgData name="GUILLERME, Alexandre" userId="ea1c6976-b45d-4181-9324-3cd9e1255583" providerId="ADAL" clId="{5E666AAA-B3B8-4E21-BFAC-814441B2586C}" dt="2024-05-31T09:50:54.385" v="16"/>
        <pc:sldMkLst>
          <pc:docMk/>
          <pc:sldMk cId="454306216" sldId="2147481408"/>
        </pc:sldMkLst>
      </pc:sldChg>
      <pc:sldChg chg="del">
        <pc:chgData name="GUILLERME, Alexandre" userId="ea1c6976-b45d-4181-9324-3cd9e1255583" providerId="ADAL" clId="{5E666AAA-B3B8-4E21-BFAC-814441B2586C}" dt="2024-05-31T09:49:48.247" v="5" actId="47"/>
        <pc:sldMkLst>
          <pc:docMk/>
          <pc:sldMk cId="3928444635" sldId="2147481415"/>
        </pc:sldMkLst>
      </pc:sldChg>
      <pc:sldChg chg="del">
        <pc:chgData name="GUILLERME, Alexandre" userId="ea1c6976-b45d-4181-9324-3cd9e1255583" providerId="ADAL" clId="{5E666AAA-B3B8-4E21-BFAC-814441B2586C}" dt="2024-05-31T09:49:43.234" v="2" actId="47"/>
        <pc:sldMkLst>
          <pc:docMk/>
          <pc:sldMk cId="1732532695" sldId="2147481416"/>
        </pc:sldMkLst>
      </pc:sldChg>
      <pc:sldChg chg="del">
        <pc:chgData name="GUILLERME, Alexandre" userId="ea1c6976-b45d-4181-9324-3cd9e1255583" providerId="ADAL" clId="{5E666AAA-B3B8-4E21-BFAC-814441B2586C}" dt="2024-05-31T09:49:43.234" v="2" actId="47"/>
        <pc:sldMkLst>
          <pc:docMk/>
          <pc:sldMk cId="3824454684" sldId="2147481417"/>
        </pc:sldMkLst>
      </pc:sldChg>
      <pc:sldChg chg="del">
        <pc:chgData name="GUILLERME, Alexandre" userId="ea1c6976-b45d-4181-9324-3cd9e1255583" providerId="ADAL" clId="{5E666AAA-B3B8-4E21-BFAC-814441B2586C}" dt="2024-05-31T09:49:43.234" v="2" actId="47"/>
        <pc:sldMkLst>
          <pc:docMk/>
          <pc:sldMk cId="4101049482" sldId="2147481418"/>
        </pc:sldMkLst>
      </pc:sldChg>
      <pc:sldChg chg="del">
        <pc:chgData name="GUILLERME, Alexandre" userId="ea1c6976-b45d-4181-9324-3cd9e1255583" providerId="ADAL" clId="{5E666AAA-B3B8-4E21-BFAC-814441B2586C}" dt="2024-05-31T09:49:43.234" v="2" actId="47"/>
        <pc:sldMkLst>
          <pc:docMk/>
          <pc:sldMk cId="2657418220" sldId="2147481419"/>
        </pc:sldMkLst>
      </pc:sldChg>
      <pc:sldChg chg="del">
        <pc:chgData name="GUILLERME, Alexandre" userId="ea1c6976-b45d-4181-9324-3cd9e1255583" providerId="ADAL" clId="{5E666AAA-B3B8-4E21-BFAC-814441B2586C}" dt="2024-05-31T09:49:43.234" v="2" actId="47"/>
        <pc:sldMkLst>
          <pc:docMk/>
          <pc:sldMk cId="1701558007" sldId="2147481420"/>
        </pc:sldMkLst>
      </pc:sldChg>
      <pc:sldChg chg="del">
        <pc:chgData name="GUILLERME, Alexandre" userId="ea1c6976-b45d-4181-9324-3cd9e1255583" providerId="ADAL" clId="{5E666AAA-B3B8-4E21-BFAC-814441B2586C}" dt="2024-05-31T09:50:00.449" v="10" actId="47"/>
        <pc:sldMkLst>
          <pc:docMk/>
          <pc:sldMk cId="3743531163" sldId="2147481425"/>
        </pc:sldMkLst>
      </pc:sldChg>
      <pc:sldChg chg="del">
        <pc:chgData name="GUILLERME, Alexandre" userId="ea1c6976-b45d-4181-9324-3cd9e1255583" providerId="ADAL" clId="{5E666AAA-B3B8-4E21-BFAC-814441B2586C}" dt="2024-05-31T09:49:49.293" v="6" actId="47"/>
        <pc:sldMkLst>
          <pc:docMk/>
          <pc:sldMk cId="1486632925" sldId="2147481426"/>
        </pc:sldMkLst>
      </pc:sldChg>
      <pc:sldChg chg="del">
        <pc:chgData name="GUILLERME, Alexandre" userId="ea1c6976-b45d-4181-9324-3cd9e1255583" providerId="ADAL" clId="{5E666AAA-B3B8-4E21-BFAC-814441B2586C}" dt="2024-05-31T09:50:01.534" v="11" actId="47"/>
        <pc:sldMkLst>
          <pc:docMk/>
          <pc:sldMk cId="2122418686" sldId="2147481429"/>
        </pc:sldMkLst>
      </pc:sldChg>
      <pc:sldChg chg="del">
        <pc:chgData name="GUILLERME, Alexandre" userId="ea1c6976-b45d-4181-9324-3cd9e1255583" providerId="ADAL" clId="{5E666AAA-B3B8-4E21-BFAC-814441B2586C}" dt="2024-05-31T09:50:02.746" v="12" actId="47"/>
        <pc:sldMkLst>
          <pc:docMk/>
          <pc:sldMk cId="484667238" sldId="2147481430"/>
        </pc:sldMkLst>
      </pc:sldChg>
      <pc:sldChg chg="add del">
        <pc:chgData name="GUILLERME, Alexandre" userId="ea1c6976-b45d-4181-9324-3cd9e1255583" providerId="ADAL" clId="{5E666AAA-B3B8-4E21-BFAC-814441B2586C}" dt="2024-05-31T09:50:54.385" v="16"/>
        <pc:sldMkLst>
          <pc:docMk/>
          <pc:sldMk cId="3168027292" sldId="2147481431"/>
        </pc:sldMkLst>
      </pc:sldChg>
      <pc:sldChg chg="add del">
        <pc:chgData name="GUILLERME, Alexandre" userId="ea1c6976-b45d-4181-9324-3cd9e1255583" providerId="ADAL" clId="{5E666AAA-B3B8-4E21-BFAC-814441B2586C}" dt="2024-05-31T09:50:54.385" v="16"/>
        <pc:sldMkLst>
          <pc:docMk/>
          <pc:sldMk cId="3610923720" sldId="2147481432"/>
        </pc:sldMkLst>
      </pc:sldChg>
      <pc:sldChg chg="add del">
        <pc:chgData name="GUILLERME, Alexandre" userId="ea1c6976-b45d-4181-9324-3cd9e1255583" providerId="ADAL" clId="{5E666AAA-B3B8-4E21-BFAC-814441B2586C}" dt="2024-05-31T09:50:54.385" v="16"/>
        <pc:sldMkLst>
          <pc:docMk/>
          <pc:sldMk cId="1531125760" sldId="2147481433"/>
        </pc:sldMkLst>
      </pc:sldChg>
      <pc:sldChg chg="add del">
        <pc:chgData name="GUILLERME, Alexandre" userId="ea1c6976-b45d-4181-9324-3cd9e1255583" providerId="ADAL" clId="{5E666AAA-B3B8-4E21-BFAC-814441B2586C}" dt="2024-05-31T09:50:54.385" v="16"/>
        <pc:sldMkLst>
          <pc:docMk/>
          <pc:sldMk cId="2872751103" sldId="2147481434"/>
        </pc:sldMkLst>
      </pc:sldChg>
      <pc:sldChg chg="del">
        <pc:chgData name="GUILLERME, Alexandre" userId="ea1c6976-b45d-4181-9324-3cd9e1255583" providerId="ADAL" clId="{5E666AAA-B3B8-4E21-BFAC-814441B2586C}" dt="2024-05-31T09:49:43.234" v="2" actId="47"/>
        <pc:sldMkLst>
          <pc:docMk/>
          <pc:sldMk cId="2410083233" sldId="2147481435"/>
        </pc:sldMkLst>
      </pc:sldChg>
      <pc:sldChg chg="del">
        <pc:chgData name="GUILLERME, Alexandre" userId="ea1c6976-b45d-4181-9324-3cd9e1255583" providerId="ADAL" clId="{5E666AAA-B3B8-4E21-BFAC-814441B2586C}" dt="2024-05-31T09:49:44.224" v="3" actId="47"/>
        <pc:sldMkLst>
          <pc:docMk/>
          <pc:sldMk cId="2390705556" sldId="2147481436"/>
        </pc:sldMkLst>
      </pc:sldChg>
      <pc:sldChg chg="del">
        <pc:chgData name="GUILLERME, Alexandre" userId="ea1c6976-b45d-4181-9324-3cd9e1255583" providerId="ADAL" clId="{5E666AAA-B3B8-4E21-BFAC-814441B2586C}" dt="2024-05-31T09:50:02.746" v="12" actId="47"/>
        <pc:sldMkLst>
          <pc:docMk/>
          <pc:sldMk cId="1510124791" sldId="2147481440"/>
        </pc:sldMkLst>
      </pc:sldChg>
      <pc:sldChg chg="del">
        <pc:chgData name="GUILLERME, Alexandre" userId="ea1c6976-b45d-4181-9324-3cd9e1255583" providerId="ADAL" clId="{5E666AAA-B3B8-4E21-BFAC-814441B2586C}" dt="2024-05-31T09:50:01.534" v="11" actId="47"/>
        <pc:sldMkLst>
          <pc:docMk/>
          <pc:sldMk cId="288322715" sldId="2147481443"/>
        </pc:sldMkLst>
      </pc:sldChg>
      <pc:sldChg chg="del">
        <pc:chgData name="GUILLERME, Alexandre" userId="ea1c6976-b45d-4181-9324-3cd9e1255583" providerId="ADAL" clId="{5E666AAA-B3B8-4E21-BFAC-814441B2586C}" dt="2024-05-31T09:50:01.534" v="11" actId="47"/>
        <pc:sldMkLst>
          <pc:docMk/>
          <pc:sldMk cId="1983833391" sldId="2147481445"/>
        </pc:sldMkLst>
      </pc:sldChg>
      <pc:sldChg chg="del">
        <pc:chgData name="GUILLERME, Alexandre" userId="ea1c6976-b45d-4181-9324-3cd9e1255583" providerId="ADAL" clId="{5E666AAA-B3B8-4E21-BFAC-814441B2586C}" dt="2024-05-31T09:49:48.247" v="5" actId="47"/>
        <pc:sldMkLst>
          <pc:docMk/>
          <pc:sldMk cId="1228357790" sldId="2147481451"/>
        </pc:sldMkLst>
      </pc:sldChg>
      <pc:sldChg chg="add del">
        <pc:chgData name="GUILLERME, Alexandre" userId="ea1c6976-b45d-4181-9324-3cd9e1255583" providerId="ADAL" clId="{5E666AAA-B3B8-4E21-BFAC-814441B2586C}" dt="2024-05-31T09:50:54.385" v="16"/>
        <pc:sldMkLst>
          <pc:docMk/>
          <pc:sldMk cId="3660349666" sldId="2147481453"/>
        </pc:sldMkLst>
      </pc:sldChg>
      <pc:sldChg chg="del">
        <pc:chgData name="GUILLERME, Alexandre" userId="ea1c6976-b45d-4181-9324-3cd9e1255583" providerId="ADAL" clId="{5E666AAA-B3B8-4E21-BFAC-814441B2586C}" dt="2024-05-31T09:49:48.247" v="5" actId="47"/>
        <pc:sldMkLst>
          <pc:docMk/>
          <pc:sldMk cId="1203554301" sldId="2147481457"/>
        </pc:sldMkLst>
      </pc:sldChg>
      <pc:sldChg chg="del">
        <pc:chgData name="GUILLERME, Alexandre" userId="ea1c6976-b45d-4181-9324-3cd9e1255583" providerId="ADAL" clId="{5E666AAA-B3B8-4E21-BFAC-814441B2586C}" dt="2024-05-31T09:49:48.247" v="5" actId="47"/>
        <pc:sldMkLst>
          <pc:docMk/>
          <pc:sldMk cId="2310254202" sldId="2147481458"/>
        </pc:sldMkLst>
      </pc:sldChg>
      <pc:sldChg chg="del">
        <pc:chgData name="GUILLERME, Alexandre" userId="ea1c6976-b45d-4181-9324-3cd9e1255583" providerId="ADAL" clId="{5E666AAA-B3B8-4E21-BFAC-814441B2586C}" dt="2024-05-31T09:49:49.293" v="6" actId="47"/>
        <pc:sldMkLst>
          <pc:docMk/>
          <pc:sldMk cId="13073656" sldId="2147481459"/>
        </pc:sldMkLst>
      </pc:sldChg>
      <pc:sldChg chg="del">
        <pc:chgData name="GUILLERME, Alexandre" userId="ea1c6976-b45d-4181-9324-3cd9e1255583" providerId="ADAL" clId="{5E666AAA-B3B8-4E21-BFAC-814441B2586C}" dt="2024-05-31T09:49:48.247" v="5" actId="47"/>
        <pc:sldMkLst>
          <pc:docMk/>
          <pc:sldMk cId="1582801622" sldId="2147481462"/>
        </pc:sldMkLst>
      </pc:sldChg>
      <pc:sldChg chg="del">
        <pc:chgData name="GUILLERME, Alexandre" userId="ea1c6976-b45d-4181-9324-3cd9e1255583" providerId="ADAL" clId="{5E666AAA-B3B8-4E21-BFAC-814441B2586C}" dt="2024-05-31T09:49:48.247" v="5" actId="47"/>
        <pc:sldMkLst>
          <pc:docMk/>
          <pc:sldMk cId="277193703" sldId="2147481463"/>
        </pc:sldMkLst>
      </pc:sldChg>
      <pc:sldChg chg="del">
        <pc:chgData name="GUILLERME, Alexandre" userId="ea1c6976-b45d-4181-9324-3cd9e1255583" providerId="ADAL" clId="{5E666AAA-B3B8-4E21-BFAC-814441B2586C}" dt="2024-05-31T09:49:40.941" v="0" actId="47"/>
        <pc:sldMkLst>
          <pc:docMk/>
          <pc:sldMk cId="4251552819" sldId="2147481466"/>
        </pc:sldMkLst>
      </pc:sldChg>
      <pc:sldChg chg="del">
        <pc:chgData name="GUILLERME, Alexandre" userId="ea1c6976-b45d-4181-9324-3cd9e1255583" providerId="ADAL" clId="{5E666AAA-B3B8-4E21-BFAC-814441B2586C}" dt="2024-05-31T09:49:48.247" v="5" actId="47"/>
        <pc:sldMkLst>
          <pc:docMk/>
          <pc:sldMk cId="2610313471" sldId="2147481468"/>
        </pc:sldMkLst>
      </pc:sldChg>
      <pc:sldChg chg="del">
        <pc:chgData name="GUILLERME, Alexandre" userId="ea1c6976-b45d-4181-9324-3cd9e1255583" providerId="ADAL" clId="{5E666AAA-B3B8-4E21-BFAC-814441B2586C}" dt="2024-05-31T09:49:54.364" v="8" actId="47"/>
        <pc:sldMkLst>
          <pc:docMk/>
          <pc:sldMk cId="3767276350" sldId="2147481469"/>
        </pc:sldMkLst>
      </pc:sldChg>
      <pc:sldChg chg="del">
        <pc:chgData name="GUILLERME, Alexandre" userId="ea1c6976-b45d-4181-9324-3cd9e1255583" providerId="ADAL" clId="{5E666AAA-B3B8-4E21-BFAC-814441B2586C}" dt="2024-05-31T09:49:55.001" v="9" actId="47"/>
        <pc:sldMkLst>
          <pc:docMk/>
          <pc:sldMk cId="3821220696" sldId="2147481470"/>
        </pc:sldMkLst>
      </pc:sldChg>
      <pc:sldChg chg="del">
        <pc:chgData name="GUILLERME, Alexandre" userId="ea1c6976-b45d-4181-9324-3cd9e1255583" providerId="ADAL" clId="{5E666AAA-B3B8-4E21-BFAC-814441B2586C}" dt="2024-05-31T09:49:40.941" v="0" actId="47"/>
        <pc:sldMkLst>
          <pc:docMk/>
          <pc:sldMk cId="1987958293" sldId="2147481475"/>
        </pc:sldMkLst>
      </pc:sldChg>
      <pc:sldChg chg="add del">
        <pc:chgData name="GUILLERME, Alexandre" userId="ea1c6976-b45d-4181-9324-3cd9e1255583" providerId="ADAL" clId="{5E666AAA-B3B8-4E21-BFAC-814441B2586C}" dt="2024-05-31T09:50:54.385" v="16"/>
        <pc:sldMkLst>
          <pc:docMk/>
          <pc:sldMk cId="4054122257" sldId="2147481485"/>
        </pc:sldMkLst>
      </pc:sldChg>
      <pc:sldChg chg="del">
        <pc:chgData name="GUILLERME, Alexandre" userId="ea1c6976-b45d-4181-9324-3cd9e1255583" providerId="ADAL" clId="{5E666AAA-B3B8-4E21-BFAC-814441B2586C}" dt="2024-05-31T09:50:02.746" v="12" actId="47"/>
        <pc:sldMkLst>
          <pc:docMk/>
          <pc:sldMk cId="3841549454" sldId="2147481487"/>
        </pc:sldMkLst>
      </pc:sldChg>
      <pc:sldChg chg="del">
        <pc:chgData name="GUILLERME, Alexandre" userId="ea1c6976-b45d-4181-9324-3cd9e1255583" providerId="ADAL" clId="{5E666AAA-B3B8-4E21-BFAC-814441B2586C}" dt="2024-05-31T09:49:50.319" v="7" actId="47"/>
        <pc:sldMkLst>
          <pc:docMk/>
          <pc:sldMk cId="2803579720" sldId="2147481488"/>
        </pc:sldMkLst>
      </pc:sldChg>
      <pc:sldChg chg="del">
        <pc:chgData name="GUILLERME, Alexandre" userId="ea1c6976-b45d-4181-9324-3cd9e1255583" providerId="ADAL" clId="{5E666AAA-B3B8-4E21-BFAC-814441B2586C}" dt="2024-05-31T09:49:42.354" v="1" actId="47"/>
        <pc:sldMkLst>
          <pc:docMk/>
          <pc:sldMk cId="1786172485" sldId="2147481489"/>
        </pc:sldMkLst>
      </pc:sldChg>
      <pc:sldChg chg="del">
        <pc:chgData name="GUILLERME, Alexandre" userId="ea1c6976-b45d-4181-9324-3cd9e1255583" providerId="ADAL" clId="{5E666AAA-B3B8-4E21-BFAC-814441B2586C}" dt="2024-05-31T09:49:43.234" v="2" actId="47"/>
        <pc:sldMkLst>
          <pc:docMk/>
          <pc:sldMk cId="3717505289" sldId="2147481490"/>
        </pc:sldMkLst>
      </pc:sldChg>
      <pc:sldChg chg="del">
        <pc:chgData name="GUILLERME, Alexandre" userId="ea1c6976-b45d-4181-9324-3cd9e1255583" providerId="ADAL" clId="{5E666AAA-B3B8-4E21-BFAC-814441B2586C}" dt="2024-05-31T09:49:43.234" v="2" actId="47"/>
        <pc:sldMkLst>
          <pc:docMk/>
          <pc:sldMk cId="1453045096" sldId="2147481491"/>
        </pc:sldMkLst>
      </pc:sldChg>
      <pc:sldChg chg="del">
        <pc:chgData name="GUILLERME, Alexandre" userId="ea1c6976-b45d-4181-9324-3cd9e1255583" providerId="ADAL" clId="{5E666AAA-B3B8-4E21-BFAC-814441B2586C}" dt="2024-05-31T09:49:43.234" v="2" actId="47"/>
        <pc:sldMkLst>
          <pc:docMk/>
          <pc:sldMk cId="2210762901" sldId="2147481492"/>
        </pc:sldMkLst>
      </pc:sldChg>
      <pc:sldChg chg="del">
        <pc:chgData name="GUILLERME, Alexandre" userId="ea1c6976-b45d-4181-9324-3cd9e1255583" providerId="ADAL" clId="{5E666AAA-B3B8-4E21-BFAC-814441B2586C}" dt="2024-05-31T09:50:03.770" v="13" actId="47"/>
        <pc:sldMkLst>
          <pc:docMk/>
          <pc:sldMk cId="3796569287" sldId="2147481500"/>
        </pc:sldMkLst>
      </pc:sldChg>
      <pc:sldChg chg="del">
        <pc:chgData name="GUILLERME, Alexandre" userId="ea1c6976-b45d-4181-9324-3cd9e1255583" providerId="ADAL" clId="{5E666AAA-B3B8-4E21-BFAC-814441B2586C}" dt="2024-05-31T09:50:03.770" v="13" actId="47"/>
        <pc:sldMkLst>
          <pc:docMk/>
          <pc:sldMk cId="3282809073" sldId="2147481501"/>
        </pc:sldMkLst>
      </pc:sldChg>
      <pc:sldChg chg="del">
        <pc:chgData name="GUILLERME, Alexandre" userId="ea1c6976-b45d-4181-9324-3cd9e1255583" providerId="ADAL" clId="{5E666AAA-B3B8-4E21-BFAC-814441B2586C}" dt="2024-05-31T09:50:03.770" v="13" actId="47"/>
        <pc:sldMkLst>
          <pc:docMk/>
          <pc:sldMk cId="2174894881" sldId="2147481502"/>
        </pc:sldMkLst>
      </pc:sldChg>
      <pc:sldChg chg="del">
        <pc:chgData name="GUILLERME, Alexandre" userId="ea1c6976-b45d-4181-9324-3cd9e1255583" providerId="ADAL" clId="{5E666AAA-B3B8-4E21-BFAC-814441B2586C}" dt="2024-05-31T09:50:01.534" v="11" actId="47"/>
        <pc:sldMkLst>
          <pc:docMk/>
          <pc:sldMk cId="19703441" sldId="2147481503"/>
        </pc:sldMkLst>
      </pc:sldChg>
      <pc:sldChg chg="del">
        <pc:chgData name="GUILLERME, Alexandre" userId="ea1c6976-b45d-4181-9324-3cd9e1255583" providerId="ADAL" clId="{5E666AAA-B3B8-4E21-BFAC-814441B2586C}" dt="2024-05-31T09:50:01.534" v="11" actId="47"/>
        <pc:sldMkLst>
          <pc:docMk/>
          <pc:sldMk cId="3365737955" sldId="2147481504"/>
        </pc:sldMkLst>
      </pc:sldChg>
      <pc:sldMasterChg chg="delSldLayout">
        <pc:chgData name="GUILLERME, Alexandre" userId="ea1c6976-b45d-4181-9324-3cd9e1255583" providerId="ADAL" clId="{5E666AAA-B3B8-4E21-BFAC-814441B2586C}" dt="2024-05-31T09:49:48.247" v="5" actId="47"/>
        <pc:sldMasterMkLst>
          <pc:docMk/>
          <pc:sldMasterMk cId="3148905397" sldId="2147483899"/>
        </pc:sldMasterMkLst>
        <pc:sldLayoutChg chg="del">
          <pc:chgData name="GUILLERME, Alexandre" userId="ea1c6976-b45d-4181-9324-3cd9e1255583" providerId="ADAL" clId="{5E666AAA-B3B8-4E21-BFAC-814441B2586C}" dt="2024-05-31T09:49:48.247" v="5" actId="47"/>
          <pc:sldLayoutMkLst>
            <pc:docMk/>
            <pc:sldMasterMk cId="3148905397" sldId="2147483899"/>
            <pc:sldLayoutMk cId="1051648664" sldId="2147484265"/>
          </pc:sldLayoutMkLst>
        </pc:sldLayoutChg>
      </pc:sldMasterChg>
    </pc:docChg>
  </pc:docChgLst>
  <pc:docChgLst>
    <pc:chgData name="EL OUAFI, Yassine" userId="ebf46a3f-d7db-4ed4-8257-43405e176393" providerId="ADAL" clId="{765F10C5-42F9-4805-9BC6-4F07EC3BD235}"/>
    <pc:docChg chg="undo custSel addSld modSld modSection replTag">
      <pc:chgData name="EL OUAFI, Yassine" userId="ebf46a3f-d7db-4ed4-8257-43405e176393" providerId="ADAL" clId="{765F10C5-42F9-4805-9BC6-4F07EC3BD235}" dt="2024-02-16T14:31:35.621" v="1989" actId="20577"/>
      <pc:docMkLst>
        <pc:docMk/>
      </pc:docMkLst>
      <pc:sldChg chg="modSp mod">
        <pc:chgData name="EL OUAFI, Yassine" userId="ebf46a3f-d7db-4ed4-8257-43405e176393" providerId="ADAL" clId="{765F10C5-42F9-4805-9BC6-4F07EC3BD235}" dt="2024-02-08T15:57:25.361" v="878" actId="1076"/>
        <pc:sldMkLst>
          <pc:docMk/>
          <pc:sldMk cId="2758980206" sldId="2147478770"/>
        </pc:sldMkLst>
        <pc:spChg chg="mod">
          <ac:chgData name="EL OUAFI, Yassine" userId="ebf46a3f-d7db-4ed4-8257-43405e176393" providerId="ADAL" clId="{765F10C5-42F9-4805-9BC6-4F07EC3BD235}" dt="2024-02-08T15:57:25.361" v="878" actId="1076"/>
          <ac:spMkLst>
            <pc:docMk/>
            <pc:sldMk cId="2758980206" sldId="2147478770"/>
            <ac:spMk id="5" creationId="{9662650D-FBF1-116B-70A8-9975FA62FEF4}"/>
          </ac:spMkLst>
        </pc:spChg>
      </pc:sldChg>
      <pc:sldChg chg="addSp modSp mod">
        <pc:chgData name="EL OUAFI, Yassine" userId="ebf46a3f-d7db-4ed4-8257-43405e176393" providerId="ADAL" clId="{765F10C5-42F9-4805-9BC6-4F07EC3BD235}" dt="2024-02-16T14:31:35.621" v="1989" actId="20577"/>
        <pc:sldMkLst>
          <pc:docMk/>
          <pc:sldMk cId="2718247569" sldId="2147481401"/>
        </pc:sldMkLst>
        <pc:spChg chg="mod">
          <ac:chgData name="EL OUAFI, Yassine" userId="ebf46a3f-d7db-4ed4-8257-43405e176393" providerId="ADAL" clId="{765F10C5-42F9-4805-9BC6-4F07EC3BD235}" dt="2024-02-16T14:26:27.603" v="1391" actId="1076"/>
          <ac:spMkLst>
            <pc:docMk/>
            <pc:sldMk cId="2718247569" sldId="2147481401"/>
            <ac:spMk id="4" creationId="{DAE16798-D8DF-1B41-F81F-FC82264B23D1}"/>
          </ac:spMkLst>
        </pc:spChg>
        <pc:spChg chg="add mod">
          <ac:chgData name="EL OUAFI, Yassine" userId="ebf46a3f-d7db-4ed4-8257-43405e176393" providerId="ADAL" clId="{765F10C5-42F9-4805-9BC6-4F07EC3BD235}" dt="2024-02-16T14:30:48.876" v="1865" actId="20577"/>
          <ac:spMkLst>
            <pc:docMk/>
            <pc:sldMk cId="2718247569" sldId="2147481401"/>
            <ac:spMk id="7" creationId="{49ADEC3A-DC5A-84D7-6B36-514A9F8F4232}"/>
          </ac:spMkLst>
        </pc:spChg>
        <pc:spChg chg="add mod">
          <ac:chgData name="EL OUAFI, Yassine" userId="ebf46a3f-d7db-4ed4-8257-43405e176393" providerId="ADAL" clId="{765F10C5-42F9-4805-9BC6-4F07EC3BD235}" dt="2024-02-16T14:31:35.621" v="1989" actId="20577"/>
          <ac:spMkLst>
            <pc:docMk/>
            <pc:sldMk cId="2718247569" sldId="2147481401"/>
            <ac:spMk id="8" creationId="{570DB14C-EC77-9285-F49E-D2D3FB6838EC}"/>
          </ac:spMkLst>
        </pc:spChg>
      </pc:sldChg>
      <pc:sldChg chg="addSp delSp modSp new mod">
        <pc:chgData name="EL OUAFI, Yassine" userId="ebf46a3f-d7db-4ed4-8257-43405e176393" providerId="ADAL" clId="{765F10C5-42F9-4805-9BC6-4F07EC3BD235}" dt="2024-02-16T14:29:28.059" v="1715" actId="1076"/>
        <pc:sldMkLst>
          <pc:docMk/>
          <pc:sldMk cId="3229574289" sldId="2147481407"/>
        </pc:sldMkLst>
        <pc:spChg chg="del mod">
          <ac:chgData name="EL OUAFI, Yassine" userId="ebf46a3f-d7db-4ed4-8257-43405e176393" providerId="ADAL" clId="{765F10C5-42F9-4805-9BC6-4F07EC3BD235}" dt="2024-02-16T14:20:57.246" v="1116" actId="478"/>
          <ac:spMkLst>
            <pc:docMk/>
            <pc:sldMk cId="3229574289" sldId="2147481407"/>
            <ac:spMk id="2" creationId="{12376AD4-AE2C-FB90-DF1B-26DC878EC607}"/>
          </ac:spMkLst>
        </pc:spChg>
        <pc:spChg chg="mod ord">
          <ac:chgData name="EL OUAFI, Yassine" userId="ebf46a3f-d7db-4ed4-8257-43405e176393" providerId="ADAL" clId="{765F10C5-42F9-4805-9BC6-4F07EC3BD235}" dt="2024-02-16T14:29:18.931" v="1673"/>
          <ac:spMkLst>
            <pc:docMk/>
            <pc:sldMk cId="3229574289" sldId="2147481407"/>
            <ac:spMk id="3" creationId="{5A867CAE-EEDF-A2ED-763A-4EFFB01E95E4}"/>
          </ac:spMkLst>
        </pc:spChg>
        <pc:spChg chg="add del mod modVis">
          <ac:chgData name="EL OUAFI, Yassine" userId="ebf46a3f-d7db-4ed4-8257-43405e176393" providerId="ADAL" clId="{765F10C5-42F9-4805-9BC6-4F07EC3BD235}" dt="2024-02-16T14:20:40.167" v="921"/>
          <ac:spMkLst>
            <pc:docMk/>
            <pc:sldMk cId="3229574289" sldId="2147481407"/>
            <ac:spMk id="4" creationId="{749AB514-4022-779B-84A2-29EA72C785E5}"/>
          </ac:spMkLst>
        </pc:spChg>
        <pc:spChg chg="add del mod modVis">
          <ac:chgData name="EL OUAFI, Yassine" userId="ebf46a3f-d7db-4ed4-8257-43405e176393" providerId="ADAL" clId="{765F10C5-42F9-4805-9BC6-4F07EC3BD235}" dt="2024-02-16T14:20:40.984" v="963"/>
          <ac:spMkLst>
            <pc:docMk/>
            <pc:sldMk cId="3229574289" sldId="2147481407"/>
            <ac:spMk id="6" creationId="{6941C977-2D59-9A97-B454-DBF69C833728}"/>
          </ac:spMkLst>
        </pc:spChg>
        <pc:spChg chg="add del mod modVis">
          <ac:chgData name="EL OUAFI, Yassine" userId="ebf46a3f-d7db-4ed4-8257-43405e176393" providerId="ADAL" clId="{765F10C5-42F9-4805-9BC6-4F07EC3BD235}" dt="2024-02-16T14:20:43.573" v="1002"/>
          <ac:spMkLst>
            <pc:docMk/>
            <pc:sldMk cId="3229574289" sldId="2147481407"/>
            <ac:spMk id="7" creationId="{BACFCA3D-2164-9719-5837-6442614420EF}"/>
          </ac:spMkLst>
        </pc:spChg>
        <pc:spChg chg="add del mod modVis">
          <ac:chgData name="EL OUAFI, Yassine" userId="ebf46a3f-d7db-4ed4-8257-43405e176393" providerId="ADAL" clId="{765F10C5-42F9-4805-9BC6-4F07EC3BD235}" dt="2024-02-16T14:20:44.867" v="1033"/>
          <ac:spMkLst>
            <pc:docMk/>
            <pc:sldMk cId="3229574289" sldId="2147481407"/>
            <ac:spMk id="8" creationId="{CD830794-F6FC-0E11-5BF6-AA97FFDB2F67}"/>
          </ac:spMkLst>
        </pc:spChg>
        <pc:spChg chg="add del mod modVis">
          <ac:chgData name="EL OUAFI, Yassine" userId="ebf46a3f-d7db-4ed4-8257-43405e176393" providerId="ADAL" clId="{765F10C5-42F9-4805-9BC6-4F07EC3BD235}" dt="2024-02-16T14:20:46.059" v="1063"/>
          <ac:spMkLst>
            <pc:docMk/>
            <pc:sldMk cId="3229574289" sldId="2147481407"/>
            <ac:spMk id="9" creationId="{97C0C06F-6A29-3D8E-CCFD-5B6CACB08F19}"/>
          </ac:spMkLst>
        </pc:spChg>
        <pc:spChg chg="add del mod modVis">
          <ac:chgData name="EL OUAFI, Yassine" userId="ebf46a3f-d7db-4ed4-8257-43405e176393" providerId="ADAL" clId="{765F10C5-42F9-4805-9BC6-4F07EC3BD235}" dt="2024-02-16T14:20:54.904" v="1112"/>
          <ac:spMkLst>
            <pc:docMk/>
            <pc:sldMk cId="3229574289" sldId="2147481407"/>
            <ac:spMk id="10" creationId="{17BC920F-32A6-3D44-4E16-0E968952D99F}"/>
          </ac:spMkLst>
        </pc:spChg>
        <pc:spChg chg="add mod ord">
          <ac:chgData name="EL OUAFI, Yassine" userId="ebf46a3f-d7db-4ed4-8257-43405e176393" providerId="ADAL" clId="{765F10C5-42F9-4805-9BC6-4F07EC3BD235}" dt="2024-02-16T14:29:18.931" v="1675"/>
          <ac:spMkLst>
            <pc:docMk/>
            <pc:sldMk cId="3229574289" sldId="2147481407"/>
            <ac:spMk id="11" creationId="{DFD60AA3-7163-8F8C-6930-CE2A340178CC}"/>
          </ac:spMkLst>
        </pc:spChg>
        <pc:spChg chg="add mod ord">
          <ac:chgData name="EL OUAFI, Yassine" userId="ebf46a3f-d7db-4ed4-8257-43405e176393" providerId="ADAL" clId="{765F10C5-42F9-4805-9BC6-4F07EC3BD235}" dt="2024-02-16T14:29:18.933" v="1677"/>
          <ac:spMkLst>
            <pc:docMk/>
            <pc:sldMk cId="3229574289" sldId="2147481407"/>
            <ac:spMk id="12" creationId="{A2A67988-C4C0-0DF5-30A6-77D4D1C69A4A}"/>
          </ac:spMkLst>
        </pc:spChg>
        <pc:spChg chg="add mod ord">
          <ac:chgData name="EL OUAFI, Yassine" userId="ebf46a3f-d7db-4ed4-8257-43405e176393" providerId="ADAL" clId="{765F10C5-42F9-4805-9BC6-4F07EC3BD235}" dt="2024-02-16T14:29:18.933" v="1679"/>
          <ac:spMkLst>
            <pc:docMk/>
            <pc:sldMk cId="3229574289" sldId="2147481407"/>
            <ac:spMk id="13" creationId="{51AFE131-101F-A2E3-C46F-A4A95232E73D}"/>
          </ac:spMkLst>
        </pc:spChg>
        <pc:spChg chg="add mod ord">
          <ac:chgData name="EL OUAFI, Yassine" userId="ebf46a3f-d7db-4ed4-8257-43405e176393" providerId="ADAL" clId="{765F10C5-42F9-4805-9BC6-4F07EC3BD235}" dt="2024-02-16T14:29:18.934" v="1681"/>
          <ac:spMkLst>
            <pc:docMk/>
            <pc:sldMk cId="3229574289" sldId="2147481407"/>
            <ac:spMk id="14" creationId="{8DE9EA27-C51A-63FC-6AF0-86CFCB4D2260}"/>
          </ac:spMkLst>
        </pc:spChg>
        <pc:spChg chg="add del mod">
          <ac:chgData name="EL OUAFI, Yassine" userId="ebf46a3f-d7db-4ed4-8257-43405e176393" providerId="ADAL" clId="{765F10C5-42F9-4805-9BC6-4F07EC3BD235}" dt="2024-02-16T14:21:51.965" v="1217"/>
          <ac:spMkLst>
            <pc:docMk/>
            <pc:sldMk cId="3229574289" sldId="2147481407"/>
            <ac:spMk id="15" creationId="{2CBBB162-6AE0-DCAB-A6FD-3FA0CA68A4A4}"/>
          </ac:spMkLst>
        </pc:spChg>
        <pc:spChg chg="add mod ord">
          <ac:chgData name="EL OUAFI, Yassine" userId="ebf46a3f-d7db-4ed4-8257-43405e176393" providerId="ADAL" clId="{765F10C5-42F9-4805-9BC6-4F07EC3BD235}" dt="2024-02-16T14:29:18.935" v="1683"/>
          <ac:spMkLst>
            <pc:docMk/>
            <pc:sldMk cId="3229574289" sldId="2147481407"/>
            <ac:spMk id="16" creationId="{BB73B6B9-465C-BC41-565B-6D6020B98A17}"/>
          </ac:spMkLst>
        </pc:spChg>
        <pc:spChg chg="add mod ord">
          <ac:chgData name="EL OUAFI, Yassine" userId="ebf46a3f-d7db-4ed4-8257-43405e176393" providerId="ADAL" clId="{765F10C5-42F9-4805-9BC6-4F07EC3BD235}" dt="2024-02-16T14:29:18.936" v="1685"/>
          <ac:spMkLst>
            <pc:docMk/>
            <pc:sldMk cId="3229574289" sldId="2147481407"/>
            <ac:spMk id="17" creationId="{664AB034-D760-1685-B9BB-F3D325E1B114}"/>
          </ac:spMkLst>
        </pc:spChg>
        <pc:spChg chg="add mod ord">
          <ac:chgData name="EL OUAFI, Yassine" userId="ebf46a3f-d7db-4ed4-8257-43405e176393" providerId="ADAL" clId="{765F10C5-42F9-4805-9BC6-4F07EC3BD235}" dt="2024-02-16T14:29:18.936" v="1687"/>
          <ac:spMkLst>
            <pc:docMk/>
            <pc:sldMk cId="3229574289" sldId="2147481407"/>
            <ac:spMk id="18" creationId="{FBCBA0FC-9991-AC0D-720B-AE92108ECB8E}"/>
          </ac:spMkLst>
        </pc:spChg>
        <pc:spChg chg="add mod ord">
          <ac:chgData name="EL OUAFI, Yassine" userId="ebf46a3f-d7db-4ed4-8257-43405e176393" providerId="ADAL" clId="{765F10C5-42F9-4805-9BC6-4F07EC3BD235}" dt="2024-02-16T14:29:18.937" v="1689"/>
          <ac:spMkLst>
            <pc:docMk/>
            <pc:sldMk cId="3229574289" sldId="2147481407"/>
            <ac:spMk id="19" creationId="{15E06606-FBC5-C64B-98C3-4DA94D73001B}"/>
          </ac:spMkLst>
        </pc:spChg>
        <pc:spChg chg="add mod ord">
          <ac:chgData name="EL OUAFI, Yassine" userId="ebf46a3f-d7db-4ed4-8257-43405e176393" providerId="ADAL" clId="{765F10C5-42F9-4805-9BC6-4F07EC3BD235}" dt="2024-02-16T14:29:18.937" v="1691"/>
          <ac:spMkLst>
            <pc:docMk/>
            <pc:sldMk cId="3229574289" sldId="2147481407"/>
            <ac:spMk id="21" creationId="{AC08AE0D-EB32-5E39-23A9-3FAC5C926E69}"/>
          </ac:spMkLst>
        </pc:spChg>
        <pc:spChg chg="add mod ord">
          <ac:chgData name="EL OUAFI, Yassine" userId="ebf46a3f-d7db-4ed4-8257-43405e176393" providerId="ADAL" clId="{765F10C5-42F9-4805-9BC6-4F07EC3BD235}" dt="2024-02-16T14:29:18.938" v="1693"/>
          <ac:spMkLst>
            <pc:docMk/>
            <pc:sldMk cId="3229574289" sldId="2147481407"/>
            <ac:spMk id="22" creationId="{FF1D96E4-F743-88F7-CADF-D76D19C3CC69}"/>
          </ac:spMkLst>
        </pc:spChg>
        <pc:spChg chg="add mod ord">
          <ac:chgData name="EL OUAFI, Yassine" userId="ebf46a3f-d7db-4ed4-8257-43405e176393" providerId="ADAL" clId="{765F10C5-42F9-4805-9BC6-4F07EC3BD235}" dt="2024-02-16T14:29:18.939" v="1695"/>
          <ac:spMkLst>
            <pc:docMk/>
            <pc:sldMk cId="3229574289" sldId="2147481407"/>
            <ac:spMk id="23" creationId="{F0F33C1E-E2FB-BF7B-1D34-9716E86E9431}"/>
          </ac:spMkLst>
        </pc:spChg>
        <pc:spChg chg="add mod ord">
          <ac:chgData name="EL OUAFI, Yassine" userId="ebf46a3f-d7db-4ed4-8257-43405e176393" providerId="ADAL" clId="{765F10C5-42F9-4805-9BC6-4F07EC3BD235}" dt="2024-02-16T14:29:18.939" v="1697"/>
          <ac:spMkLst>
            <pc:docMk/>
            <pc:sldMk cId="3229574289" sldId="2147481407"/>
            <ac:spMk id="24" creationId="{D497DED2-593C-8454-75D7-40BEA43C5458}"/>
          </ac:spMkLst>
        </pc:spChg>
        <pc:spChg chg="add mod ord">
          <ac:chgData name="EL OUAFI, Yassine" userId="ebf46a3f-d7db-4ed4-8257-43405e176393" providerId="ADAL" clId="{765F10C5-42F9-4805-9BC6-4F07EC3BD235}" dt="2024-02-16T14:29:18.940" v="1699"/>
          <ac:spMkLst>
            <pc:docMk/>
            <pc:sldMk cId="3229574289" sldId="2147481407"/>
            <ac:spMk id="25" creationId="{A3112CCC-B059-F132-AD32-54E657C3C6EF}"/>
          </ac:spMkLst>
        </pc:spChg>
        <pc:spChg chg="add mod ord">
          <ac:chgData name="EL OUAFI, Yassine" userId="ebf46a3f-d7db-4ed4-8257-43405e176393" providerId="ADAL" clId="{765F10C5-42F9-4805-9BC6-4F07EC3BD235}" dt="2024-02-16T14:29:18.940" v="1701"/>
          <ac:spMkLst>
            <pc:docMk/>
            <pc:sldMk cId="3229574289" sldId="2147481407"/>
            <ac:spMk id="26" creationId="{3441102E-8C1F-8145-63C7-0EB0770925B2}"/>
          </ac:spMkLst>
        </pc:spChg>
        <pc:spChg chg="add mod ord">
          <ac:chgData name="EL OUAFI, Yassine" userId="ebf46a3f-d7db-4ed4-8257-43405e176393" providerId="ADAL" clId="{765F10C5-42F9-4805-9BC6-4F07EC3BD235}" dt="2024-02-16T14:29:18.941" v="1703"/>
          <ac:spMkLst>
            <pc:docMk/>
            <pc:sldMk cId="3229574289" sldId="2147481407"/>
            <ac:spMk id="27" creationId="{4730F30A-294A-267F-8736-1F4DE2368CFD}"/>
          </ac:spMkLst>
        </pc:spChg>
        <pc:spChg chg="add mod ord">
          <ac:chgData name="EL OUAFI, Yassine" userId="ebf46a3f-d7db-4ed4-8257-43405e176393" providerId="ADAL" clId="{765F10C5-42F9-4805-9BC6-4F07EC3BD235}" dt="2024-02-16T14:29:18.941" v="1705"/>
          <ac:spMkLst>
            <pc:docMk/>
            <pc:sldMk cId="3229574289" sldId="2147481407"/>
            <ac:spMk id="28" creationId="{B6A040AE-1902-0F6C-0CE3-B206E9F12B15}"/>
          </ac:spMkLst>
        </pc:spChg>
        <pc:graphicFrameChg chg="add mod ord modVis replST">
          <ac:chgData name="EL OUAFI, Yassine" userId="ebf46a3f-d7db-4ed4-8257-43405e176393" providerId="ADAL" clId="{765F10C5-42F9-4805-9BC6-4F07EC3BD235}" dt="2024-02-16T14:29:18.947" v="1711"/>
          <ac:graphicFrameMkLst>
            <pc:docMk/>
            <pc:sldMk cId="3229574289" sldId="2147481407"/>
            <ac:graphicFrameMk id="5" creationId="{C934459E-7DA4-7C30-D35D-6D82E5575C4E}"/>
          </ac:graphicFrameMkLst>
        </pc:graphicFrameChg>
        <pc:picChg chg="add mod ord">
          <ac:chgData name="EL OUAFI, Yassine" userId="ebf46a3f-d7db-4ed4-8257-43405e176393" providerId="ADAL" clId="{765F10C5-42F9-4805-9BC6-4F07EC3BD235}" dt="2024-02-16T14:29:28.059" v="1715" actId="1076"/>
          <ac:picMkLst>
            <pc:docMk/>
            <pc:sldMk cId="3229574289" sldId="2147481407"/>
            <ac:picMk id="20" creationId="{CA4DB497-8A61-AC97-0117-BA8EB5F3E3D7}"/>
          </ac:picMkLst>
        </pc:picChg>
      </pc:sldChg>
    </pc:docChg>
  </pc:docChgLst>
  <pc:docChgLst>
    <pc:chgData name="FEYEL, Aude" userId="dc6f8eef-acdf-41f6-8bfe-58ab96dca409" providerId="ADAL" clId="{65E2A10D-7C40-45DB-8DA1-7D68A3AA91DF}"/>
    <pc:docChg chg="undo custSel delSld modSld modSection">
      <pc:chgData name="FEYEL, Aude" userId="dc6f8eef-acdf-41f6-8bfe-58ab96dca409" providerId="ADAL" clId="{65E2A10D-7C40-45DB-8DA1-7D68A3AA91DF}" dt="2024-03-20T10:04:44.209" v="987" actId="14100"/>
      <pc:docMkLst>
        <pc:docMk/>
      </pc:docMkLst>
      <pc:sldChg chg="modSp mod">
        <pc:chgData name="FEYEL, Aude" userId="dc6f8eef-acdf-41f6-8bfe-58ab96dca409" providerId="ADAL" clId="{65E2A10D-7C40-45DB-8DA1-7D68A3AA91DF}" dt="2024-03-20T09:28:03.278" v="980" actId="2711"/>
        <pc:sldMkLst>
          <pc:docMk/>
          <pc:sldMk cId="3274350114" sldId="2808"/>
        </pc:sldMkLst>
        <pc:spChg chg="mod">
          <ac:chgData name="FEYEL, Aude" userId="dc6f8eef-acdf-41f6-8bfe-58ab96dca409" providerId="ADAL" clId="{65E2A10D-7C40-45DB-8DA1-7D68A3AA91DF}" dt="2024-03-20T09:28:03.278" v="980" actId="2711"/>
          <ac:spMkLst>
            <pc:docMk/>
            <pc:sldMk cId="3274350114" sldId="2808"/>
            <ac:spMk id="3" creationId="{363142DF-B80E-4FBB-9EAC-8137C251A0BE}"/>
          </ac:spMkLst>
        </pc:spChg>
        <pc:spChg chg="mod">
          <ac:chgData name="FEYEL, Aude" userId="dc6f8eef-acdf-41f6-8bfe-58ab96dca409" providerId="ADAL" clId="{65E2A10D-7C40-45DB-8DA1-7D68A3AA91DF}" dt="2024-03-20T09:28:03.278" v="980" actId="2711"/>
          <ac:spMkLst>
            <pc:docMk/>
            <pc:sldMk cId="3274350114" sldId="2808"/>
            <ac:spMk id="4" creationId="{37576E87-7B17-4AD0-AC5C-516A07A05EAA}"/>
          </ac:spMkLst>
        </pc:spChg>
        <pc:spChg chg="mod">
          <ac:chgData name="FEYEL, Aude" userId="dc6f8eef-acdf-41f6-8bfe-58ab96dca409" providerId="ADAL" clId="{65E2A10D-7C40-45DB-8DA1-7D68A3AA91DF}" dt="2024-03-20T09:28:03.278" v="980" actId="2711"/>
          <ac:spMkLst>
            <pc:docMk/>
            <pc:sldMk cId="3274350114" sldId="2808"/>
            <ac:spMk id="5" creationId="{38D634C2-EF97-4EC0-97B8-800E705B589A}"/>
          </ac:spMkLst>
        </pc:spChg>
        <pc:spChg chg="mod">
          <ac:chgData name="FEYEL, Aude" userId="dc6f8eef-acdf-41f6-8bfe-58ab96dca409" providerId="ADAL" clId="{65E2A10D-7C40-45DB-8DA1-7D68A3AA91DF}" dt="2024-03-20T09:28:03.278" v="980" actId="2711"/>
          <ac:spMkLst>
            <pc:docMk/>
            <pc:sldMk cId="3274350114" sldId="2808"/>
            <ac:spMk id="6" creationId="{293691E7-ACB2-4A5E-A6E1-46B79F6A00D3}"/>
          </ac:spMkLst>
        </pc:spChg>
        <pc:spChg chg="mod">
          <ac:chgData name="FEYEL, Aude" userId="dc6f8eef-acdf-41f6-8bfe-58ab96dca409" providerId="ADAL" clId="{65E2A10D-7C40-45DB-8DA1-7D68A3AA91DF}" dt="2024-03-20T09:28:03.278" v="980" actId="2711"/>
          <ac:spMkLst>
            <pc:docMk/>
            <pc:sldMk cId="3274350114" sldId="2808"/>
            <ac:spMk id="7" creationId="{25EB84A6-693C-4428-93C2-24830A0287A4}"/>
          </ac:spMkLst>
        </pc:spChg>
        <pc:spChg chg="mod">
          <ac:chgData name="FEYEL, Aude" userId="dc6f8eef-acdf-41f6-8bfe-58ab96dca409" providerId="ADAL" clId="{65E2A10D-7C40-45DB-8DA1-7D68A3AA91DF}" dt="2024-03-20T09:28:03.278" v="980" actId="2711"/>
          <ac:spMkLst>
            <pc:docMk/>
            <pc:sldMk cId="3274350114" sldId="2808"/>
            <ac:spMk id="8" creationId="{C7A98D2E-737F-44D5-891B-5A4B12478CE1}"/>
          </ac:spMkLst>
        </pc:spChg>
        <pc:spChg chg="mod">
          <ac:chgData name="FEYEL, Aude" userId="dc6f8eef-acdf-41f6-8bfe-58ab96dca409" providerId="ADAL" clId="{65E2A10D-7C40-45DB-8DA1-7D68A3AA91DF}" dt="2024-03-20T09:28:03.278" v="980" actId="2711"/>
          <ac:spMkLst>
            <pc:docMk/>
            <pc:sldMk cId="3274350114" sldId="2808"/>
            <ac:spMk id="9" creationId="{A34D00ED-1BE4-465A-83B3-33887F2999C5}"/>
          </ac:spMkLst>
        </pc:spChg>
        <pc:spChg chg="mod">
          <ac:chgData name="FEYEL, Aude" userId="dc6f8eef-acdf-41f6-8bfe-58ab96dca409" providerId="ADAL" clId="{65E2A10D-7C40-45DB-8DA1-7D68A3AA91DF}" dt="2024-03-20T09:28:03.278" v="980" actId="2711"/>
          <ac:spMkLst>
            <pc:docMk/>
            <pc:sldMk cId="3274350114" sldId="2808"/>
            <ac:spMk id="10" creationId="{AD93207C-2BDA-491B-AC25-94C7D96C4B70}"/>
          </ac:spMkLst>
        </pc:spChg>
        <pc:spChg chg="mod">
          <ac:chgData name="FEYEL, Aude" userId="dc6f8eef-acdf-41f6-8bfe-58ab96dca409" providerId="ADAL" clId="{65E2A10D-7C40-45DB-8DA1-7D68A3AA91DF}" dt="2024-03-20T09:28:03.278" v="980" actId="2711"/>
          <ac:spMkLst>
            <pc:docMk/>
            <pc:sldMk cId="3274350114" sldId="2808"/>
            <ac:spMk id="11" creationId="{F6615DA8-69FC-4F48-A3B9-F50AE717AB62}"/>
          </ac:spMkLst>
        </pc:spChg>
        <pc:spChg chg="mod">
          <ac:chgData name="FEYEL, Aude" userId="dc6f8eef-acdf-41f6-8bfe-58ab96dca409" providerId="ADAL" clId="{65E2A10D-7C40-45DB-8DA1-7D68A3AA91DF}" dt="2024-03-20T09:28:03.278" v="980" actId="2711"/>
          <ac:spMkLst>
            <pc:docMk/>
            <pc:sldMk cId="3274350114" sldId="2808"/>
            <ac:spMk id="12" creationId="{3B798A2A-0D02-4E8A-8441-A23F3AD1C8F0}"/>
          </ac:spMkLst>
        </pc:spChg>
        <pc:spChg chg="mod">
          <ac:chgData name="FEYEL, Aude" userId="dc6f8eef-acdf-41f6-8bfe-58ab96dca409" providerId="ADAL" clId="{65E2A10D-7C40-45DB-8DA1-7D68A3AA91DF}" dt="2024-03-20T09:28:03.278" v="980" actId="2711"/>
          <ac:spMkLst>
            <pc:docMk/>
            <pc:sldMk cId="3274350114" sldId="2808"/>
            <ac:spMk id="14" creationId="{22124BB7-6BD5-4EF0-BC3D-3DDA0E9FB12F}"/>
          </ac:spMkLst>
        </pc:spChg>
        <pc:spChg chg="mod">
          <ac:chgData name="FEYEL, Aude" userId="dc6f8eef-acdf-41f6-8bfe-58ab96dca409" providerId="ADAL" clId="{65E2A10D-7C40-45DB-8DA1-7D68A3AA91DF}" dt="2024-03-20T09:28:03.278" v="980" actId="2711"/>
          <ac:spMkLst>
            <pc:docMk/>
            <pc:sldMk cId="3274350114" sldId="2808"/>
            <ac:spMk id="15" creationId="{64AF0F6D-FB8D-4855-9012-700D73F3A72A}"/>
          </ac:spMkLst>
        </pc:spChg>
        <pc:spChg chg="mod">
          <ac:chgData name="FEYEL, Aude" userId="dc6f8eef-acdf-41f6-8bfe-58ab96dca409" providerId="ADAL" clId="{65E2A10D-7C40-45DB-8DA1-7D68A3AA91DF}" dt="2024-03-20T09:28:03.278" v="980" actId="2711"/>
          <ac:spMkLst>
            <pc:docMk/>
            <pc:sldMk cId="3274350114" sldId="2808"/>
            <ac:spMk id="16" creationId="{44946EF1-F5DE-40F0-B8FA-D79D1A612729}"/>
          </ac:spMkLst>
        </pc:spChg>
        <pc:spChg chg="mod">
          <ac:chgData name="FEYEL, Aude" userId="dc6f8eef-acdf-41f6-8bfe-58ab96dca409" providerId="ADAL" clId="{65E2A10D-7C40-45DB-8DA1-7D68A3AA91DF}" dt="2024-03-20T09:28:03.278" v="980" actId="2711"/>
          <ac:spMkLst>
            <pc:docMk/>
            <pc:sldMk cId="3274350114" sldId="2808"/>
            <ac:spMk id="17" creationId="{F8303BAB-2D8D-4576-95C6-BA5D8B708141}"/>
          </ac:spMkLst>
        </pc:spChg>
        <pc:spChg chg="mod">
          <ac:chgData name="FEYEL, Aude" userId="dc6f8eef-acdf-41f6-8bfe-58ab96dca409" providerId="ADAL" clId="{65E2A10D-7C40-45DB-8DA1-7D68A3AA91DF}" dt="2024-03-20T09:28:03.278" v="980" actId="2711"/>
          <ac:spMkLst>
            <pc:docMk/>
            <pc:sldMk cId="3274350114" sldId="2808"/>
            <ac:spMk id="18" creationId="{E0450B49-B33E-4E1F-BA2C-16C16D7AC895}"/>
          </ac:spMkLst>
        </pc:spChg>
        <pc:spChg chg="mod">
          <ac:chgData name="FEYEL, Aude" userId="dc6f8eef-acdf-41f6-8bfe-58ab96dca409" providerId="ADAL" clId="{65E2A10D-7C40-45DB-8DA1-7D68A3AA91DF}" dt="2024-03-20T09:28:03.278" v="980" actId="2711"/>
          <ac:spMkLst>
            <pc:docMk/>
            <pc:sldMk cId="3274350114" sldId="2808"/>
            <ac:spMk id="19" creationId="{50BE9952-07AC-4F9C-BF1F-137EBE6C2883}"/>
          </ac:spMkLst>
        </pc:spChg>
        <pc:spChg chg="mod">
          <ac:chgData name="FEYEL, Aude" userId="dc6f8eef-acdf-41f6-8bfe-58ab96dca409" providerId="ADAL" clId="{65E2A10D-7C40-45DB-8DA1-7D68A3AA91DF}" dt="2024-03-20T09:28:03.278" v="980" actId="2711"/>
          <ac:spMkLst>
            <pc:docMk/>
            <pc:sldMk cId="3274350114" sldId="2808"/>
            <ac:spMk id="20" creationId="{8D6E8A41-7C20-411C-B1C8-62E8E9518301}"/>
          </ac:spMkLst>
        </pc:spChg>
        <pc:spChg chg="mod">
          <ac:chgData name="FEYEL, Aude" userId="dc6f8eef-acdf-41f6-8bfe-58ab96dca409" providerId="ADAL" clId="{65E2A10D-7C40-45DB-8DA1-7D68A3AA91DF}" dt="2024-03-20T09:28:03.278" v="980" actId="2711"/>
          <ac:spMkLst>
            <pc:docMk/>
            <pc:sldMk cId="3274350114" sldId="2808"/>
            <ac:spMk id="21" creationId="{3ABDB1F6-DBD7-434B-BBA3-CEEA40FF2476}"/>
          </ac:spMkLst>
        </pc:spChg>
        <pc:spChg chg="mod">
          <ac:chgData name="FEYEL, Aude" userId="dc6f8eef-acdf-41f6-8bfe-58ab96dca409" providerId="ADAL" clId="{65E2A10D-7C40-45DB-8DA1-7D68A3AA91DF}" dt="2024-03-20T09:28:03.278" v="980" actId="2711"/>
          <ac:spMkLst>
            <pc:docMk/>
            <pc:sldMk cId="3274350114" sldId="2808"/>
            <ac:spMk id="29" creationId="{301F88A9-5019-4A83-A2AD-DDC63BEEDB32}"/>
          </ac:spMkLst>
        </pc:spChg>
        <pc:spChg chg="mod">
          <ac:chgData name="FEYEL, Aude" userId="dc6f8eef-acdf-41f6-8bfe-58ab96dca409" providerId="ADAL" clId="{65E2A10D-7C40-45DB-8DA1-7D68A3AA91DF}" dt="2024-03-20T09:28:03.278" v="980" actId="2711"/>
          <ac:spMkLst>
            <pc:docMk/>
            <pc:sldMk cId="3274350114" sldId="2808"/>
            <ac:spMk id="56" creationId="{C7E0FFE6-B94B-46AC-8728-48DF33F23B4B}"/>
          </ac:spMkLst>
        </pc:spChg>
        <pc:spChg chg="mod">
          <ac:chgData name="FEYEL, Aude" userId="dc6f8eef-acdf-41f6-8bfe-58ab96dca409" providerId="ADAL" clId="{65E2A10D-7C40-45DB-8DA1-7D68A3AA91DF}" dt="2024-03-20T09:28:03.278" v="980" actId="2711"/>
          <ac:spMkLst>
            <pc:docMk/>
            <pc:sldMk cId="3274350114" sldId="2808"/>
            <ac:spMk id="60" creationId="{63F57957-B8EB-421C-8776-4086F5AEEC93}"/>
          </ac:spMkLst>
        </pc:spChg>
        <pc:spChg chg="mod">
          <ac:chgData name="FEYEL, Aude" userId="dc6f8eef-acdf-41f6-8bfe-58ab96dca409" providerId="ADAL" clId="{65E2A10D-7C40-45DB-8DA1-7D68A3AA91DF}" dt="2024-03-20T09:28:03.278" v="980" actId="2711"/>
          <ac:spMkLst>
            <pc:docMk/>
            <pc:sldMk cId="3274350114" sldId="2808"/>
            <ac:spMk id="62" creationId="{3124F24B-5648-4D61-99F6-C99999D6F1DA}"/>
          </ac:spMkLst>
        </pc:spChg>
        <pc:spChg chg="mod">
          <ac:chgData name="FEYEL, Aude" userId="dc6f8eef-acdf-41f6-8bfe-58ab96dca409" providerId="ADAL" clId="{65E2A10D-7C40-45DB-8DA1-7D68A3AA91DF}" dt="2024-03-20T09:28:03.278" v="980" actId="2711"/>
          <ac:spMkLst>
            <pc:docMk/>
            <pc:sldMk cId="3274350114" sldId="2808"/>
            <ac:spMk id="87" creationId="{EE27F31B-A1E0-4929-8D1B-7B22748A8D39}"/>
          </ac:spMkLst>
        </pc:spChg>
        <pc:spChg chg="mod">
          <ac:chgData name="FEYEL, Aude" userId="dc6f8eef-acdf-41f6-8bfe-58ab96dca409" providerId="ADAL" clId="{65E2A10D-7C40-45DB-8DA1-7D68A3AA91DF}" dt="2024-03-20T09:28:03.278" v="980" actId="2711"/>
          <ac:spMkLst>
            <pc:docMk/>
            <pc:sldMk cId="3274350114" sldId="2808"/>
            <ac:spMk id="88" creationId="{485EF377-FEFB-4CB2-8680-98F3C4EF16F3}"/>
          </ac:spMkLst>
        </pc:spChg>
        <pc:spChg chg="mod">
          <ac:chgData name="FEYEL, Aude" userId="dc6f8eef-acdf-41f6-8bfe-58ab96dca409" providerId="ADAL" clId="{65E2A10D-7C40-45DB-8DA1-7D68A3AA91DF}" dt="2024-03-20T09:28:03.278" v="980" actId="2711"/>
          <ac:spMkLst>
            <pc:docMk/>
            <pc:sldMk cId="3274350114" sldId="2808"/>
            <ac:spMk id="89" creationId="{5EA4DB14-7B1A-496A-B13C-C405EE3CA89C}"/>
          </ac:spMkLst>
        </pc:spChg>
        <pc:spChg chg="mod">
          <ac:chgData name="FEYEL, Aude" userId="dc6f8eef-acdf-41f6-8bfe-58ab96dca409" providerId="ADAL" clId="{65E2A10D-7C40-45DB-8DA1-7D68A3AA91DF}" dt="2024-03-20T09:28:03.278" v="980" actId="2711"/>
          <ac:spMkLst>
            <pc:docMk/>
            <pc:sldMk cId="3274350114" sldId="2808"/>
            <ac:spMk id="90" creationId="{59196A81-C833-4725-81DE-7610D7040EB7}"/>
          </ac:spMkLst>
        </pc:spChg>
        <pc:spChg chg="mod">
          <ac:chgData name="FEYEL, Aude" userId="dc6f8eef-acdf-41f6-8bfe-58ab96dca409" providerId="ADAL" clId="{65E2A10D-7C40-45DB-8DA1-7D68A3AA91DF}" dt="2024-03-20T09:28:03.278" v="980" actId="2711"/>
          <ac:spMkLst>
            <pc:docMk/>
            <pc:sldMk cId="3274350114" sldId="2808"/>
            <ac:spMk id="100" creationId="{14290429-3E80-4DEF-A05F-5A8CF94EA818}"/>
          </ac:spMkLst>
        </pc:spChg>
        <pc:spChg chg="mod">
          <ac:chgData name="FEYEL, Aude" userId="dc6f8eef-acdf-41f6-8bfe-58ab96dca409" providerId="ADAL" clId="{65E2A10D-7C40-45DB-8DA1-7D68A3AA91DF}" dt="2024-03-20T09:28:03.278" v="980" actId="2711"/>
          <ac:spMkLst>
            <pc:docMk/>
            <pc:sldMk cId="3274350114" sldId="2808"/>
            <ac:spMk id="106" creationId="{48292033-49F4-4233-9C14-66F5F4C211CD}"/>
          </ac:spMkLst>
        </pc:spChg>
        <pc:spChg chg="mod">
          <ac:chgData name="FEYEL, Aude" userId="dc6f8eef-acdf-41f6-8bfe-58ab96dca409" providerId="ADAL" clId="{65E2A10D-7C40-45DB-8DA1-7D68A3AA91DF}" dt="2024-03-20T09:27:45.357" v="979" actId="255"/>
          <ac:spMkLst>
            <pc:docMk/>
            <pc:sldMk cId="3274350114" sldId="2808"/>
            <ac:spMk id="108" creationId="{A5FFCCE8-21FE-4867-BE65-7E34C24F06E2}"/>
          </ac:spMkLst>
        </pc:spChg>
        <pc:spChg chg="mod">
          <ac:chgData name="FEYEL, Aude" userId="dc6f8eef-acdf-41f6-8bfe-58ab96dca409" providerId="ADAL" clId="{65E2A10D-7C40-45DB-8DA1-7D68A3AA91DF}" dt="2024-03-20T09:28:03.278" v="980" actId="2711"/>
          <ac:spMkLst>
            <pc:docMk/>
            <pc:sldMk cId="3274350114" sldId="2808"/>
            <ac:spMk id="109" creationId="{90F6A3A8-4349-4A7C-B609-B41238AEAECD}"/>
          </ac:spMkLst>
        </pc:spChg>
        <pc:spChg chg="mod">
          <ac:chgData name="FEYEL, Aude" userId="dc6f8eef-acdf-41f6-8bfe-58ab96dca409" providerId="ADAL" clId="{65E2A10D-7C40-45DB-8DA1-7D68A3AA91DF}" dt="2024-03-20T09:28:03.278" v="980" actId="2711"/>
          <ac:spMkLst>
            <pc:docMk/>
            <pc:sldMk cId="3274350114" sldId="2808"/>
            <ac:spMk id="116" creationId="{FF9E7C7A-E217-4C31-9F44-3EC213DFD3D2}"/>
          </ac:spMkLst>
        </pc:spChg>
      </pc:sldChg>
      <pc:sldChg chg="addSp delSp modSp mod">
        <pc:chgData name="FEYEL, Aude" userId="dc6f8eef-acdf-41f6-8bfe-58ab96dca409" providerId="ADAL" clId="{65E2A10D-7C40-45DB-8DA1-7D68A3AA91DF}" dt="2024-03-20T09:29:01.815" v="982" actId="2711"/>
        <pc:sldMkLst>
          <pc:docMk/>
          <pc:sldMk cId="3489761148" sldId="2844"/>
        </pc:sldMkLst>
        <pc:spChg chg="mod">
          <ac:chgData name="FEYEL, Aude" userId="dc6f8eef-acdf-41f6-8bfe-58ab96dca409" providerId="ADAL" clId="{65E2A10D-7C40-45DB-8DA1-7D68A3AA91DF}" dt="2024-03-20T09:29:01.815" v="982" actId="2711"/>
          <ac:spMkLst>
            <pc:docMk/>
            <pc:sldMk cId="3489761148" sldId="2844"/>
            <ac:spMk id="2" creationId="{05663357-58FB-4C3A-8E98-4CE122824C74}"/>
          </ac:spMkLst>
        </pc:spChg>
        <pc:spChg chg="mod">
          <ac:chgData name="FEYEL, Aude" userId="dc6f8eef-acdf-41f6-8bfe-58ab96dca409" providerId="ADAL" clId="{65E2A10D-7C40-45DB-8DA1-7D68A3AA91DF}" dt="2024-03-20T09:29:01.815" v="982" actId="2711"/>
          <ac:spMkLst>
            <pc:docMk/>
            <pc:sldMk cId="3489761148" sldId="2844"/>
            <ac:spMk id="3" creationId="{50C605F5-6FCC-4268-A25A-258FFA633113}"/>
          </ac:spMkLst>
        </pc:spChg>
        <pc:spChg chg="add del mod">
          <ac:chgData name="FEYEL, Aude" userId="dc6f8eef-acdf-41f6-8bfe-58ab96dca409" providerId="ADAL" clId="{65E2A10D-7C40-45DB-8DA1-7D68A3AA91DF}" dt="2024-03-14T15:44:52.536" v="570" actId="478"/>
          <ac:spMkLst>
            <pc:docMk/>
            <pc:sldMk cId="3489761148" sldId="2844"/>
            <ac:spMk id="4" creationId="{EBDA3617-257B-0BFD-0A9F-D083DAB2A65E}"/>
          </ac:spMkLst>
        </pc:spChg>
        <pc:spChg chg="mod">
          <ac:chgData name="FEYEL, Aude" userId="dc6f8eef-acdf-41f6-8bfe-58ab96dca409" providerId="ADAL" clId="{65E2A10D-7C40-45DB-8DA1-7D68A3AA91DF}" dt="2024-03-20T09:29:01.815" v="982" actId="2711"/>
          <ac:spMkLst>
            <pc:docMk/>
            <pc:sldMk cId="3489761148" sldId="2844"/>
            <ac:spMk id="5" creationId="{BBD22A95-FE9E-4456-8AD2-CAA546B78FFA}"/>
          </ac:spMkLst>
        </pc:spChg>
        <pc:spChg chg="mod">
          <ac:chgData name="FEYEL, Aude" userId="dc6f8eef-acdf-41f6-8bfe-58ab96dca409" providerId="ADAL" clId="{65E2A10D-7C40-45DB-8DA1-7D68A3AA91DF}" dt="2024-03-20T09:29:01.815" v="982" actId="2711"/>
          <ac:spMkLst>
            <pc:docMk/>
            <pc:sldMk cId="3489761148" sldId="2844"/>
            <ac:spMk id="24" creationId="{571394B3-950C-47A4-B485-1A0BD801A612}"/>
          </ac:spMkLst>
        </pc:spChg>
        <pc:spChg chg="mod">
          <ac:chgData name="FEYEL, Aude" userId="dc6f8eef-acdf-41f6-8bfe-58ab96dca409" providerId="ADAL" clId="{65E2A10D-7C40-45DB-8DA1-7D68A3AA91DF}" dt="2024-03-20T09:29:01.815" v="982" actId="2711"/>
          <ac:spMkLst>
            <pc:docMk/>
            <pc:sldMk cId="3489761148" sldId="2844"/>
            <ac:spMk id="25" creationId="{37FF3FF9-6D99-4A0E-8602-135C87BEB7D9}"/>
          </ac:spMkLst>
        </pc:spChg>
        <pc:spChg chg="mod">
          <ac:chgData name="FEYEL, Aude" userId="dc6f8eef-acdf-41f6-8bfe-58ab96dca409" providerId="ADAL" clId="{65E2A10D-7C40-45DB-8DA1-7D68A3AA91DF}" dt="2024-03-20T09:29:01.815" v="982" actId="2711"/>
          <ac:spMkLst>
            <pc:docMk/>
            <pc:sldMk cId="3489761148" sldId="2844"/>
            <ac:spMk id="31" creationId="{B1D4AE82-CC43-4FF8-B7F8-6B714F6D97CB}"/>
          </ac:spMkLst>
        </pc:spChg>
        <pc:spChg chg="mod">
          <ac:chgData name="FEYEL, Aude" userId="dc6f8eef-acdf-41f6-8bfe-58ab96dca409" providerId="ADAL" clId="{65E2A10D-7C40-45DB-8DA1-7D68A3AA91DF}" dt="2024-03-20T09:29:01.815" v="982" actId="2711"/>
          <ac:spMkLst>
            <pc:docMk/>
            <pc:sldMk cId="3489761148" sldId="2844"/>
            <ac:spMk id="45" creationId="{15974C15-827E-4035-962C-12E79AD885AF}"/>
          </ac:spMkLst>
        </pc:spChg>
        <pc:spChg chg="mod">
          <ac:chgData name="FEYEL, Aude" userId="dc6f8eef-acdf-41f6-8bfe-58ab96dca409" providerId="ADAL" clId="{65E2A10D-7C40-45DB-8DA1-7D68A3AA91DF}" dt="2024-03-20T09:29:01.815" v="982" actId="2711"/>
          <ac:spMkLst>
            <pc:docMk/>
            <pc:sldMk cId="3489761148" sldId="2844"/>
            <ac:spMk id="49" creationId="{DFD89AB1-653A-476E-B23C-FCA6E1F5A212}"/>
          </ac:spMkLst>
        </pc:spChg>
        <pc:spChg chg="mod">
          <ac:chgData name="FEYEL, Aude" userId="dc6f8eef-acdf-41f6-8bfe-58ab96dca409" providerId="ADAL" clId="{65E2A10D-7C40-45DB-8DA1-7D68A3AA91DF}" dt="2024-03-20T09:29:01.815" v="982" actId="2711"/>
          <ac:spMkLst>
            <pc:docMk/>
            <pc:sldMk cId="3489761148" sldId="2844"/>
            <ac:spMk id="50" creationId="{E5531225-850E-468B-BC67-C144C5B75B24}"/>
          </ac:spMkLst>
        </pc:spChg>
        <pc:spChg chg="mod">
          <ac:chgData name="FEYEL, Aude" userId="dc6f8eef-acdf-41f6-8bfe-58ab96dca409" providerId="ADAL" clId="{65E2A10D-7C40-45DB-8DA1-7D68A3AA91DF}" dt="2024-03-20T09:29:01.815" v="982" actId="2711"/>
          <ac:spMkLst>
            <pc:docMk/>
            <pc:sldMk cId="3489761148" sldId="2844"/>
            <ac:spMk id="80" creationId="{64E86665-B6FD-4B86-A16C-3D1283D44942}"/>
          </ac:spMkLst>
        </pc:spChg>
        <pc:spChg chg="mod">
          <ac:chgData name="FEYEL, Aude" userId="dc6f8eef-acdf-41f6-8bfe-58ab96dca409" providerId="ADAL" clId="{65E2A10D-7C40-45DB-8DA1-7D68A3AA91DF}" dt="2024-03-20T09:29:01.815" v="982" actId="2711"/>
          <ac:spMkLst>
            <pc:docMk/>
            <pc:sldMk cId="3489761148" sldId="2844"/>
            <ac:spMk id="81" creationId="{A7B97495-5C5E-4FD9-BEF2-9117E45BFFCB}"/>
          </ac:spMkLst>
        </pc:spChg>
        <pc:spChg chg="mod">
          <ac:chgData name="FEYEL, Aude" userId="dc6f8eef-acdf-41f6-8bfe-58ab96dca409" providerId="ADAL" clId="{65E2A10D-7C40-45DB-8DA1-7D68A3AA91DF}" dt="2024-03-20T09:29:01.815" v="982" actId="2711"/>
          <ac:spMkLst>
            <pc:docMk/>
            <pc:sldMk cId="3489761148" sldId="2844"/>
            <ac:spMk id="82" creationId="{970554C7-696F-4586-99A6-C317B8E7FC69}"/>
          </ac:spMkLst>
        </pc:spChg>
        <pc:spChg chg="mod">
          <ac:chgData name="FEYEL, Aude" userId="dc6f8eef-acdf-41f6-8bfe-58ab96dca409" providerId="ADAL" clId="{65E2A10D-7C40-45DB-8DA1-7D68A3AA91DF}" dt="2024-03-20T09:29:01.815" v="982" actId="2711"/>
          <ac:spMkLst>
            <pc:docMk/>
            <pc:sldMk cId="3489761148" sldId="2844"/>
            <ac:spMk id="83" creationId="{A6536A61-313E-46E5-8B8C-468FB6567435}"/>
          </ac:spMkLst>
        </pc:spChg>
        <pc:graphicFrameChg chg="mod">
          <ac:chgData name="FEYEL, Aude" userId="dc6f8eef-acdf-41f6-8bfe-58ab96dca409" providerId="ADAL" clId="{65E2A10D-7C40-45DB-8DA1-7D68A3AA91DF}" dt="2024-03-20T09:29:01.815" v="982" actId="2711"/>
          <ac:graphicFrameMkLst>
            <pc:docMk/>
            <pc:sldMk cId="3489761148" sldId="2844"/>
            <ac:graphicFrameMk id="16" creationId="{5E9B32CA-FCCE-4F22-93FC-459638979744}"/>
          </ac:graphicFrameMkLst>
        </pc:graphicFrameChg>
        <pc:graphicFrameChg chg="mod">
          <ac:chgData name="FEYEL, Aude" userId="dc6f8eef-acdf-41f6-8bfe-58ab96dca409" providerId="ADAL" clId="{65E2A10D-7C40-45DB-8DA1-7D68A3AA91DF}" dt="2024-03-20T09:29:01.815" v="982" actId="2711"/>
          <ac:graphicFrameMkLst>
            <pc:docMk/>
            <pc:sldMk cId="3489761148" sldId="2844"/>
            <ac:graphicFrameMk id="17" creationId="{FA4C2AA3-158A-4091-ADAC-EBCCCBD38EB7}"/>
          </ac:graphicFrameMkLst>
        </pc:graphicFrameChg>
        <pc:graphicFrameChg chg="mod">
          <ac:chgData name="FEYEL, Aude" userId="dc6f8eef-acdf-41f6-8bfe-58ab96dca409" providerId="ADAL" clId="{65E2A10D-7C40-45DB-8DA1-7D68A3AA91DF}" dt="2024-03-20T09:29:01.815" v="982" actId="2711"/>
          <ac:graphicFrameMkLst>
            <pc:docMk/>
            <pc:sldMk cId="3489761148" sldId="2844"/>
            <ac:graphicFrameMk id="20" creationId="{B739E486-70DB-4746-BDF5-DBD2391E250A}"/>
          </ac:graphicFrameMkLst>
        </pc:graphicFrameChg>
        <pc:graphicFrameChg chg="mod">
          <ac:chgData name="FEYEL, Aude" userId="dc6f8eef-acdf-41f6-8bfe-58ab96dca409" providerId="ADAL" clId="{65E2A10D-7C40-45DB-8DA1-7D68A3AA91DF}" dt="2024-03-20T09:29:01.815" v="982" actId="2711"/>
          <ac:graphicFrameMkLst>
            <pc:docMk/>
            <pc:sldMk cId="3489761148" sldId="2844"/>
            <ac:graphicFrameMk id="22" creationId="{220EBFE2-26F0-4B56-A207-11C4EFBBE316}"/>
          </ac:graphicFrameMkLst>
        </pc:graphicFrameChg>
      </pc:sldChg>
      <pc:sldChg chg="modSp mod">
        <pc:chgData name="FEYEL, Aude" userId="dc6f8eef-acdf-41f6-8bfe-58ab96dca409" providerId="ADAL" clId="{65E2A10D-7C40-45DB-8DA1-7D68A3AA91DF}" dt="2024-03-20T09:26:11.273" v="972" actId="1076"/>
        <pc:sldMkLst>
          <pc:docMk/>
          <pc:sldMk cId="4132157064" sldId="2134806153"/>
        </pc:sldMkLst>
        <pc:spChg chg="mod">
          <ac:chgData name="FEYEL, Aude" userId="dc6f8eef-acdf-41f6-8bfe-58ab96dca409" providerId="ADAL" clId="{65E2A10D-7C40-45DB-8DA1-7D68A3AA91DF}" dt="2024-03-20T09:25:33.682" v="967" actId="20577"/>
          <ac:spMkLst>
            <pc:docMk/>
            <pc:sldMk cId="4132157064" sldId="2134806153"/>
            <ac:spMk id="2" creationId="{2FFF98E1-27E7-4C87-ACFA-F6B772233047}"/>
          </ac:spMkLst>
        </pc:spChg>
        <pc:spChg chg="mod">
          <ac:chgData name="FEYEL, Aude" userId="dc6f8eef-acdf-41f6-8bfe-58ab96dca409" providerId="ADAL" clId="{65E2A10D-7C40-45DB-8DA1-7D68A3AA91DF}" dt="2024-03-20T09:25:53.563" v="969" actId="2711"/>
          <ac:spMkLst>
            <pc:docMk/>
            <pc:sldMk cId="4132157064" sldId="2134806153"/>
            <ac:spMk id="3" creationId="{4AFD6551-D384-435C-9060-7DAE459857C1}"/>
          </ac:spMkLst>
        </pc:spChg>
        <pc:spChg chg="mod">
          <ac:chgData name="FEYEL, Aude" userId="dc6f8eef-acdf-41f6-8bfe-58ab96dca409" providerId="ADAL" clId="{65E2A10D-7C40-45DB-8DA1-7D68A3AA91DF}" dt="2024-03-20T09:25:53.563" v="969" actId="2711"/>
          <ac:spMkLst>
            <pc:docMk/>
            <pc:sldMk cId="4132157064" sldId="2134806153"/>
            <ac:spMk id="4" creationId="{EF4CFF39-29D1-42BA-9546-01499FEF9C07}"/>
          </ac:spMkLst>
        </pc:spChg>
        <pc:spChg chg="mod">
          <ac:chgData name="FEYEL, Aude" userId="dc6f8eef-acdf-41f6-8bfe-58ab96dca409" providerId="ADAL" clId="{65E2A10D-7C40-45DB-8DA1-7D68A3AA91DF}" dt="2024-03-20T09:25:53.563" v="969" actId="2711"/>
          <ac:spMkLst>
            <pc:docMk/>
            <pc:sldMk cId="4132157064" sldId="2134806153"/>
            <ac:spMk id="5" creationId="{3CAD3081-E0A3-4FE8-B410-F27D80BBC94C}"/>
          </ac:spMkLst>
        </pc:spChg>
        <pc:spChg chg="mod">
          <ac:chgData name="FEYEL, Aude" userId="dc6f8eef-acdf-41f6-8bfe-58ab96dca409" providerId="ADAL" clId="{65E2A10D-7C40-45DB-8DA1-7D68A3AA91DF}" dt="2024-03-20T09:25:53.563" v="969" actId="2711"/>
          <ac:spMkLst>
            <pc:docMk/>
            <pc:sldMk cId="4132157064" sldId="2134806153"/>
            <ac:spMk id="31" creationId="{E64460FC-C683-4FAF-B1CB-12C849003C14}"/>
          </ac:spMkLst>
        </pc:spChg>
        <pc:spChg chg="mod">
          <ac:chgData name="FEYEL, Aude" userId="dc6f8eef-acdf-41f6-8bfe-58ab96dca409" providerId="ADAL" clId="{65E2A10D-7C40-45DB-8DA1-7D68A3AA91DF}" dt="2024-03-20T09:25:53.563" v="969" actId="2711"/>
          <ac:spMkLst>
            <pc:docMk/>
            <pc:sldMk cId="4132157064" sldId="2134806153"/>
            <ac:spMk id="32" creationId="{7AFAFE10-B558-485C-9966-4F15D56D7DBF}"/>
          </ac:spMkLst>
        </pc:spChg>
        <pc:spChg chg="mod">
          <ac:chgData name="FEYEL, Aude" userId="dc6f8eef-acdf-41f6-8bfe-58ab96dca409" providerId="ADAL" clId="{65E2A10D-7C40-45DB-8DA1-7D68A3AA91DF}" dt="2024-03-20T09:25:53.563" v="969" actId="2711"/>
          <ac:spMkLst>
            <pc:docMk/>
            <pc:sldMk cId="4132157064" sldId="2134806153"/>
            <ac:spMk id="33" creationId="{C9EB2705-D43A-4263-8C68-279029091621}"/>
          </ac:spMkLst>
        </pc:spChg>
        <pc:spChg chg="mod">
          <ac:chgData name="FEYEL, Aude" userId="dc6f8eef-acdf-41f6-8bfe-58ab96dca409" providerId="ADAL" clId="{65E2A10D-7C40-45DB-8DA1-7D68A3AA91DF}" dt="2024-03-20T09:25:53.563" v="969" actId="2711"/>
          <ac:spMkLst>
            <pc:docMk/>
            <pc:sldMk cId="4132157064" sldId="2134806153"/>
            <ac:spMk id="34" creationId="{932AE426-5AA7-4C37-8313-C4166875F2C4}"/>
          </ac:spMkLst>
        </pc:spChg>
        <pc:spChg chg="mod">
          <ac:chgData name="FEYEL, Aude" userId="dc6f8eef-acdf-41f6-8bfe-58ab96dca409" providerId="ADAL" clId="{65E2A10D-7C40-45DB-8DA1-7D68A3AA91DF}" dt="2024-03-20T09:25:53.563" v="969" actId="2711"/>
          <ac:spMkLst>
            <pc:docMk/>
            <pc:sldMk cId="4132157064" sldId="2134806153"/>
            <ac:spMk id="35" creationId="{D1A08FAB-EAA2-4B42-9BD5-94A66A513049}"/>
          </ac:spMkLst>
        </pc:spChg>
        <pc:spChg chg="mod">
          <ac:chgData name="FEYEL, Aude" userId="dc6f8eef-acdf-41f6-8bfe-58ab96dca409" providerId="ADAL" clId="{65E2A10D-7C40-45DB-8DA1-7D68A3AA91DF}" dt="2024-03-20T09:25:53.563" v="969" actId="2711"/>
          <ac:spMkLst>
            <pc:docMk/>
            <pc:sldMk cId="4132157064" sldId="2134806153"/>
            <ac:spMk id="36" creationId="{AC90C40C-A723-4EEA-B790-2297C7B29457}"/>
          </ac:spMkLst>
        </pc:spChg>
        <pc:spChg chg="mod">
          <ac:chgData name="FEYEL, Aude" userId="dc6f8eef-acdf-41f6-8bfe-58ab96dca409" providerId="ADAL" clId="{65E2A10D-7C40-45DB-8DA1-7D68A3AA91DF}" dt="2024-03-20T09:25:53.563" v="969" actId="2711"/>
          <ac:spMkLst>
            <pc:docMk/>
            <pc:sldMk cId="4132157064" sldId="2134806153"/>
            <ac:spMk id="37" creationId="{A5C291EC-195E-4829-BBB7-564B974D1423}"/>
          </ac:spMkLst>
        </pc:spChg>
        <pc:spChg chg="mod">
          <ac:chgData name="FEYEL, Aude" userId="dc6f8eef-acdf-41f6-8bfe-58ab96dca409" providerId="ADAL" clId="{65E2A10D-7C40-45DB-8DA1-7D68A3AA91DF}" dt="2024-03-20T09:25:53.563" v="969" actId="2711"/>
          <ac:spMkLst>
            <pc:docMk/>
            <pc:sldMk cId="4132157064" sldId="2134806153"/>
            <ac:spMk id="38" creationId="{F045B752-DAA6-4DEF-A668-CF3F556A050D}"/>
          </ac:spMkLst>
        </pc:spChg>
        <pc:spChg chg="mod">
          <ac:chgData name="FEYEL, Aude" userId="dc6f8eef-acdf-41f6-8bfe-58ab96dca409" providerId="ADAL" clId="{65E2A10D-7C40-45DB-8DA1-7D68A3AA91DF}" dt="2024-03-20T09:25:53.563" v="969" actId="2711"/>
          <ac:spMkLst>
            <pc:docMk/>
            <pc:sldMk cId="4132157064" sldId="2134806153"/>
            <ac:spMk id="39" creationId="{BDD3A583-3014-4339-AF16-D6EF82C181ED}"/>
          </ac:spMkLst>
        </pc:spChg>
        <pc:spChg chg="mod">
          <ac:chgData name="FEYEL, Aude" userId="dc6f8eef-acdf-41f6-8bfe-58ab96dca409" providerId="ADAL" clId="{65E2A10D-7C40-45DB-8DA1-7D68A3AA91DF}" dt="2024-03-20T09:25:53.563" v="969" actId="2711"/>
          <ac:spMkLst>
            <pc:docMk/>
            <pc:sldMk cId="4132157064" sldId="2134806153"/>
            <ac:spMk id="40" creationId="{F0D00966-4AB7-4578-AC09-2EB61ECAE588}"/>
          </ac:spMkLst>
        </pc:spChg>
        <pc:spChg chg="mod">
          <ac:chgData name="FEYEL, Aude" userId="dc6f8eef-acdf-41f6-8bfe-58ab96dca409" providerId="ADAL" clId="{65E2A10D-7C40-45DB-8DA1-7D68A3AA91DF}" dt="2024-03-20T09:25:53.563" v="969" actId="2711"/>
          <ac:spMkLst>
            <pc:docMk/>
            <pc:sldMk cId="4132157064" sldId="2134806153"/>
            <ac:spMk id="41" creationId="{17B332B8-7BEE-4D92-A180-C647D13BFB00}"/>
          </ac:spMkLst>
        </pc:spChg>
        <pc:spChg chg="mod">
          <ac:chgData name="FEYEL, Aude" userId="dc6f8eef-acdf-41f6-8bfe-58ab96dca409" providerId="ADAL" clId="{65E2A10D-7C40-45DB-8DA1-7D68A3AA91DF}" dt="2024-03-20T09:25:53.563" v="969" actId="2711"/>
          <ac:spMkLst>
            <pc:docMk/>
            <pc:sldMk cId="4132157064" sldId="2134806153"/>
            <ac:spMk id="42" creationId="{9F378D50-B5D5-4F57-980B-73AD6A971D63}"/>
          </ac:spMkLst>
        </pc:spChg>
        <pc:spChg chg="mod">
          <ac:chgData name="FEYEL, Aude" userId="dc6f8eef-acdf-41f6-8bfe-58ab96dca409" providerId="ADAL" clId="{65E2A10D-7C40-45DB-8DA1-7D68A3AA91DF}" dt="2024-03-20T09:25:53.563" v="969" actId="2711"/>
          <ac:spMkLst>
            <pc:docMk/>
            <pc:sldMk cId="4132157064" sldId="2134806153"/>
            <ac:spMk id="43" creationId="{A7E5DC22-742F-43A9-9A54-F2FB6586222C}"/>
          </ac:spMkLst>
        </pc:spChg>
        <pc:spChg chg="mod">
          <ac:chgData name="FEYEL, Aude" userId="dc6f8eef-acdf-41f6-8bfe-58ab96dca409" providerId="ADAL" clId="{65E2A10D-7C40-45DB-8DA1-7D68A3AA91DF}" dt="2024-03-20T09:25:53.563" v="969" actId="2711"/>
          <ac:spMkLst>
            <pc:docMk/>
            <pc:sldMk cId="4132157064" sldId="2134806153"/>
            <ac:spMk id="44" creationId="{75A11E06-1ABA-4743-9174-397CC4B2456B}"/>
          </ac:spMkLst>
        </pc:spChg>
        <pc:spChg chg="mod">
          <ac:chgData name="FEYEL, Aude" userId="dc6f8eef-acdf-41f6-8bfe-58ab96dca409" providerId="ADAL" clId="{65E2A10D-7C40-45DB-8DA1-7D68A3AA91DF}" dt="2024-03-20T09:25:53.563" v="969" actId="2711"/>
          <ac:spMkLst>
            <pc:docMk/>
            <pc:sldMk cId="4132157064" sldId="2134806153"/>
            <ac:spMk id="45" creationId="{12E0087D-2426-4D71-BF81-50FE321F6F0E}"/>
          </ac:spMkLst>
        </pc:spChg>
        <pc:spChg chg="mod">
          <ac:chgData name="FEYEL, Aude" userId="dc6f8eef-acdf-41f6-8bfe-58ab96dca409" providerId="ADAL" clId="{65E2A10D-7C40-45DB-8DA1-7D68A3AA91DF}" dt="2024-03-20T09:25:53.563" v="969" actId="2711"/>
          <ac:spMkLst>
            <pc:docMk/>
            <pc:sldMk cId="4132157064" sldId="2134806153"/>
            <ac:spMk id="46" creationId="{356D93C7-D8DD-49FC-A97C-564FDC466392}"/>
          </ac:spMkLst>
        </pc:spChg>
        <pc:spChg chg="mod">
          <ac:chgData name="FEYEL, Aude" userId="dc6f8eef-acdf-41f6-8bfe-58ab96dca409" providerId="ADAL" clId="{65E2A10D-7C40-45DB-8DA1-7D68A3AA91DF}" dt="2024-03-20T09:25:53.563" v="969" actId="2711"/>
          <ac:spMkLst>
            <pc:docMk/>
            <pc:sldMk cId="4132157064" sldId="2134806153"/>
            <ac:spMk id="51" creationId="{7CEE9A79-9BC4-4E17-A154-693BB55CE05F}"/>
          </ac:spMkLst>
        </pc:spChg>
        <pc:spChg chg="mod">
          <ac:chgData name="FEYEL, Aude" userId="dc6f8eef-acdf-41f6-8bfe-58ab96dca409" providerId="ADAL" clId="{65E2A10D-7C40-45DB-8DA1-7D68A3AA91DF}" dt="2024-03-20T09:25:53.563" v="969" actId="2711"/>
          <ac:spMkLst>
            <pc:docMk/>
            <pc:sldMk cId="4132157064" sldId="2134806153"/>
            <ac:spMk id="52" creationId="{17FC2B4A-7EED-4962-A68B-4C87372FFC63}"/>
          </ac:spMkLst>
        </pc:spChg>
        <pc:spChg chg="mod">
          <ac:chgData name="FEYEL, Aude" userId="dc6f8eef-acdf-41f6-8bfe-58ab96dca409" providerId="ADAL" clId="{65E2A10D-7C40-45DB-8DA1-7D68A3AA91DF}" dt="2024-03-20T09:25:53.563" v="969" actId="2711"/>
          <ac:spMkLst>
            <pc:docMk/>
            <pc:sldMk cId="4132157064" sldId="2134806153"/>
            <ac:spMk id="61" creationId="{061C2EE9-5155-4170-B679-9C00CDF89314}"/>
          </ac:spMkLst>
        </pc:spChg>
        <pc:spChg chg="mod">
          <ac:chgData name="FEYEL, Aude" userId="dc6f8eef-acdf-41f6-8bfe-58ab96dca409" providerId="ADAL" clId="{65E2A10D-7C40-45DB-8DA1-7D68A3AA91DF}" dt="2024-03-20T09:25:53.563" v="969" actId="2711"/>
          <ac:spMkLst>
            <pc:docMk/>
            <pc:sldMk cId="4132157064" sldId="2134806153"/>
            <ac:spMk id="62" creationId="{898DF485-8FA9-4EBB-B5F3-0385B474ED76}"/>
          </ac:spMkLst>
        </pc:spChg>
        <pc:spChg chg="mod">
          <ac:chgData name="FEYEL, Aude" userId="dc6f8eef-acdf-41f6-8bfe-58ab96dca409" providerId="ADAL" clId="{65E2A10D-7C40-45DB-8DA1-7D68A3AA91DF}" dt="2024-03-20T09:26:11.273" v="972" actId="1076"/>
          <ac:spMkLst>
            <pc:docMk/>
            <pc:sldMk cId="4132157064" sldId="2134806153"/>
            <ac:spMk id="65" creationId="{6B9B81E9-0FBD-4151-82A7-69259F4D5365}"/>
          </ac:spMkLst>
        </pc:spChg>
        <pc:spChg chg="mod">
          <ac:chgData name="FEYEL, Aude" userId="dc6f8eef-acdf-41f6-8bfe-58ab96dca409" providerId="ADAL" clId="{65E2A10D-7C40-45DB-8DA1-7D68A3AA91DF}" dt="2024-03-20T09:26:11.273" v="972" actId="1076"/>
          <ac:spMkLst>
            <pc:docMk/>
            <pc:sldMk cId="4132157064" sldId="2134806153"/>
            <ac:spMk id="73" creationId="{F51D8A97-F4F1-4F92-B29D-063B83C69C2D}"/>
          </ac:spMkLst>
        </pc:spChg>
        <pc:spChg chg="mod">
          <ac:chgData name="FEYEL, Aude" userId="dc6f8eef-acdf-41f6-8bfe-58ab96dca409" providerId="ADAL" clId="{65E2A10D-7C40-45DB-8DA1-7D68A3AA91DF}" dt="2024-03-20T09:25:53.563" v="969" actId="2711"/>
          <ac:spMkLst>
            <pc:docMk/>
            <pc:sldMk cId="4132157064" sldId="2134806153"/>
            <ac:spMk id="77" creationId="{ABD33A5B-113D-493C-8B60-E12282B512E4}"/>
          </ac:spMkLst>
        </pc:spChg>
        <pc:spChg chg="mod">
          <ac:chgData name="FEYEL, Aude" userId="dc6f8eef-acdf-41f6-8bfe-58ab96dca409" providerId="ADAL" clId="{65E2A10D-7C40-45DB-8DA1-7D68A3AA91DF}" dt="2024-03-20T09:25:53.563" v="969" actId="2711"/>
          <ac:spMkLst>
            <pc:docMk/>
            <pc:sldMk cId="4132157064" sldId="2134806153"/>
            <ac:spMk id="132" creationId="{30C81F65-DCF5-40D9-ACBD-A3B805F8B3C6}"/>
          </ac:spMkLst>
        </pc:spChg>
        <pc:grpChg chg="mod">
          <ac:chgData name="FEYEL, Aude" userId="dc6f8eef-acdf-41f6-8bfe-58ab96dca409" providerId="ADAL" clId="{65E2A10D-7C40-45DB-8DA1-7D68A3AA91DF}" dt="2024-03-20T09:25:53.563" v="969" actId="2711"/>
          <ac:grpSpMkLst>
            <pc:docMk/>
            <pc:sldMk cId="4132157064" sldId="2134806153"/>
            <ac:grpSpMk id="30" creationId="{08718877-FEBD-4C92-862F-77D1C10C5875}"/>
          </ac:grpSpMkLst>
        </pc:grpChg>
        <pc:grpChg chg="mod">
          <ac:chgData name="FEYEL, Aude" userId="dc6f8eef-acdf-41f6-8bfe-58ab96dca409" providerId="ADAL" clId="{65E2A10D-7C40-45DB-8DA1-7D68A3AA91DF}" dt="2024-03-20T09:25:53.563" v="969" actId="2711"/>
          <ac:grpSpMkLst>
            <pc:docMk/>
            <pc:sldMk cId="4132157064" sldId="2134806153"/>
            <ac:grpSpMk id="50" creationId="{2D9075D3-966C-400D-81B9-1B52D59D2F20}"/>
          </ac:grpSpMkLst>
        </pc:grpChg>
        <pc:grpChg chg="mod">
          <ac:chgData name="FEYEL, Aude" userId="dc6f8eef-acdf-41f6-8bfe-58ab96dca409" providerId="ADAL" clId="{65E2A10D-7C40-45DB-8DA1-7D68A3AA91DF}" dt="2024-03-20T09:25:53.563" v="969" actId="2711"/>
          <ac:grpSpMkLst>
            <pc:docMk/>
            <pc:sldMk cId="4132157064" sldId="2134806153"/>
            <ac:grpSpMk id="89" creationId="{B58C8FB2-6941-4E1E-A296-A3A78F5FF1EE}"/>
          </ac:grpSpMkLst>
        </pc:grpChg>
        <pc:picChg chg="mod">
          <ac:chgData name="FEYEL, Aude" userId="dc6f8eef-acdf-41f6-8bfe-58ab96dca409" providerId="ADAL" clId="{65E2A10D-7C40-45DB-8DA1-7D68A3AA91DF}" dt="2024-03-20T09:25:53.563" v="969" actId="2711"/>
          <ac:picMkLst>
            <pc:docMk/>
            <pc:sldMk cId="4132157064" sldId="2134806153"/>
            <ac:picMk id="20" creationId="{37132FF1-691D-4167-B734-00D118D43981}"/>
          </ac:picMkLst>
        </pc:picChg>
        <pc:picChg chg="mod">
          <ac:chgData name="FEYEL, Aude" userId="dc6f8eef-acdf-41f6-8bfe-58ab96dca409" providerId="ADAL" clId="{65E2A10D-7C40-45DB-8DA1-7D68A3AA91DF}" dt="2024-03-20T09:25:53.563" v="969" actId="2711"/>
          <ac:picMkLst>
            <pc:docMk/>
            <pc:sldMk cId="4132157064" sldId="2134806153"/>
            <ac:picMk id="21" creationId="{57DEC9BE-5596-43BC-881D-0D7F9A4003DE}"/>
          </ac:picMkLst>
        </pc:picChg>
        <pc:picChg chg="mod">
          <ac:chgData name="FEYEL, Aude" userId="dc6f8eef-acdf-41f6-8bfe-58ab96dca409" providerId="ADAL" clId="{65E2A10D-7C40-45DB-8DA1-7D68A3AA91DF}" dt="2024-03-20T09:25:53.563" v="969" actId="2711"/>
          <ac:picMkLst>
            <pc:docMk/>
            <pc:sldMk cId="4132157064" sldId="2134806153"/>
            <ac:picMk id="22" creationId="{6BC10D09-31E1-4923-9293-C240CA5087D2}"/>
          </ac:picMkLst>
        </pc:picChg>
        <pc:picChg chg="mod">
          <ac:chgData name="FEYEL, Aude" userId="dc6f8eef-acdf-41f6-8bfe-58ab96dca409" providerId="ADAL" clId="{65E2A10D-7C40-45DB-8DA1-7D68A3AA91DF}" dt="2024-03-20T09:25:53.563" v="969" actId="2711"/>
          <ac:picMkLst>
            <pc:docMk/>
            <pc:sldMk cId="4132157064" sldId="2134806153"/>
            <ac:picMk id="53" creationId="{1086B68B-C521-4A28-8F61-75C3EBD2B4A2}"/>
          </ac:picMkLst>
        </pc:picChg>
        <pc:picChg chg="mod">
          <ac:chgData name="FEYEL, Aude" userId="dc6f8eef-acdf-41f6-8bfe-58ab96dca409" providerId="ADAL" clId="{65E2A10D-7C40-45DB-8DA1-7D68A3AA91DF}" dt="2024-03-20T09:25:53.563" v="969" actId="2711"/>
          <ac:picMkLst>
            <pc:docMk/>
            <pc:sldMk cId="4132157064" sldId="2134806153"/>
            <ac:picMk id="54" creationId="{56C6671D-4BA9-41B8-B586-B7F91E6D07EE}"/>
          </ac:picMkLst>
        </pc:picChg>
        <pc:picChg chg="mod">
          <ac:chgData name="FEYEL, Aude" userId="dc6f8eef-acdf-41f6-8bfe-58ab96dca409" providerId="ADAL" clId="{65E2A10D-7C40-45DB-8DA1-7D68A3AA91DF}" dt="2024-03-20T09:25:53.563" v="969" actId="2711"/>
          <ac:picMkLst>
            <pc:docMk/>
            <pc:sldMk cId="4132157064" sldId="2134806153"/>
            <ac:picMk id="55" creationId="{5831939C-F9C4-4601-A0CD-DC0CF5BB1BCE}"/>
          </ac:picMkLst>
        </pc:picChg>
        <pc:picChg chg="mod">
          <ac:chgData name="FEYEL, Aude" userId="dc6f8eef-acdf-41f6-8bfe-58ab96dca409" providerId="ADAL" clId="{65E2A10D-7C40-45DB-8DA1-7D68A3AA91DF}" dt="2024-03-20T09:25:53.563" v="969" actId="2711"/>
          <ac:picMkLst>
            <pc:docMk/>
            <pc:sldMk cId="4132157064" sldId="2134806153"/>
            <ac:picMk id="56" creationId="{99D179D6-A626-47C9-9393-E8DE4D771D93}"/>
          </ac:picMkLst>
        </pc:picChg>
        <pc:picChg chg="mod">
          <ac:chgData name="FEYEL, Aude" userId="dc6f8eef-acdf-41f6-8bfe-58ab96dca409" providerId="ADAL" clId="{65E2A10D-7C40-45DB-8DA1-7D68A3AA91DF}" dt="2024-03-20T09:25:53.563" v="969" actId="2711"/>
          <ac:picMkLst>
            <pc:docMk/>
            <pc:sldMk cId="4132157064" sldId="2134806153"/>
            <ac:picMk id="57" creationId="{83494A20-1440-415B-879E-90C88240ABA7}"/>
          </ac:picMkLst>
        </pc:picChg>
        <pc:picChg chg="mod">
          <ac:chgData name="FEYEL, Aude" userId="dc6f8eef-acdf-41f6-8bfe-58ab96dca409" providerId="ADAL" clId="{65E2A10D-7C40-45DB-8DA1-7D68A3AA91DF}" dt="2024-03-20T09:25:53.563" v="969" actId="2711"/>
          <ac:picMkLst>
            <pc:docMk/>
            <pc:sldMk cId="4132157064" sldId="2134806153"/>
            <ac:picMk id="58" creationId="{B9979371-CB8A-4B37-996F-FD933102C1CF}"/>
          </ac:picMkLst>
        </pc:picChg>
        <pc:picChg chg="mod">
          <ac:chgData name="FEYEL, Aude" userId="dc6f8eef-acdf-41f6-8bfe-58ab96dca409" providerId="ADAL" clId="{65E2A10D-7C40-45DB-8DA1-7D68A3AA91DF}" dt="2024-03-20T09:25:53.563" v="969" actId="2711"/>
          <ac:picMkLst>
            <pc:docMk/>
            <pc:sldMk cId="4132157064" sldId="2134806153"/>
            <ac:picMk id="59" creationId="{01D7028B-B7F8-4679-A39B-77BB28484FF3}"/>
          </ac:picMkLst>
        </pc:picChg>
        <pc:picChg chg="mod">
          <ac:chgData name="FEYEL, Aude" userId="dc6f8eef-acdf-41f6-8bfe-58ab96dca409" providerId="ADAL" clId="{65E2A10D-7C40-45DB-8DA1-7D68A3AA91DF}" dt="2024-03-20T09:25:53.563" v="969" actId="2711"/>
          <ac:picMkLst>
            <pc:docMk/>
            <pc:sldMk cId="4132157064" sldId="2134806153"/>
            <ac:picMk id="60" creationId="{77CA17C4-5656-4D02-A506-7C9B2ED7BF2E}"/>
          </ac:picMkLst>
        </pc:picChg>
        <pc:picChg chg="mod">
          <ac:chgData name="FEYEL, Aude" userId="dc6f8eef-acdf-41f6-8bfe-58ab96dca409" providerId="ADAL" clId="{65E2A10D-7C40-45DB-8DA1-7D68A3AA91DF}" dt="2024-03-20T09:25:53.563" v="969" actId="2711"/>
          <ac:picMkLst>
            <pc:docMk/>
            <pc:sldMk cId="4132157064" sldId="2134806153"/>
            <ac:picMk id="69" creationId="{66AE65BD-3B30-4E20-BA24-0508B2BF30E9}"/>
          </ac:picMkLst>
        </pc:picChg>
        <pc:picChg chg="mod">
          <ac:chgData name="FEYEL, Aude" userId="dc6f8eef-acdf-41f6-8bfe-58ab96dca409" providerId="ADAL" clId="{65E2A10D-7C40-45DB-8DA1-7D68A3AA91DF}" dt="2024-03-20T09:25:53.563" v="969" actId="2711"/>
          <ac:picMkLst>
            <pc:docMk/>
            <pc:sldMk cId="4132157064" sldId="2134806153"/>
            <ac:picMk id="70" creationId="{3B772DA9-A108-4018-9828-CFAD4D68F6BC}"/>
          </ac:picMkLst>
        </pc:picChg>
        <pc:picChg chg="mod">
          <ac:chgData name="FEYEL, Aude" userId="dc6f8eef-acdf-41f6-8bfe-58ab96dca409" providerId="ADAL" clId="{65E2A10D-7C40-45DB-8DA1-7D68A3AA91DF}" dt="2024-03-20T09:25:53.563" v="969" actId="2711"/>
          <ac:picMkLst>
            <pc:docMk/>
            <pc:sldMk cId="4132157064" sldId="2134806153"/>
            <ac:picMk id="71" creationId="{342F63F9-C73E-472C-A548-22BD3CFA587E}"/>
          </ac:picMkLst>
        </pc:picChg>
        <pc:cxnChg chg="mod">
          <ac:chgData name="FEYEL, Aude" userId="dc6f8eef-acdf-41f6-8bfe-58ab96dca409" providerId="ADAL" clId="{65E2A10D-7C40-45DB-8DA1-7D68A3AA91DF}" dt="2024-03-20T09:25:53.563" v="969" actId="2711"/>
          <ac:cxnSpMkLst>
            <pc:docMk/>
            <pc:sldMk cId="4132157064" sldId="2134806153"/>
            <ac:cxnSpMk id="26" creationId="{477AABB5-CCE8-4278-A031-10F075918300}"/>
          </ac:cxnSpMkLst>
        </pc:cxnChg>
        <pc:cxnChg chg="mod">
          <ac:chgData name="FEYEL, Aude" userId="dc6f8eef-acdf-41f6-8bfe-58ab96dca409" providerId="ADAL" clId="{65E2A10D-7C40-45DB-8DA1-7D68A3AA91DF}" dt="2024-03-20T09:25:53.563" v="969" actId="2711"/>
          <ac:cxnSpMkLst>
            <pc:docMk/>
            <pc:sldMk cId="4132157064" sldId="2134806153"/>
            <ac:cxnSpMk id="27" creationId="{98145A0E-D089-4371-B6F1-EA42A01B1E34}"/>
          </ac:cxnSpMkLst>
        </pc:cxnChg>
        <pc:cxnChg chg="mod">
          <ac:chgData name="FEYEL, Aude" userId="dc6f8eef-acdf-41f6-8bfe-58ab96dca409" providerId="ADAL" clId="{65E2A10D-7C40-45DB-8DA1-7D68A3AA91DF}" dt="2024-03-20T09:25:53.563" v="969" actId="2711"/>
          <ac:cxnSpMkLst>
            <pc:docMk/>
            <pc:sldMk cId="4132157064" sldId="2134806153"/>
            <ac:cxnSpMk id="28" creationId="{651B664B-F879-43DB-9504-8309F9A97537}"/>
          </ac:cxnSpMkLst>
        </pc:cxnChg>
        <pc:cxnChg chg="mod">
          <ac:chgData name="FEYEL, Aude" userId="dc6f8eef-acdf-41f6-8bfe-58ab96dca409" providerId="ADAL" clId="{65E2A10D-7C40-45DB-8DA1-7D68A3AA91DF}" dt="2024-03-20T09:25:53.563" v="969" actId="2711"/>
          <ac:cxnSpMkLst>
            <pc:docMk/>
            <pc:sldMk cId="4132157064" sldId="2134806153"/>
            <ac:cxnSpMk id="29" creationId="{CA84AC4D-1F9B-4B0F-9D5A-6A7B57E5DBA3}"/>
          </ac:cxnSpMkLst>
        </pc:cxnChg>
        <pc:cxnChg chg="mod">
          <ac:chgData name="FEYEL, Aude" userId="dc6f8eef-acdf-41f6-8bfe-58ab96dca409" providerId="ADAL" clId="{65E2A10D-7C40-45DB-8DA1-7D68A3AA91DF}" dt="2024-03-20T09:25:53.563" v="969" actId="2711"/>
          <ac:cxnSpMkLst>
            <pc:docMk/>
            <pc:sldMk cId="4132157064" sldId="2134806153"/>
            <ac:cxnSpMk id="47" creationId="{EDB761C7-019F-4406-9F88-1A9359968C3E}"/>
          </ac:cxnSpMkLst>
        </pc:cxnChg>
        <pc:cxnChg chg="mod">
          <ac:chgData name="FEYEL, Aude" userId="dc6f8eef-acdf-41f6-8bfe-58ab96dca409" providerId="ADAL" clId="{65E2A10D-7C40-45DB-8DA1-7D68A3AA91DF}" dt="2024-03-20T09:25:53.563" v="969" actId="2711"/>
          <ac:cxnSpMkLst>
            <pc:docMk/>
            <pc:sldMk cId="4132157064" sldId="2134806153"/>
            <ac:cxnSpMk id="48" creationId="{C77395CD-7495-4558-9F08-04524948F0A4}"/>
          </ac:cxnSpMkLst>
        </pc:cxnChg>
        <pc:cxnChg chg="mod">
          <ac:chgData name="FEYEL, Aude" userId="dc6f8eef-acdf-41f6-8bfe-58ab96dca409" providerId="ADAL" clId="{65E2A10D-7C40-45DB-8DA1-7D68A3AA91DF}" dt="2024-03-20T09:25:53.563" v="969" actId="2711"/>
          <ac:cxnSpMkLst>
            <pc:docMk/>
            <pc:sldMk cId="4132157064" sldId="2134806153"/>
            <ac:cxnSpMk id="49" creationId="{1C236566-4B56-409B-8B50-A86FCAC294ED}"/>
          </ac:cxnSpMkLst>
        </pc:cxnChg>
      </pc:sldChg>
      <pc:sldChg chg="modSp mod">
        <pc:chgData name="FEYEL, Aude" userId="dc6f8eef-acdf-41f6-8bfe-58ab96dca409" providerId="ADAL" clId="{65E2A10D-7C40-45DB-8DA1-7D68A3AA91DF}" dt="2024-03-20T09:26:40.327" v="975" actId="2711"/>
        <pc:sldMkLst>
          <pc:docMk/>
          <pc:sldMk cId="2680239075" sldId="2134806154"/>
        </pc:sldMkLst>
        <pc:spChg chg="mod">
          <ac:chgData name="FEYEL, Aude" userId="dc6f8eef-acdf-41f6-8bfe-58ab96dca409" providerId="ADAL" clId="{65E2A10D-7C40-45DB-8DA1-7D68A3AA91DF}" dt="2024-03-20T09:26:40.327" v="975" actId="2711"/>
          <ac:spMkLst>
            <pc:docMk/>
            <pc:sldMk cId="2680239075" sldId="2134806154"/>
            <ac:spMk id="2" creationId="{DE312302-6934-4772-AE96-8D517B35D7AF}"/>
          </ac:spMkLst>
        </pc:spChg>
        <pc:spChg chg="mod">
          <ac:chgData name="FEYEL, Aude" userId="dc6f8eef-acdf-41f6-8bfe-58ab96dca409" providerId="ADAL" clId="{65E2A10D-7C40-45DB-8DA1-7D68A3AA91DF}" dt="2024-03-20T09:26:32.009" v="974" actId="113"/>
          <ac:spMkLst>
            <pc:docMk/>
            <pc:sldMk cId="2680239075" sldId="2134806154"/>
            <ac:spMk id="3" creationId="{3CA4AA22-56AD-4D01-8CF5-5738BBA28C69}"/>
          </ac:spMkLst>
        </pc:spChg>
        <pc:spChg chg="mod">
          <ac:chgData name="FEYEL, Aude" userId="dc6f8eef-acdf-41f6-8bfe-58ab96dca409" providerId="ADAL" clId="{65E2A10D-7C40-45DB-8DA1-7D68A3AA91DF}" dt="2024-03-20T09:26:40.327" v="975" actId="2711"/>
          <ac:spMkLst>
            <pc:docMk/>
            <pc:sldMk cId="2680239075" sldId="2134806154"/>
            <ac:spMk id="4" creationId="{C638260E-82C4-4627-9DEE-94784BC9C5AD}"/>
          </ac:spMkLst>
        </pc:spChg>
        <pc:spChg chg="mod">
          <ac:chgData name="FEYEL, Aude" userId="dc6f8eef-acdf-41f6-8bfe-58ab96dca409" providerId="ADAL" clId="{65E2A10D-7C40-45DB-8DA1-7D68A3AA91DF}" dt="2024-03-20T09:26:40.327" v="975" actId="2711"/>
          <ac:spMkLst>
            <pc:docMk/>
            <pc:sldMk cId="2680239075" sldId="2134806154"/>
            <ac:spMk id="8" creationId="{6F983155-105C-46FB-9FD9-C51439F6FD85}"/>
          </ac:spMkLst>
        </pc:spChg>
        <pc:spChg chg="mod">
          <ac:chgData name="FEYEL, Aude" userId="dc6f8eef-acdf-41f6-8bfe-58ab96dca409" providerId="ADAL" clId="{65E2A10D-7C40-45DB-8DA1-7D68A3AA91DF}" dt="2024-03-20T09:26:40.327" v="975" actId="2711"/>
          <ac:spMkLst>
            <pc:docMk/>
            <pc:sldMk cId="2680239075" sldId="2134806154"/>
            <ac:spMk id="9" creationId="{07C2A495-4F0A-4A2D-8530-A38812BD3E72}"/>
          </ac:spMkLst>
        </pc:spChg>
        <pc:spChg chg="mod">
          <ac:chgData name="FEYEL, Aude" userId="dc6f8eef-acdf-41f6-8bfe-58ab96dca409" providerId="ADAL" clId="{65E2A10D-7C40-45DB-8DA1-7D68A3AA91DF}" dt="2024-03-20T09:26:40.327" v="975" actId="2711"/>
          <ac:spMkLst>
            <pc:docMk/>
            <pc:sldMk cId="2680239075" sldId="2134806154"/>
            <ac:spMk id="55" creationId="{034DE999-2039-4218-BDBD-674D0136F683}"/>
          </ac:spMkLst>
        </pc:spChg>
        <pc:spChg chg="mod">
          <ac:chgData name="FEYEL, Aude" userId="dc6f8eef-acdf-41f6-8bfe-58ab96dca409" providerId="ADAL" clId="{65E2A10D-7C40-45DB-8DA1-7D68A3AA91DF}" dt="2024-03-20T09:26:40.327" v="975" actId="2711"/>
          <ac:spMkLst>
            <pc:docMk/>
            <pc:sldMk cId="2680239075" sldId="2134806154"/>
            <ac:spMk id="56" creationId="{764D3153-0EE0-45CA-941C-02501689F268}"/>
          </ac:spMkLst>
        </pc:spChg>
        <pc:spChg chg="mod">
          <ac:chgData name="FEYEL, Aude" userId="dc6f8eef-acdf-41f6-8bfe-58ab96dca409" providerId="ADAL" clId="{65E2A10D-7C40-45DB-8DA1-7D68A3AA91DF}" dt="2024-03-20T09:26:40.327" v="975" actId="2711"/>
          <ac:spMkLst>
            <pc:docMk/>
            <pc:sldMk cId="2680239075" sldId="2134806154"/>
            <ac:spMk id="57" creationId="{21344EA8-8254-4906-A021-AC9C700BCCFE}"/>
          </ac:spMkLst>
        </pc:spChg>
        <pc:spChg chg="mod">
          <ac:chgData name="FEYEL, Aude" userId="dc6f8eef-acdf-41f6-8bfe-58ab96dca409" providerId="ADAL" clId="{65E2A10D-7C40-45DB-8DA1-7D68A3AA91DF}" dt="2024-03-20T09:26:40.327" v="975" actId="2711"/>
          <ac:spMkLst>
            <pc:docMk/>
            <pc:sldMk cId="2680239075" sldId="2134806154"/>
            <ac:spMk id="58" creationId="{7A31902F-89F1-43D8-A34B-51A7997B4F45}"/>
          </ac:spMkLst>
        </pc:spChg>
        <pc:spChg chg="mod">
          <ac:chgData name="FEYEL, Aude" userId="dc6f8eef-acdf-41f6-8bfe-58ab96dca409" providerId="ADAL" clId="{65E2A10D-7C40-45DB-8DA1-7D68A3AA91DF}" dt="2024-03-20T09:26:40.327" v="975" actId="2711"/>
          <ac:spMkLst>
            <pc:docMk/>
            <pc:sldMk cId="2680239075" sldId="2134806154"/>
            <ac:spMk id="63" creationId="{C90861BF-196C-418D-B2A1-7BCF6B3A2AF4}"/>
          </ac:spMkLst>
        </pc:spChg>
        <pc:spChg chg="mod">
          <ac:chgData name="FEYEL, Aude" userId="dc6f8eef-acdf-41f6-8bfe-58ab96dca409" providerId="ADAL" clId="{65E2A10D-7C40-45DB-8DA1-7D68A3AA91DF}" dt="2024-03-20T09:26:40.327" v="975" actId="2711"/>
          <ac:spMkLst>
            <pc:docMk/>
            <pc:sldMk cId="2680239075" sldId="2134806154"/>
            <ac:spMk id="64" creationId="{53F61D89-D899-4EBB-9DCE-C9C8FEE43AB0}"/>
          </ac:spMkLst>
        </pc:spChg>
        <pc:spChg chg="mod">
          <ac:chgData name="FEYEL, Aude" userId="dc6f8eef-acdf-41f6-8bfe-58ab96dca409" providerId="ADAL" clId="{65E2A10D-7C40-45DB-8DA1-7D68A3AA91DF}" dt="2024-03-20T09:26:40.327" v="975" actId="2711"/>
          <ac:spMkLst>
            <pc:docMk/>
            <pc:sldMk cId="2680239075" sldId="2134806154"/>
            <ac:spMk id="65" creationId="{252B9C97-76AB-4ACD-BBCC-6F8DC60A26FC}"/>
          </ac:spMkLst>
        </pc:spChg>
        <pc:spChg chg="mod">
          <ac:chgData name="FEYEL, Aude" userId="dc6f8eef-acdf-41f6-8bfe-58ab96dca409" providerId="ADAL" clId="{65E2A10D-7C40-45DB-8DA1-7D68A3AA91DF}" dt="2024-03-20T09:26:40.327" v="975" actId="2711"/>
          <ac:spMkLst>
            <pc:docMk/>
            <pc:sldMk cId="2680239075" sldId="2134806154"/>
            <ac:spMk id="66" creationId="{1B581F7E-8887-49E9-A516-BEDA0EB3A4F3}"/>
          </ac:spMkLst>
        </pc:spChg>
        <pc:spChg chg="mod">
          <ac:chgData name="FEYEL, Aude" userId="dc6f8eef-acdf-41f6-8bfe-58ab96dca409" providerId="ADAL" clId="{65E2A10D-7C40-45DB-8DA1-7D68A3AA91DF}" dt="2024-03-20T09:26:40.327" v="975" actId="2711"/>
          <ac:spMkLst>
            <pc:docMk/>
            <pc:sldMk cId="2680239075" sldId="2134806154"/>
            <ac:spMk id="71" creationId="{045E897F-4A25-4D05-936D-B7C0AEA5B28C}"/>
          </ac:spMkLst>
        </pc:spChg>
        <pc:spChg chg="mod">
          <ac:chgData name="FEYEL, Aude" userId="dc6f8eef-acdf-41f6-8bfe-58ab96dca409" providerId="ADAL" clId="{65E2A10D-7C40-45DB-8DA1-7D68A3AA91DF}" dt="2024-03-20T09:26:40.327" v="975" actId="2711"/>
          <ac:spMkLst>
            <pc:docMk/>
            <pc:sldMk cId="2680239075" sldId="2134806154"/>
            <ac:spMk id="72" creationId="{2A31E202-F36F-48B1-B119-0A3AEB17BD8A}"/>
          </ac:spMkLst>
        </pc:spChg>
        <pc:spChg chg="mod">
          <ac:chgData name="FEYEL, Aude" userId="dc6f8eef-acdf-41f6-8bfe-58ab96dca409" providerId="ADAL" clId="{65E2A10D-7C40-45DB-8DA1-7D68A3AA91DF}" dt="2024-03-20T09:26:40.327" v="975" actId="2711"/>
          <ac:spMkLst>
            <pc:docMk/>
            <pc:sldMk cId="2680239075" sldId="2134806154"/>
            <ac:spMk id="75" creationId="{061E2F04-B804-4AB9-BFC5-11DE1C01BCBF}"/>
          </ac:spMkLst>
        </pc:spChg>
        <pc:spChg chg="mod">
          <ac:chgData name="FEYEL, Aude" userId="dc6f8eef-acdf-41f6-8bfe-58ab96dca409" providerId="ADAL" clId="{65E2A10D-7C40-45DB-8DA1-7D68A3AA91DF}" dt="2024-03-20T09:26:40.327" v="975" actId="2711"/>
          <ac:spMkLst>
            <pc:docMk/>
            <pc:sldMk cId="2680239075" sldId="2134806154"/>
            <ac:spMk id="77" creationId="{C7CC794E-2B3C-4795-AAC7-1109E38C1191}"/>
          </ac:spMkLst>
        </pc:spChg>
        <pc:spChg chg="mod">
          <ac:chgData name="FEYEL, Aude" userId="dc6f8eef-acdf-41f6-8bfe-58ab96dca409" providerId="ADAL" clId="{65E2A10D-7C40-45DB-8DA1-7D68A3AA91DF}" dt="2024-03-20T09:26:40.327" v="975" actId="2711"/>
          <ac:spMkLst>
            <pc:docMk/>
            <pc:sldMk cId="2680239075" sldId="2134806154"/>
            <ac:spMk id="78" creationId="{74D769A4-8265-4517-854E-DFFC3662C946}"/>
          </ac:spMkLst>
        </pc:spChg>
        <pc:spChg chg="mod">
          <ac:chgData name="FEYEL, Aude" userId="dc6f8eef-acdf-41f6-8bfe-58ab96dca409" providerId="ADAL" clId="{65E2A10D-7C40-45DB-8DA1-7D68A3AA91DF}" dt="2024-03-20T09:26:40.327" v="975" actId="2711"/>
          <ac:spMkLst>
            <pc:docMk/>
            <pc:sldMk cId="2680239075" sldId="2134806154"/>
            <ac:spMk id="79" creationId="{74B7E65F-789D-4F41-8E70-9E93A3F55C6C}"/>
          </ac:spMkLst>
        </pc:spChg>
        <pc:spChg chg="mod">
          <ac:chgData name="FEYEL, Aude" userId="dc6f8eef-acdf-41f6-8bfe-58ab96dca409" providerId="ADAL" clId="{65E2A10D-7C40-45DB-8DA1-7D68A3AA91DF}" dt="2024-03-20T09:26:40.327" v="975" actId="2711"/>
          <ac:spMkLst>
            <pc:docMk/>
            <pc:sldMk cId="2680239075" sldId="2134806154"/>
            <ac:spMk id="84" creationId="{CD4E846C-6A9E-4B48-886F-FC73597B505E}"/>
          </ac:spMkLst>
        </pc:spChg>
        <pc:spChg chg="mod">
          <ac:chgData name="FEYEL, Aude" userId="dc6f8eef-acdf-41f6-8bfe-58ab96dca409" providerId="ADAL" clId="{65E2A10D-7C40-45DB-8DA1-7D68A3AA91DF}" dt="2024-03-20T09:26:40.327" v="975" actId="2711"/>
          <ac:spMkLst>
            <pc:docMk/>
            <pc:sldMk cId="2680239075" sldId="2134806154"/>
            <ac:spMk id="85" creationId="{A8B7CEC6-8C2F-4C95-845D-CA2BBAFC24DA}"/>
          </ac:spMkLst>
        </pc:spChg>
        <pc:spChg chg="mod">
          <ac:chgData name="FEYEL, Aude" userId="dc6f8eef-acdf-41f6-8bfe-58ab96dca409" providerId="ADAL" clId="{65E2A10D-7C40-45DB-8DA1-7D68A3AA91DF}" dt="2024-03-20T09:26:40.327" v="975" actId="2711"/>
          <ac:spMkLst>
            <pc:docMk/>
            <pc:sldMk cId="2680239075" sldId="2134806154"/>
            <ac:spMk id="86" creationId="{3BD07DC9-3C56-4114-9324-241D50FB87CF}"/>
          </ac:spMkLst>
        </pc:spChg>
        <pc:spChg chg="mod">
          <ac:chgData name="FEYEL, Aude" userId="dc6f8eef-acdf-41f6-8bfe-58ab96dca409" providerId="ADAL" clId="{65E2A10D-7C40-45DB-8DA1-7D68A3AA91DF}" dt="2024-03-20T09:26:40.327" v="975" actId="2711"/>
          <ac:spMkLst>
            <pc:docMk/>
            <pc:sldMk cId="2680239075" sldId="2134806154"/>
            <ac:spMk id="87" creationId="{21AE1BEA-3D62-4C82-A3D6-BDE98645D2DC}"/>
          </ac:spMkLst>
        </pc:spChg>
        <pc:spChg chg="mod">
          <ac:chgData name="FEYEL, Aude" userId="dc6f8eef-acdf-41f6-8bfe-58ab96dca409" providerId="ADAL" clId="{65E2A10D-7C40-45DB-8DA1-7D68A3AA91DF}" dt="2024-03-20T09:26:40.327" v="975" actId="2711"/>
          <ac:spMkLst>
            <pc:docMk/>
            <pc:sldMk cId="2680239075" sldId="2134806154"/>
            <ac:spMk id="88" creationId="{34A1DE07-3DF2-48BD-BAC5-38E8F9203557}"/>
          </ac:spMkLst>
        </pc:spChg>
        <pc:spChg chg="mod">
          <ac:chgData name="FEYEL, Aude" userId="dc6f8eef-acdf-41f6-8bfe-58ab96dca409" providerId="ADAL" clId="{65E2A10D-7C40-45DB-8DA1-7D68A3AA91DF}" dt="2024-03-20T09:26:40.327" v="975" actId="2711"/>
          <ac:spMkLst>
            <pc:docMk/>
            <pc:sldMk cId="2680239075" sldId="2134806154"/>
            <ac:spMk id="89" creationId="{FA20CBB1-2036-47D8-88D7-3EA5BE684F7F}"/>
          </ac:spMkLst>
        </pc:spChg>
        <pc:spChg chg="mod">
          <ac:chgData name="FEYEL, Aude" userId="dc6f8eef-acdf-41f6-8bfe-58ab96dca409" providerId="ADAL" clId="{65E2A10D-7C40-45DB-8DA1-7D68A3AA91DF}" dt="2024-03-20T09:26:40.327" v="975" actId="2711"/>
          <ac:spMkLst>
            <pc:docMk/>
            <pc:sldMk cId="2680239075" sldId="2134806154"/>
            <ac:spMk id="90" creationId="{48E507AB-CF9C-41ED-88C2-96A42D54FE13}"/>
          </ac:spMkLst>
        </pc:spChg>
        <pc:spChg chg="mod">
          <ac:chgData name="FEYEL, Aude" userId="dc6f8eef-acdf-41f6-8bfe-58ab96dca409" providerId="ADAL" clId="{65E2A10D-7C40-45DB-8DA1-7D68A3AA91DF}" dt="2024-03-20T09:26:40.327" v="975" actId="2711"/>
          <ac:spMkLst>
            <pc:docMk/>
            <pc:sldMk cId="2680239075" sldId="2134806154"/>
            <ac:spMk id="91" creationId="{1C7EB2EB-C78F-4BA0-A019-423E39F545A1}"/>
          </ac:spMkLst>
        </pc:spChg>
        <pc:spChg chg="mod">
          <ac:chgData name="FEYEL, Aude" userId="dc6f8eef-acdf-41f6-8bfe-58ab96dca409" providerId="ADAL" clId="{65E2A10D-7C40-45DB-8DA1-7D68A3AA91DF}" dt="2024-03-20T09:26:40.327" v="975" actId="2711"/>
          <ac:spMkLst>
            <pc:docMk/>
            <pc:sldMk cId="2680239075" sldId="2134806154"/>
            <ac:spMk id="92" creationId="{B318BA41-279D-46F5-9234-14517E03432A}"/>
          </ac:spMkLst>
        </pc:spChg>
        <pc:spChg chg="mod">
          <ac:chgData name="FEYEL, Aude" userId="dc6f8eef-acdf-41f6-8bfe-58ab96dca409" providerId="ADAL" clId="{65E2A10D-7C40-45DB-8DA1-7D68A3AA91DF}" dt="2024-03-20T09:26:40.327" v="975" actId="2711"/>
          <ac:spMkLst>
            <pc:docMk/>
            <pc:sldMk cId="2680239075" sldId="2134806154"/>
            <ac:spMk id="93" creationId="{F1E6B282-C59A-4068-B01C-CD6E3DCB8009}"/>
          </ac:spMkLst>
        </pc:spChg>
        <pc:spChg chg="mod">
          <ac:chgData name="FEYEL, Aude" userId="dc6f8eef-acdf-41f6-8bfe-58ab96dca409" providerId="ADAL" clId="{65E2A10D-7C40-45DB-8DA1-7D68A3AA91DF}" dt="2024-03-20T09:26:40.327" v="975" actId="2711"/>
          <ac:spMkLst>
            <pc:docMk/>
            <pc:sldMk cId="2680239075" sldId="2134806154"/>
            <ac:spMk id="95" creationId="{A4367096-9BDE-46D5-B2B2-417768265B55}"/>
          </ac:spMkLst>
        </pc:spChg>
        <pc:spChg chg="mod">
          <ac:chgData name="FEYEL, Aude" userId="dc6f8eef-acdf-41f6-8bfe-58ab96dca409" providerId="ADAL" clId="{65E2A10D-7C40-45DB-8DA1-7D68A3AA91DF}" dt="2024-03-20T09:26:40.327" v="975" actId="2711"/>
          <ac:spMkLst>
            <pc:docMk/>
            <pc:sldMk cId="2680239075" sldId="2134806154"/>
            <ac:spMk id="97" creationId="{961E2A45-0AE3-4B5B-B04D-5ABBFBC941F6}"/>
          </ac:spMkLst>
        </pc:spChg>
        <pc:spChg chg="mod">
          <ac:chgData name="FEYEL, Aude" userId="dc6f8eef-acdf-41f6-8bfe-58ab96dca409" providerId="ADAL" clId="{65E2A10D-7C40-45DB-8DA1-7D68A3AA91DF}" dt="2024-03-20T09:26:40.327" v="975" actId="2711"/>
          <ac:spMkLst>
            <pc:docMk/>
            <pc:sldMk cId="2680239075" sldId="2134806154"/>
            <ac:spMk id="100" creationId="{30CB25DA-9E13-4D89-AFC7-921970CB0B7A}"/>
          </ac:spMkLst>
        </pc:spChg>
        <pc:spChg chg="mod">
          <ac:chgData name="FEYEL, Aude" userId="dc6f8eef-acdf-41f6-8bfe-58ab96dca409" providerId="ADAL" clId="{65E2A10D-7C40-45DB-8DA1-7D68A3AA91DF}" dt="2024-03-20T09:26:40.327" v="975" actId="2711"/>
          <ac:spMkLst>
            <pc:docMk/>
            <pc:sldMk cId="2680239075" sldId="2134806154"/>
            <ac:spMk id="101" creationId="{EDE70581-1FD3-4725-88FA-49939CE39865}"/>
          </ac:spMkLst>
        </pc:spChg>
        <pc:spChg chg="mod">
          <ac:chgData name="FEYEL, Aude" userId="dc6f8eef-acdf-41f6-8bfe-58ab96dca409" providerId="ADAL" clId="{65E2A10D-7C40-45DB-8DA1-7D68A3AA91DF}" dt="2024-03-20T09:26:40.327" v="975" actId="2711"/>
          <ac:spMkLst>
            <pc:docMk/>
            <pc:sldMk cId="2680239075" sldId="2134806154"/>
            <ac:spMk id="102" creationId="{BF894A1E-E96F-40AE-BA33-534FF2C4E73B}"/>
          </ac:spMkLst>
        </pc:spChg>
        <pc:spChg chg="mod">
          <ac:chgData name="FEYEL, Aude" userId="dc6f8eef-acdf-41f6-8bfe-58ab96dca409" providerId="ADAL" clId="{65E2A10D-7C40-45DB-8DA1-7D68A3AA91DF}" dt="2024-03-20T09:26:40.327" v="975" actId="2711"/>
          <ac:spMkLst>
            <pc:docMk/>
            <pc:sldMk cId="2680239075" sldId="2134806154"/>
            <ac:spMk id="103" creationId="{2DB8C1CB-F015-453C-B8F0-C1A143CE78E6}"/>
          </ac:spMkLst>
        </pc:spChg>
        <pc:spChg chg="mod">
          <ac:chgData name="FEYEL, Aude" userId="dc6f8eef-acdf-41f6-8bfe-58ab96dca409" providerId="ADAL" clId="{65E2A10D-7C40-45DB-8DA1-7D68A3AA91DF}" dt="2024-03-20T09:26:40.327" v="975" actId="2711"/>
          <ac:spMkLst>
            <pc:docMk/>
            <pc:sldMk cId="2680239075" sldId="2134806154"/>
            <ac:spMk id="104" creationId="{6ADCA1DA-9357-4AC5-8E57-98533ED8F7CD}"/>
          </ac:spMkLst>
        </pc:spChg>
        <pc:spChg chg="mod">
          <ac:chgData name="FEYEL, Aude" userId="dc6f8eef-acdf-41f6-8bfe-58ab96dca409" providerId="ADAL" clId="{65E2A10D-7C40-45DB-8DA1-7D68A3AA91DF}" dt="2024-03-20T09:26:40.327" v="975" actId="2711"/>
          <ac:spMkLst>
            <pc:docMk/>
            <pc:sldMk cId="2680239075" sldId="2134806154"/>
            <ac:spMk id="108" creationId="{BD9EF1D2-3208-486E-8E06-37719CC1CC62}"/>
          </ac:spMkLst>
        </pc:spChg>
        <pc:spChg chg="mod">
          <ac:chgData name="FEYEL, Aude" userId="dc6f8eef-acdf-41f6-8bfe-58ab96dca409" providerId="ADAL" clId="{65E2A10D-7C40-45DB-8DA1-7D68A3AA91DF}" dt="2024-03-20T09:26:40.327" v="975" actId="2711"/>
          <ac:spMkLst>
            <pc:docMk/>
            <pc:sldMk cId="2680239075" sldId="2134806154"/>
            <ac:spMk id="109" creationId="{4826EAEA-B447-4EF0-AF17-9AB048B3843A}"/>
          </ac:spMkLst>
        </pc:spChg>
        <pc:spChg chg="mod">
          <ac:chgData name="FEYEL, Aude" userId="dc6f8eef-acdf-41f6-8bfe-58ab96dca409" providerId="ADAL" clId="{65E2A10D-7C40-45DB-8DA1-7D68A3AA91DF}" dt="2024-03-20T09:26:40.327" v="975" actId="2711"/>
          <ac:spMkLst>
            <pc:docMk/>
            <pc:sldMk cId="2680239075" sldId="2134806154"/>
            <ac:spMk id="110" creationId="{4B187124-7860-40AA-9994-204E4C55FA16}"/>
          </ac:spMkLst>
        </pc:spChg>
        <pc:spChg chg="mod">
          <ac:chgData name="FEYEL, Aude" userId="dc6f8eef-acdf-41f6-8bfe-58ab96dca409" providerId="ADAL" clId="{65E2A10D-7C40-45DB-8DA1-7D68A3AA91DF}" dt="2024-03-20T09:26:40.327" v="975" actId="2711"/>
          <ac:spMkLst>
            <pc:docMk/>
            <pc:sldMk cId="2680239075" sldId="2134806154"/>
            <ac:spMk id="111" creationId="{43283122-84CD-4C34-AE7A-146AF19B6774}"/>
          </ac:spMkLst>
        </pc:spChg>
        <pc:spChg chg="mod">
          <ac:chgData name="FEYEL, Aude" userId="dc6f8eef-acdf-41f6-8bfe-58ab96dca409" providerId="ADAL" clId="{65E2A10D-7C40-45DB-8DA1-7D68A3AA91DF}" dt="2024-03-20T09:26:40.327" v="975" actId="2711"/>
          <ac:spMkLst>
            <pc:docMk/>
            <pc:sldMk cId="2680239075" sldId="2134806154"/>
            <ac:spMk id="115" creationId="{37CE316A-82A2-405E-95D4-DFC5E2AFC11A}"/>
          </ac:spMkLst>
        </pc:spChg>
        <pc:spChg chg="mod">
          <ac:chgData name="FEYEL, Aude" userId="dc6f8eef-acdf-41f6-8bfe-58ab96dca409" providerId="ADAL" clId="{65E2A10D-7C40-45DB-8DA1-7D68A3AA91DF}" dt="2024-03-20T09:26:40.327" v="975" actId="2711"/>
          <ac:spMkLst>
            <pc:docMk/>
            <pc:sldMk cId="2680239075" sldId="2134806154"/>
            <ac:spMk id="116" creationId="{3201A8E8-0F45-4BF9-965B-4B894E6DA3C6}"/>
          </ac:spMkLst>
        </pc:spChg>
        <pc:spChg chg="mod">
          <ac:chgData name="FEYEL, Aude" userId="dc6f8eef-acdf-41f6-8bfe-58ab96dca409" providerId="ADAL" clId="{65E2A10D-7C40-45DB-8DA1-7D68A3AA91DF}" dt="2024-03-20T09:26:40.327" v="975" actId="2711"/>
          <ac:spMkLst>
            <pc:docMk/>
            <pc:sldMk cId="2680239075" sldId="2134806154"/>
            <ac:spMk id="117" creationId="{C57BC806-D43F-4DFF-8B1A-4354F089844F}"/>
          </ac:spMkLst>
        </pc:spChg>
        <pc:spChg chg="mod">
          <ac:chgData name="FEYEL, Aude" userId="dc6f8eef-acdf-41f6-8bfe-58ab96dca409" providerId="ADAL" clId="{65E2A10D-7C40-45DB-8DA1-7D68A3AA91DF}" dt="2024-03-20T09:26:40.327" v="975" actId="2711"/>
          <ac:spMkLst>
            <pc:docMk/>
            <pc:sldMk cId="2680239075" sldId="2134806154"/>
            <ac:spMk id="118" creationId="{8C8A89D7-313B-4FDF-B622-B4F85027FC5B}"/>
          </ac:spMkLst>
        </pc:spChg>
        <pc:spChg chg="mod">
          <ac:chgData name="FEYEL, Aude" userId="dc6f8eef-acdf-41f6-8bfe-58ab96dca409" providerId="ADAL" clId="{65E2A10D-7C40-45DB-8DA1-7D68A3AA91DF}" dt="2024-03-20T09:26:40.327" v="975" actId="2711"/>
          <ac:spMkLst>
            <pc:docMk/>
            <pc:sldMk cId="2680239075" sldId="2134806154"/>
            <ac:spMk id="123" creationId="{88A4EC3F-4432-43F0-95F0-79B9E9F9C5D1}"/>
          </ac:spMkLst>
        </pc:spChg>
        <pc:spChg chg="mod">
          <ac:chgData name="FEYEL, Aude" userId="dc6f8eef-acdf-41f6-8bfe-58ab96dca409" providerId="ADAL" clId="{65E2A10D-7C40-45DB-8DA1-7D68A3AA91DF}" dt="2024-03-20T09:26:40.327" v="975" actId="2711"/>
          <ac:spMkLst>
            <pc:docMk/>
            <pc:sldMk cId="2680239075" sldId="2134806154"/>
            <ac:spMk id="124" creationId="{626F2312-209B-42F0-91B1-45560381E0FA}"/>
          </ac:spMkLst>
        </pc:spChg>
        <pc:spChg chg="mod">
          <ac:chgData name="FEYEL, Aude" userId="dc6f8eef-acdf-41f6-8bfe-58ab96dca409" providerId="ADAL" clId="{65E2A10D-7C40-45DB-8DA1-7D68A3AA91DF}" dt="2024-03-20T09:26:40.327" v="975" actId="2711"/>
          <ac:spMkLst>
            <pc:docMk/>
            <pc:sldMk cId="2680239075" sldId="2134806154"/>
            <ac:spMk id="125" creationId="{978DBF19-E32A-4451-873E-FBEAE7ABE87E}"/>
          </ac:spMkLst>
        </pc:spChg>
        <pc:spChg chg="mod">
          <ac:chgData name="FEYEL, Aude" userId="dc6f8eef-acdf-41f6-8bfe-58ab96dca409" providerId="ADAL" clId="{65E2A10D-7C40-45DB-8DA1-7D68A3AA91DF}" dt="2024-03-20T09:26:40.327" v="975" actId="2711"/>
          <ac:spMkLst>
            <pc:docMk/>
            <pc:sldMk cId="2680239075" sldId="2134806154"/>
            <ac:spMk id="126" creationId="{BAF4DF77-D8FC-4748-BD3D-C702F81D2EED}"/>
          </ac:spMkLst>
        </pc:spChg>
        <pc:spChg chg="mod">
          <ac:chgData name="FEYEL, Aude" userId="dc6f8eef-acdf-41f6-8bfe-58ab96dca409" providerId="ADAL" clId="{65E2A10D-7C40-45DB-8DA1-7D68A3AA91DF}" dt="2024-03-20T09:26:40.327" v="975" actId="2711"/>
          <ac:spMkLst>
            <pc:docMk/>
            <pc:sldMk cId="2680239075" sldId="2134806154"/>
            <ac:spMk id="127" creationId="{C214B9A9-EC6F-45C6-B4CB-C5F68866DD7D}"/>
          </ac:spMkLst>
        </pc:spChg>
        <pc:spChg chg="mod">
          <ac:chgData name="FEYEL, Aude" userId="dc6f8eef-acdf-41f6-8bfe-58ab96dca409" providerId="ADAL" clId="{65E2A10D-7C40-45DB-8DA1-7D68A3AA91DF}" dt="2024-03-20T09:26:40.327" v="975" actId="2711"/>
          <ac:spMkLst>
            <pc:docMk/>
            <pc:sldMk cId="2680239075" sldId="2134806154"/>
            <ac:spMk id="128" creationId="{989B914D-0E1A-4B70-BBAE-B726356D0374}"/>
          </ac:spMkLst>
        </pc:spChg>
        <pc:spChg chg="mod">
          <ac:chgData name="FEYEL, Aude" userId="dc6f8eef-acdf-41f6-8bfe-58ab96dca409" providerId="ADAL" clId="{65E2A10D-7C40-45DB-8DA1-7D68A3AA91DF}" dt="2024-03-20T09:26:40.327" v="975" actId="2711"/>
          <ac:spMkLst>
            <pc:docMk/>
            <pc:sldMk cId="2680239075" sldId="2134806154"/>
            <ac:spMk id="129" creationId="{F7A10105-2BF9-40A5-8629-6BF11322A022}"/>
          </ac:spMkLst>
        </pc:spChg>
        <pc:spChg chg="mod">
          <ac:chgData name="FEYEL, Aude" userId="dc6f8eef-acdf-41f6-8bfe-58ab96dca409" providerId="ADAL" clId="{65E2A10D-7C40-45DB-8DA1-7D68A3AA91DF}" dt="2024-03-20T09:26:40.327" v="975" actId="2711"/>
          <ac:spMkLst>
            <pc:docMk/>
            <pc:sldMk cId="2680239075" sldId="2134806154"/>
            <ac:spMk id="130" creationId="{EBA701DC-4A45-4968-86E7-C9B94B7A1818}"/>
          </ac:spMkLst>
        </pc:spChg>
        <pc:spChg chg="mod">
          <ac:chgData name="FEYEL, Aude" userId="dc6f8eef-acdf-41f6-8bfe-58ab96dca409" providerId="ADAL" clId="{65E2A10D-7C40-45DB-8DA1-7D68A3AA91DF}" dt="2024-03-20T09:26:40.327" v="975" actId="2711"/>
          <ac:spMkLst>
            <pc:docMk/>
            <pc:sldMk cId="2680239075" sldId="2134806154"/>
            <ac:spMk id="131" creationId="{5BA388AC-FF2E-406F-9910-D7FCE695AC25}"/>
          </ac:spMkLst>
        </pc:spChg>
        <pc:spChg chg="mod">
          <ac:chgData name="FEYEL, Aude" userId="dc6f8eef-acdf-41f6-8bfe-58ab96dca409" providerId="ADAL" clId="{65E2A10D-7C40-45DB-8DA1-7D68A3AA91DF}" dt="2024-03-20T09:26:40.327" v="975" actId="2711"/>
          <ac:spMkLst>
            <pc:docMk/>
            <pc:sldMk cId="2680239075" sldId="2134806154"/>
            <ac:spMk id="141" creationId="{0401B009-0447-43B6-9FFB-DE8CABB146BD}"/>
          </ac:spMkLst>
        </pc:spChg>
        <pc:spChg chg="mod">
          <ac:chgData name="FEYEL, Aude" userId="dc6f8eef-acdf-41f6-8bfe-58ab96dca409" providerId="ADAL" clId="{65E2A10D-7C40-45DB-8DA1-7D68A3AA91DF}" dt="2024-03-20T09:26:40.327" v="975" actId="2711"/>
          <ac:spMkLst>
            <pc:docMk/>
            <pc:sldMk cId="2680239075" sldId="2134806154"/>
            <ac:spMk id="143" creationId="{4D9490D4-C07D-409A-84C8-954D00681D8E}"/>
          </ac:spMkLst>
        </pc:spChg>
        <pc:spChg chg="mod">
          <ac:chgData name="FEYEL, Aude" userId="dc6f8eef-acdf-41f6-8bfe-58ab96dca409" providerId="ADAL" clId="{65E2A10D-7C40-45DB-8DA1-7D68A3AA91DF}" dt="2024-03-20T09:26:40.327" v="975" actId="2711"/>
          <ac:spMkLst>
            <pc:docMk/>
            <pc:sldMk cId="2680239075" sldId="2134806154"/>
            <ac:spMk id="145" creationId="{305818EA-0ECD-443B-91B8-DC0BB9A5DF97}"/>
          </ac:spMkLst>
        </pc:spChg>
        <pc:spChg chg="mod">
          <ac:chgData name="FEYEL, Aude" userId="dc6f8eef-acdf-41f6-8bfe-58ab96dca409" providerId="ADAL" clId="{65E2A10D-7C40-45DB-8DA1-7D68A3AA91DF}" dt="2024-03-20T09:26:40.327" v="975" actId="2711"/>
          <ac:spMkLst>
            <pc:docMk/>
            <pc:sldMk cId="2680239075" sldId="2134806154"/>
            <ac:spMk id="147" creationId="{BDD29A43-F438-4F3D-8C4B-3640D72897AC}"/>
          </ac:spMkLst>
        </pc:spChg>
        <pc:spChg chg="mod">
          <ac:chgData name="FEYEL, Aude" userId="dc6f8eef-acdf-41f6-8bfe-58ab96dca409" providerId="ADAL" clId="{65E2A10D-7C40-45DB-8DA1-7D68A3AA91DF}" dt="2024-03-20T09:26:40.327" v="975" actId="2711"/>
          <ac:spMkLst>
            <pc:docMk/>
            <pc:sldMk cId="2680239075" sldId="2134806154"/>
            <ac:spMk id="157" creationId="{D24AE3FC-6FCB-49CA-8E42-75328AEB1861}"/>
          </ac:spMkLst>
        </pc:spChg>
        <pc:spChg chg="mod">
          <ac:chgData name="FEYEL, Aude" userId="dc6f8eef-acdf-41f6-8bfe-58ab96dca409" providerId="ADAL" clId="{65E2A10D-7C40-45DB-8DA1-7D68A3AA91DF}" dt="2024-03-20T09:26:40.327" v="975" actId="2711"/>
          <ac:spMkLst>
            <pc:docMk/>
            <pc:sldMk cId="2680239075" sldId="2134806154"/>
            <ac:spMk id="172" creationId="{B34FAAF8-5289-4652-AA54-F241772CE835}"/>
          </ac:spMkLst>
        </pc:spChg>
        <pc:spChg chg="mod">
          <ac:chgData name="FEYEL, Aude" userId="dc6f8eef-acdf-41f6-8bfe-58ab96dca409" providerId="ADAL" clId="{65E2A10D-7C40-45DB-8DA1-7D68A3AA91DF}" dt="2024-03-20T09:26:40.327" v="975" actId="2711"/>
          <ac:spMkLst>
            <pc:docMk/>
            <pc:sldMk cId="2680239075" sldId="2134806154"/>
            <ac:spMk id="196" creationId="{17ACDF7A-16BD-49CE-B4C7-117CEA790516}"/>
          </ac:spMkLst>
        </pc:spChg>
        <pc:grpChg chg="mod">
          <ac:chgData name="FEYEL, Aude" userId="dc6f8eef-acdf-41f6-8bfe-58ab96dca409" providerId="ADAL" clId="{65E2A10D-7C40-45DB-8DA1-7D68A3AA91DF}" dt="2024-03-20T09:26:40.327" v="975" actId="2711"/>
          <ac:grpSpMkLst>
            <pc:docMk/>
            <pc:sldMk cId="2680239075" sldId="2134806154"/>
            <ac:grpSpMk id="5" creationId="{05FD9AFD-368C-47CA-8A97-FBB0DF40565A}"/>
          </ac:grpSpMkLst>
        </pc:grpChg>
        <pc:graphicFrameChg chg="mod">
          <ac:chgData name="FEYEL, Aude" userId="dc6f8eef-acdf-41f6-8bfe-58ab96dca409" providerId="ADAL" clId="{65E2A10D-7C40-45DB-8DA1-7D68A3AA91DF}" dt="2024-03-20T09:26:40.327" v="975" actId="2711"/>
          <ac:graphicFrameMkLst>
            <pc:docMk/>
            <pc:sldMk cId="2680239075" sldId="2134806154"/>
            <ac:graphicFrameMk id="7" creationId="{EAD38AAF-6E84-477E-B46C-6B4CBF879003}"/>
          </ac:graphicFrameMkLst>
        </pc:graphicFrameChg>
        <pc:graphicFrameChg chg="mod">
          <ac:chgData name="FEYEL, Aude" userId="dc6f8eef-acdf-41f6-8bfe-58ab96dca409" providerId="ADAL" clId="{65E2A10D-7C40-45DB-8DA1-7D68A3AA91DF}" dt="2024-03-20T09:26:40.327" v="975" actId="2711"/>
          <ac:graphicFrameMkLst>
            <pc:docMk/>
            <pc:sldMk cId="2680239075" sldId="2134806154"/>
            <ac:graphicFrameMk id="10" creationId="{5B16F258-72C0-B06B-D15F-B78CC44BC471}"/>
          </ac:graphicFrameMkLst>
        </pc:graphicFrameChg>
        <pc:picChg chg="mod">
          <ac:chgData name="FEYEL, Aude" userId="dc6f8eef-acdf-41f6-8bfe-58ab96dca409" providerId="ADAL" clId="{65E2A10D-7C40-45DB-8DA1-7D68A3AA91DF}" dt="2024-03-20T09:26:40.327" v="975" actId="2711"/>
          <ac:picMkLst>
            <pc:docMk/>
            <pc:sldMk cId="2680239075" sldId="2134806154"/>
            <ac:picMk id="59" creationId="{BAB4D364-18F3-42A0-821F-532219B4F17D}"/>
          </ac:picMkLst>
        </pc:picChg>
        <pc:picChg chg="mod">
          <ac:chgData name="FEYEL, Aude" userId="dc6f8eef-acdf-41f6-8bfe-58ab96dca409" providerId="ADAL" clId="{65E2A10D-7C40-45DB-8DA1-7D68A3AA91DF}" dt="2024-03-20T09:26:40.327" v="975" actId="2711"/>
          <ac:picMkLst>
            <pc:docMk/>
            <pc:sldMk cId="2680239075" sldId="2134806154"/>
            <ac:picMk id="60" creationId="{37D07D91-3D28-4D76-B438-3DF006B0245C}"/>
          </ac:picMkLst>
        </pc:picChg>
        <pc:picChg chg="mod">
          <ac:chgData name="FEYEL, Aude" userId="dc6f8eef-acdf-41f6-8bfe-58ab96dca409" providerId="ADAL" clId="{65E2A10D-7C40-45DB-8DA1-7D68A3AA91DF}" dt="2024-03-20T09:26:40.327" v="975" actId="2711"/>
          <ac:picMkLst>
            <pc:docMk/>
            <pc:sldMk cId="2680239075" sldId="2134806154"/>
            <ac:picMk id="61" creationId="{371F7A14-28B7-4834-9BCB-95D9D01D6667}"/>
          </ac:picMkLst>
        </pc:picChg>
        <pc:picChg chg="mod">
          <ac:chgData name="FEYEL, Aude" userId="dc6f8eef-acdf-41f6-8bfe-58ab96dca409" providerId="ADAL" clId="{65E2A10D-7C40-45DB-8DA1-7D68A3AA91DF}" dt="2024-03-20T09:26:40.327" v="975" actId="2711"/>
          <ac:picMkLst>
            <pc:docMk/>
            <pc:sldMk cId="2680239075" sldId="2134806154"/>
            <ac:picMk id="62" creationId="{37916118-85E0-409A-A804-80EFE0DB9CAC}"/>
          </ac:picMkLst>
        </pc:picChg>
        <pc:picChg chg="mod">
          <ac:chgData name="FEYEL, Aude" userId="dc6f8eef-acdf-41f6-8bfe-58ab96dca409" providerId="ADAL" clId="{65E2A10D-7C40-45DB-8DA1-7D68A3AA91DF}" dt="2024-03-20T09:26:40.327" v="975" actId="2711"/>
          <ac:picMkLst>
            <pc:docMk/>
            <pc:sldMk cId="2680239075" sldId="2134806154"/>
            <ac:picMk id="67" creationId="{451952F8-F0C1-490E-B262-15D09699485D}"/>
          </ac:picMkLst>
        </pc:picChg>
        <pc:picChg chg="mod">
          <ac:chgData name="FEYEL, Aude" userId="dc6f8eef-acdf-41f6-8bfe-58ab96dca409" providerId="ADAL" clId="{65E2A10D-7C40-45DB-8DA1-7D68A3AA91DF}" dt="2024-03-20T09:26:40.327" v="975" actId="2711"/>
          <ac:picMkLst>
            <pc:docMk/>
            <pc:sldMk cId="2680239075" sldId="2134806154"/>
            <ac:picMk id="68" creationId="{AA77822E-6DAB-4EBD-BF60-A0041722E2FD}"/>
          </ac:picMkLst>
        </pc:picChg>
        <pc:picChg chg="mod">
          <ac:chgData name="FEYEL, Aude" userId="dc6f8eef-acdf-41f6-8bfe-58ab96dca409" providerId="ADAL" clId="{65E2A10D-7C40-45DB-8DA1-7D68A3AA91DF}" dt="2024-03-20T09:26:40.327" v="975" actId="2711"/>
          <ac:picMkLst>
            <pc:docMk/>
            <pc:sldMk cId="2680239075" sldId="2134806154"/>
            <ac:picMk id="69" creationId="{A7CA4959-64DF-42EC-8E37-8B14BBE5CFDB}"/>
          </ac:picMkLst>
        </pc:picChg>
        <pc:picChg chg="mod">
          <ac:chgData name="FEYEL, Aude" userId="dc6f8eef-acdf-41f6-8bfe-58ab96dca409" providerId="ADAL" clId="{65E2A10D-7C40-45DB-8DA1-7D68A3AA91DF}" dt="2024-03-20T09:26:40.327" v="975" actId="2711"/>
          <ac:picMkLst>
            <pc:docMk/>
            <pc:sldMk cId="2680239075" sldId="2134806154"/>
            <ac:picMk id="70" creationId="{EB7CCD77-86C7-4310-A56F-35EE9D4A669B}"/>
          </ac:picMkLst>
        </pc:picChg>
        <pc:picChg chg="mod">
          <ac:chgData name="FEYEL, Aude" userId="dc6f8eef-acdf-41f6-8bfe-58ab96dca409" providerId="ADAL" clId="{65E2A10D-7C40-45DB-8DA1-7D68A3AA91DF}" dt="2024-03-20T09:26:40.327" v="975" actId="2711"/>
          <ac:picMkLst>
            <pc:docMk/>
            <pc:sldMk cId="2680239075" sldId="2134806154"/>
            <ac:picMk id="73" creationId="{80A92146-F63F-47B5-8504-1FE24DA0816F}"/>
          </ac:picMkLst>
        </pc:picChg>
        <pc:picChg chg="mod">
          <ac:chgData name="FEYEL, Aude" userId="dc6f8eef-acdf-41f6-8bfe-58ab96dca409" providerId="ADAL" clId="{65E2A10D-7C40-45DB-8DA1-7D68A3AA91DF}" dt="2024-03-20T09:26:40.327" v="975" actId="2711"/>
          <ac:picMkLst>
            <pc:docMk/>
            <pc:sldMk cId="2680239075" sldId="2134806154"/>
            <ac:picMk id="74" creationId="{976D67F8-6BE7-450A-AD3F-69F410E4791E}"/>
          </ac:picMkLst>
        </pc:picChg>
        <pc:picChg chg="mod">
          <ac:chgData name="FEYEL, Aude" userId="dc6f8eef-acdf-41f6-8bfe-58ab96dca409" providerId="ADAL" clId="{65E2A10D-7C40-45DB-8DA1-7D68A3AA91DF}" dt="2024-03-20T09:26:40.327" v="975" actId="2711"/>
          <ac:picMkLst>
            <pc:docMk/>
            <pc:sldMk cId="2680239075" sldId="2134806154"/>
            <ac:picMk id="80" creationId="{714F53BA-2AF9-469E-B971-04D0BDF2FD39}"/>
          </ac:picMkLst>
        </pc:picChg>
        <pc:picChg chg="mod">
          <ac:chgData name="FEYEL, Aude" userId="dc6f8eef-acdf-41f6-8bfe-58ab96dca409" providerId="ADAL" clId="{65E2A10D-7C40-45DB-8DA1-7D68A3AA91DF}" dt="2024-03-20T09:26:40.327" v="975" actId="2711"/>
          <ac:picMkLst>
            <pc:docMk/>
            <pc:sldMk cId="2680239075" sldId="2134806154"/>
            <ac:picMk id="81" creationId="{E9EB6CD6-75DB-44EC-A626-C22071358826}"/>
          </ac:picMkLst>
        </pc:picChg>
        <pc:picChg chg="mod">
          <ac:chgData name="FEYEL, Aude" userId="dc6f8eef-acdf-41f6-8bfe-58ab96dca409" providerId="ADAL" clId="{65E2A10D-7C40-45DB-8DA1-7D68A3AA91DF}" dt="2024-03-20T09:26:40.327" v="975" actId="2711"/>
          <ac:picMkLst>
            <pc:docMk/>
            <pc:sldMk cId="2680239075" sldId="2134806154"/>
            <ac:picMk id="82" creationId="{EF598E44-03B1-46FE-B448-31423270A1ED}"/>
          </ac:picMkLst>
        </pc:picChg>
        <pc:picChg chg="mod">
          <ac:chgData name="FEYEL, Aude" userId="dc6f8eef-acdf-41f6-8bfe-58ab96dca409" providerId="ADAL" clId="{65E2A10D-7C40-45DB-8DA1-7D68A3AA91DF}" dt="2024-03-20T09:26:40.327" v="975" actId="2711"/>
          <ac:picMkLst>
            <pc:docMk/>
            <pc:sldMk cId="2680239075" sldId="2134806154"/>
            <ac:picMk id="83" creationId="{1125F5A1-93FD-402F-BC4F-364CCF1838CE}"/>
          </ac:picMkLst>
        </pc:picChg>
        <pc:picChg chg="mod">
          <ac:chgData name="FEYEL, Aude" userId="dc6f8eef-acdf-41f6-8bfe-58ab96dca409" providerId="ADAL" clId="{65E2A10D-7C40-45DB-8DA1-7D68A3AA91DF}" dt="2024-03-20T09:26:40.327" v="975" actId="2711"/>
          <ac:picMkLst>
            <pc:docMk/>
            <pc:sldMk cId="2680239075" sldId="2134806154"/>
            <ac:picMk id="94" creationId="{5EC8CF64-92D7-4016-B268-83EE9B7F8DA2}"/>
          </ac:picMkLst>
        </pc:picChg>
        <pc:picChg chg="mod">
          <ac:chgData name="FEYEL, Aude" userId="dc6f8eef-acdf-41f6-8bfe-58ab96dca409" providerId="ADAL" clId="{65E2A10D-7C40-45DB-8DA1-7D68A3AA91DF}" dt="2024-03-20T09:26:40.327" v="975" actId="2711"/>
          <ac:picMkLst>
            <pc:docMk/>
            <pc:sldMk cId="2680239075" sldId="2134806154"/>
            <ac:picMk id="96" creationId="{D9C4AD92-7EE1-43C2-A9CA-B9A20E836C92}"/>
          </ac:picMkLst>
        </pc:picChg>
        <pc:picChg chg="mod">
          <ac:chgData name="FEYEL, Aude" userId="dc6f8eef-acdf-41f6-8bfe-58ab96dca409" providerId="ADAL" clId="{65E2A10D-7C40-45DB-8DA1-7D68A3AA91DF}" dt="2024-03-20T09:26:40.327" v="975" actId="2711"/>
          <ac:picMkLst>
            <pc:docMk/>
            <pc:sldMk cId="2680239075" sldId="2134806154"/>
            <ac:picMk id="98" creationId="{9E0AAB7D-C530-4740-8A67-DD09ADE11FFB}"/>
          </ac:picMkLst>
        </pc:picChg>
        <pc:picChg chg="mod">
          <ac:chgData name="FEYEL, Aude" userId="dc6f8eef-acdf-41f6-8bfe-58ab96dca409" providerId="ADAL" clId="{65E2A10D-7C40-45DB-8DA1-7D68A3AA91DF}" dt="2024-03-20T09:26:40.327" v="975" actId="2711"/>
          <ac:picMkLst>
            <pc:docMk/>
            <pc:sldMk cId="2680239075" sldId="2134806154"/>
            <ac:picMk id="99" creationId="{807469C7-1B9A-43A5-A31B-B9130BFD8D8F}"/>
          </ac:picMkLst>
        </pc:picChg>
        <pc:picChg chg="mod">
          <ac:chgData name="FEYEL, Aude" userId="dc6f8eef-acdf-41f6-8bfe-58ab96dca409" providerId="ADAL" clId="{65E2A10D-7C40-45DB-8DA1-7D68A3AA91DF}" dt="2024-03-20T09:26:40.327" v="975" actId="2711"/>
          <ac:picMkLst>
            <pc:docMk/>
            <pc:sldMk cId="2680239075" sldId="2134806154"/>
            <ac:picMk id="105" creationId="{0D5CA143-655D-4EED-96E9-404A58EFE2FE}"/>
          </ac:picMkLst>
        </pc:picChg>
        <pc:picChg chg="mod">
          <ac:chgData name="FEYEL, Aude" userId="dc6f8eef-acdf-41f6-8bfe-58ab96dca409" providerId="ADAL" clId="{65E2A10D-7C40-45DB-8DA1-7D68A3AA91DF}" dt="2024-03-20T09:26:40.327" v="975" actId="2711"/>
          <ac:picMkLst>
            <pc:docMk/>
            <pc:sldMk cId="2680239075" sldId="2134806154"/>
            <ac:picMk id="106" creationId="{37E67FDD-4ADB-4A1F-90EA-0B9ABFD1CCF8}"/>
          </ac:picMkLst>
        </pc:picChg>
        <pc:picChg chg="mod">
          <ac:chgData name="FEYEL, Aude" userId="dc6f8eef-acdf-41f6-8bfe-58ab96dca409" providerId="ADAL" clId="{65E2A10D-7C40-45DB-8DA1-7D68A3AA91DF}" dt="2024-03-20T09:26:40.327" v="975" actId="2711"/>
          <ac:picMkLst>
            <pc:docMk/>
            <pc:sldMk cId="2680239075" sldId="2134806154"/>
            <ac:picMk id="107" creationId="{DF417F39-24C3-430B-B967-BF4830BE9B95}"/>
          </ac:picMkLst>
        </pc:picChg>
        <pc:picChg chg="mod">
          <ac:chgData name="FEYEL, Aude" userId="dc6f8eef-acdf-41f6-8bfe-58ab96dca409" providerId="ADAL" clId="{65E2A10D-7C40-45DB-8DA1-7D68A3AA91DF}" dt="2024-03-20T09:26:40.327" v="975" actId="2711"/>
          <ac:picMkLst>
            <pc:docMk/>
            <pc:sldMk cId="2680239075" sldId="2134806154"/>
            <ac:picMk id="112" creationId="{6602EDBA-BE14-45FD-83EE-0F2AAE7DADD9}"/>
          </ac:picMkLst>
        </pc:picChg>
        <pc:picChg chg="mod">
          <ac:chgData name="FEYEL, Aude" userId="dc6f8eef-acdf-41f6-8bfe-58ab96dca409" providerId="ADAL" clId="{65E2A10D-7C40-45DB-8DA1-7D68A3AA91DF}" dt="2024-03-20T09:26:40.327" v="975" actId="2711"/>
          <ac:picMkLst>
            <pc:docMk/>
            <pc:sldMk cId="2680239075" sldId="2134806154"/>
            <ac:picMk id="113" creationId="{FAD74228-89B1-4ED2-BD8E-A7BCB98C0B6F}"/>
          </ac:picMkLst>
        </pc:picChg>
        <pc:picChg chg="mod">
          <ac:chgData name="FEYEL, Aude" userId="dc6f8eef-acdf-41f6-8bfe-58ab96dca409" providerId="ADAL" clId="{65E2A10D-7C40-45DB-8DA1-7D68A3AA91DF}" dt="2024-03-20T09:26:40.327" v="975" actId="2711"/>
          <ac:picMkLst>
            <pc:docMk/>
            <pc:sldMk cId="2680239075" sldId="2134806154"/>
            <ac:picMk id="114" creationId="{A7246516-040D-4BBB-A079-90623C5DD57E}"/>
          </ac:picMkLst>
        </pc:picChg>
        <pc:picChg chg="mod">
          <ac:chgData name="FEYEL, Aude" userId="dc6f8eef-acdf-41f6-8bfe-58ab96dca409" providerId="ADAL" clId="{65E2A10D-7C40-45DB-8DA1-7D68A3AA91DF}" dt="2024-03-20T09:26:40.327" v="975" actId="2711"/>
          <ac:picMkLst>
            <pc:docMk/>
            <pc:sldMk cId="2680239075" sldId="2134806154"/>
            <ac:picMk id="119" creationId="{0475A6BC-B633-4D34-A82C-2CA68A4D4F56}"/>
          </ac:picMkLst>
        </pc:picChg>
        <pc:picChg chg="mod">
          <ac:chgData name="FEYEL, Aude" userId="dc6f8eef-acdf-41f6-8bfe-58ab96dca409" providerId="ADAL" clId="{65E2A10D-7C40-45DB-8DA1-7D68A3AA91DF}" dt="2024-03-20T09:26:40.327" v="975" actId="2711"/>
          <ac:picMkLst>
            <pc:docMk/>
            <pc:sldMk cId="2680239075" sldId="2134806154"/>
            <ac:picMk id="120" creationId="{124F67C6-773E-4E91-BE55-4E61302571D6}"/>
          </ac:picMkLst>
        </pc:picChg>
        <pc:picChg chg="mod">
          <ac:chgData name="FEYEL, Aude" userId="dc6f8eef-acdf-41f6-8bfe-58ab96dca409" providerId="ADAL" clId="{65E2A10D-7C40-45DB-8DA1-7D68A3AA91DF}" dt="2024-03-20T09:26:40.327" v="975" actId="2711"/>
          <ac:picMkLst>
            <pc:docMk/>
            <pc:sldMk cId="2680239075" sldId="2134806154"/>
            <ac:picMk id="121" creationId="{16A1F54D-3CA2-464C-91FF-7E25BC6C9488}"/>
          </ac:picMkLst>
        </pc:picChg>
        <pc:picChg chg="mod">
          <ac:chgData name="FEYEL, Aude" userId="dc6f8eef-acdf-41f6-8bfe-58ab96dca409" providerId="ADAL" clId="{65E2A10D-7C40-45DB-8DA1-7D68A3AA91DF}" dt="2024-03-20T09:26:40.327" v="975" actId="2711"/>
          <ac:picMkLst>
            <pc:docMk/>
            <pc:sldMk cId="2680239075" sldId="2134806154"/>
            <ac:picMk id="122" creationId="{C0A3C9AD-788C-46FE-9CAF-CCD486A9670F}"/>
          </ac:picMkLst>
        </pc:picChg>
        <pc:picChg chg="mod">
          <ac:chgData name="FEYEL, Aude" userId="dc6f8eef-acdf-41f6-8bfe-58ab96dca409" providerId="ADAL" clId="{65E2A10D-7C40-45DB-8DA1-7D68A3AA91DF}" dt="2024-03-20T09:26:40.327" v="975" actId="2711"/>
          <ac:picMkLst>
            <pc:docMk/>
            <pc:sldMk cId="2680239075" sldId="2134806154"/>
            <ac:picMk id="132" creationId="{AE1368F1-2836-436B-B8AE-36651537B529}"/>
          </ac:picMkLst>
        </pc:picChg>
        <pc:picChg chg="mod">
          <ac:chgData name="FEYEL, Aude" userId="dc6f8eef-acdf-41f6-8bfe-58ab96dca409" providerId="ADAL" clId="{65E2A10D-7C40-45DB-8DA1-7D68A3AA91DF}" dt="2024-03-20T09:26:40.327" v="975" actId="2711"/>
          <ac:picMkLst>
            <pc:docMk/>
            <pc:sldMk cId="2680239075" sldId="2134806154"/>
            <ac:picMk id="133" creationId="{13AF2502-C7FB-4709-BB66-848BD766CF0C}"/>
          </ac:picMkLst>
        </pc:picChg>
        <pc:picChg chg="mod">
          <ac:chgData name="FEYEL, Aude" userId="dc6f8eef-acdf-41f6-8bfe-58ab96dca409" providerId="ADAL" clId="{65E2A10D-7C40-45DB-8DA1-7D68A3AA91DF}" dt="2024-03-20T09:26:40.327" v="975" actId="2711"/>
          <ac:picMkLst>
            <pc:docMk/>
            <pc:sldMk cId="2680239075" sldId="2134806154"/>
            <ac:picMk id="134" creationId="{D051B085-8C55-41D1-A483-7389665D4E67}"/>
          </ac:picMkLst>
        </pc:picChg>
        <pc:picChg chg="mod">
          <ac:chgData name="FEYEL, Aude" userId="dc6f8eef-acdf-41f6-8bfe-58ab96dca409" providerId="ADAL" clId="{65E2A10D-7C40-45DB-8DA1-7D68A3AA91DF}" dt="2024-03-20T09:26:40.327" v="975" actId="2711"/>
          <ac:picMkLst>
            <pc:docMk/>
            <pc:sldMk cId="2680239075" sldId="2134806154"/>
            <ac:picMk id="135" creationId="{33AD7EB5-6FC3-4509-8550-D4580FE59C14}"/>
          </ac:picMkLst>
        </pc:picChg>
        <pc:picChg chg="mod">
          <ac:chgData name="FEYEL, Aude" userId="dc6f8eef-acdf-41f6-8bfe-58ab96dca409" providerId="ADAL" clId="{65E2A10D-7C40-45DB-8DA1-7D68A3AA91DF}" dt="2024-03-20T09:26:40.327" v="975" actId="2711"/>
          <ac:picMkLst>
            <pc:docMk/>
            <pc:sldMk cId="2680239075" sldId="2134806154"/>
            <ac:picMk id="136" creationId="{944048AB-3063-45EC-B35C-407C74892898}"/>
          </ac:picMkLst>
        </pc:picChg>
        <pc:picChg chg="mod">
          <ac:chgData name="FEYEL, Aude" userId="dc6f8eef-acdf-41f6-8bfe-58ab96dca409" providerId="ADAL" clId="{65E2A10D-7C40-45DB-8DA1-7D68A3AA91DF}" dt="2024-03-20T09:26:40.327" v="975" actId="2711"/>
          <ac:picMkLst>
            <pc:docMk/>
            <pc:sldMk cId="2680239075" sldId="2134806154"/>
            <ac:picMk id="137" creationId="{26EF0A1B-90E0-4549-99F1-05369484CB4F}"/>
          </ac:picMkLst>
        </pc:picChg>
        <pc:picChg chg="mod">
          <ac:chgData name="FEYEL, Aude" userId="dc6f8eef-acdf-41f6-8bfe-58ab96dca409" providerId="ADAL" clId="{65E2A10D-7C40-45DB-8DA1-7D68A3AA91DF}" dt="2024-03-20T09:26:40.327" v="975" actId="2711"/>
          <ac:picMkLst>
            <pc:docMk/>
            <pc:sldMk cId="2680239075" sldId="2134806154"/>
            <ac:picMk id="138" creationId="{9DF5D78F-3F79-4A24-84AA-501BE59B8D98}"/>
          </ac:picMkLst>
        </pc:picChg>
        <pc:picChg chg="mod">
          <ac:chgData name="FEYEL, Aude" userId="dc6f8eef-acdf-41f6-8bfe-58ab96dca409" providerId="ADAL" clId="{65E2A10D-7C40-45DB-8DA1-7D68A3AA91DF}" dt="2024-03-20T09:26:40.327" v="975" actId="2711"/>
          <ac:picMkLst>
            <pc:docMk/>
            <pc:sldMk cId="2680239075" sldId="2134806154"/>
            <ac:picMk id="139" creationId="{A49FE8BD-DCC3-46A8-8B94-FAA33D731830}"/>
          </ac:picMkLst>
        </pc:picChg>
      </pc:sldChg>
      <pc:sldChg chg="modSp mod">
        <pc:chgData name="FEYEL, Aude" userId="dc6f8eef-acdf-41f6-8bfe-58ab96dca409" providerId="ADAL" clId="{65E2A10D-7C40-45DB-8DA1-7D68A3AA91DF}" dt="2024-03-20T09:21:42.701" v="932" actId="255"/>
        <pc:sldMkLst>
          <pc:docMk/>
          <pc:sldMk cId="2631033068" sldId="2147229068"/>
        </pc:sldMkLst>
        <pc:spChg chg="mod">
          <ac:chgData name="FEYEL, Aude" userId="dc6f8eef-acdf-41f6-8bfe-58ab96dca409" providerId="ADAL" clId="{65E2A10D-7C40-45DB-8DA1-7D68A3AA91DF}" dt="2024-03-20T09:21:42.701" v="932" actId="255"/>
          <ac:spMkLst>
            <pc:docMk/>
            <pc:sldMk cId="2631033068" sldId="2147229068"/>
            <ac:spMk id="5" creationId="{345F714E-B0DB-4AC0-A544-A6932E332BDD}"/>
          </ac:spMkLst>
        </pc:spChg>
        <pc:spChg chg="mod">
          <ac:chgData name="FEYEL, Aude" userId="dc6f8eef-acdf-41f6-8bfe-58ab96dca409" providerId="ADAL" clId="{65E2A10D-7C40-45DB-8DA1-7D68A3AA91DF}" dt="2024-03-20T09:20:31.217" v="918" actId="2711"/>
          <ac:spMkLst>
            <pc:docMk/>
            <pc:sldMk cId="2631033068" sldId="2147229068"/>
            <ac:spMk id="6" creationId="{B4508118-EF09-4239-AD30-24FDC178CAB0}"/>
          </ac:spMkLst>
        </pc:spChg>
        <pc:spChg chg="mod">
          <ac:chgData name="FEYEL, Aude" userId="dc6f8eef-acdf-41f6-8bfe-58ab96dca409" providerId="ADAL" clId="{65E2A10D-7C40-45DB-8DA1-7D68A3AA91DF}" dt="2024-03-20T09:20:44.747" v="920" actId="20577"/>
          <ac:spMkLst>
            <pc:docMk/>
            <pc:sldMk cId="2631033068" sldId="2147229068"/>
            <ac:spMk id="18" creationId="{74989A3D-795B-4B73-8CAF-FC5B261C7543}"/>
          </ac:spMkLst>
        </pc:spChg>
        <pc:spChg chg="mod">
          <ac:chgData name="FEYEL, Aude" userId="dc6f8eef-acdf-41f6-8bfe-58ab96dca409" providerId="ADAL" clId="{65E2A10D-7C40-45DB-8DA1-7D68A3AA91DF}" dt="2024-03-20T09:20:49.374" v="922" actId="20577"/>
          <ac:spMkLst>
            <pc:docMk/>
            <pc:sldMk cId="2631033068" sldId="2147229068"/>
            <ac:spMk id="19" creationId="{C9E0D33E-62FE-4CDB-B752-02DFE18B0FC5}"/>
          </ac:spMkLst>
        </pc:spChg>
        <pc:spChg chg="mod">
          <ac:chgData name="FEYEL, Aude" userId="dc6f8eef-acdf-41f6-8bfe-58ab96dca409" providerId="ADAL" clId="{65E2A10D-7C40-45DB-8DA1-7D68A3AA91DF}" dt="2024-03-20T09:20:54.630" v="924" actId="20577"/>
          <ac:spMkLst>
            <pc:docMk/>
            <pc:sldMk cId="2631033068" sldId="2147229068"/>
            <ac:spMk id="20" creationId="{4E71760B-CE53-480D-B911-ECC706836BB8}"/>
          </ac:spMkLst>
        </pc:spChg>
        <pc:spChg chg="mod">
          <ac:chgData name="FEYEL, Aude" userId="dc6f8eef-acdf-41f6-8bfe-58ab96dca409" providerId="ADAL" clId="{65E2A10D-7C40-45DB-8DA1-7D68A3AA91DF}" dt="2024-03-20T09:20:31.217" v="918" actId="2711"/>
          <ac:spMkLst>
            <pc:docMk/>
            <pc:sldMk cId="2631033068" sldId="2147229068"/>
            <ac:spMk id="55" creationId="{11204DB6-0F33-4DFC-924E-744533C172AB}"/>
          </ac:spMkLst>
        </pc:spChg>
        <pc:grpChg chg="mod">
          <ac:chgData name="FEYEL, Aude" userId="dc6f8eef-acdf-41f6-8bfe-58ab96dca409" providerId="ADAL" clId="{65E2A10D-7C40-45DB-8DA1-7D68A3AA91DF}" dt="2024-03-20T09:20:31.217" v="918" actId="2711"/>
          <ac:grpSpMkLst>
            <pc:docMk/>
            <pc:sldMk cId="2631033068" sldId="2147229068"/>
            <ac:grpSpMk id="3" creationId="{56F81753-8858-4E3D-9A94-96138CC10224}"/>
          </ac:grpSpMkLst>
        </pc:grpChg>
        <pc:grpChg chg="mod">
          <ac:chgData name="FEYEL, Aude" userId="dc6f8eef-acdf-41f6-8bfe-58ab96dca409" providerId="ADAL" clId="{65E2A10D-7C40-45DB-8DA1-7D68A3AA91DF}" dt="2024-03-20T09:20:31.217" v="918" actId="2711"/>
          <ac:grpSpMkLst>
            <pc:docMk/>
            <pc:sldMk cId="2631033068" sldId="2147229068"/>
            <ac:grpSpMk id="13" creationId="{79DF0CEC-9A3D-4DBF-B3D9-526524F38967}"/>
          </ac:grpSpMkLst>
        </pc:grpChg>
        <pc:grpChg chg="mod">
          <ac:chgData name="FEYEL, Aude" userId="dc6f8eef-acdf-41f6-8bfe-58ab96dca409" providerId="ADAL" clId="{65E2A10D-7C40-45DB-8DA1-7D68A3AA91DF}" dt="2024-03-20T09:20:31.217" v="918" actId="2711"/>
          <ac:grpSpMkLst>
            <pc:docMk/>
            <pc:sldMk cId="2631033068" sldId="2147229068"/>
            <ac:grpSpMk id="14" creationId="{21672AB6-6434-4AA0-92AB-75EA8D50B6A4}"/>
          </ac:grpSpMkLst>
        </pc:grpChg>
      </pc:sldChg>
      <pc:sldChg chg="modSp">
        <pc:chgData name="FEYEL, Aude" userId="dc6f8eef-acdf-41f6-8bfe-58ab96dca409" providerId="ADAL" clId="{65E2A10D-7C40-45DB-8DA1-7D68A3AA91DF}" dt="2024-03-20T10:04:44.209" v="987" actId="14100"/>
        <pc:sldMkLst>
          <pc:docMk/>
          <pc:sldMk cId="798083219" sldId="2147308509"/>
        </pc:sldMkLst>
        <pc:picChg chg="mod">
          <ac:chgData name="FEYEL, Aude" userId="dc6f8eef-acdf-41f6-8bfe-58ab96dca409" providerId="ADAL" clId="{65E2A10D-7C40-45DB-8DA1-7D68A3AA91DF}" dt="2024-03-20T10:04:44.209" v="987" actId="14100"/>
          <ac:picMkLst>
            <pc:docMk/>
            <pc:sldMk cId="798083219" sldId="2147308509"/>
            <ac:picMk id="1028" creationId="{B42DBE0C-9272-48F2-1D9C-6275D3A35B4B}"/>
          </ac:picMkLst>
        </pc:picChg>
      </pc:sldChg>
      <pc:sldChg chg="modSp mod">
        <pc:chgData name="FEYEL, Aude" userId="dc6f8eef-acdf-41f6-8bfe-58ab96dca409" providerId="ADAL" clId="{65E2A10D-7C40-45DB-8DA1-7D68A3AA91DF}" dt="2024-03-20T09:29:32.271" v="983" actId="2711"/>
        <pc:sldMkLst>
          <pc:docMk/>
          <pc:sldMk cId="851675497" sldId="2147478775"/>
        </pc:sldMkLst>
        <pc:graphicFrameChg chg="modGraphic">
          <ac:chgData name="FEYEL, Aude" userId="dc6f8eef-acdf-41f6-8bfe-58ab96dca409" providerId="ADAL" clId="{65E2A10D-7C40-45DB-8DA1-7D68A3AA91DF}" dt="2024-03-20T09:29:32.271" v="983" actId="2711"/>
          <ac:graphicFrameMkLst>
            <pc:docMk/>
            <pc:sldMk cId="851675497" sldId="2147478775"/>
            <ac:graphicFrameMk id="5" creationId="{150A8F95-929A-70DA-4E85-2E8F1A0F6F57}"/>
          </ac:graphicFrameMkLst>
        </pc:graphicFrameChg>
      </pc:sldChg>
      <pc:sldChg chg="modSp mod">
        <pc:chgData name="FEYEL, Aude" userId="dc6f8eef-acdf-41f6-8bfe-58ab96dca409" providerId="ADAL" clId="{65E2A10D-7C40-45DB-8DA1-7D68A3AA91DF}" dt="2024-03-14T15:10:37.859" v="43" actId="20577"/>
        <pc:sldMkLst>
          <pc:docMk/>
          <pc:sldMk cId="1732532695" sldId="2147481416"/>
        </pc:sldMkLst>
        <pc:spChg chg="mod">
          <ac:chgData name="FEYEL, Aude" userId="dc6f8eef-acdf-41f6-8bfe-58ab96dca409" providerId="ADAL" clId="{65E2A10D-7C40-45DB-8DA1-7D68A3AA91DF}" dt="2024-03-14T15:10:37.859" v="43" actId="20577"/>
          <ac:spMkLst>
            <pc:docMk/>
            <pc:sldMk cId="1732532695" sldId="2147481416"/>
            <ac:spMk id="2" creationId="{1AAB65A8-19B9-3244-B6AE-EE96D84C45B9}"/>
          </ac:spMkLst>
        </pc:spChg>
      </pc:sldChg>
      <pc:sldChg chg="addSp modSp mod">
        <pc:chgData name="FEYEL, Aude" userId="dc6f8eef-acdf-41f6-8bfe-58ab96dca409" providerId="ADAL" clId="{65E2A10D-7C40-45DB-8DA1-7D68A3AA91DF}" dt="2024-03-20T09:17:56.798" v="909" actId="20577"/>
        <pc:sldMkLst>
          <pc:docMk/>
          <pc:sldMk cId="1486632925" sldId="2147481426"/>
        </pc:sldMkLst>
        <pc:spChg chg="add mod">
          <ac:chgData name="FEYEL, Aude" userId="dc6f8eef-acdf-41f6-8bfe-58ab96dca409" providerId="ADAL" clId="{65E2A10D-7C40-45DB-8DA1-7D68A3AA91DF}" dt="2024-03-20T09:17:56.798" v="909" actId="20577"/>
          <ac:spMkLst>
            <pc:docMk/>
            <pc:sldMk cId="1486632925" sldId="2147481426"/>
            <ac:spMk id="2" creationId="{6E5990F2-BDA4-7A82-9EC9-43B517A3990D}"/>
          </ac:spMkLst>
        </pc:spChg>
      </pc:sldChg>
      <pc:sldChg chg="modSp mod">
        <pc:chgData name="FEYEL, Aude" userId="dc6f8eef-acdf-41f6-8bfe-58ab96dca409" providerId="ADAL" clId="{65E2A10D-7C40-45DB-8DA1-7D68A3AA91DF}" dt="2024-03-20T09:22:46.354" v="937" actId="113"/>
        <pc:sldMkLst>
          <pc:docMk/>
          <pc:sldMk cId="241920681" sldId="2147481431"/>
        </pc:sldMkLst>
        <pc:spChg chg="mod">
          <ac:chgData name="FEYEL, Aude" userId="dc6f8eef-acdf-41f6-8bfe-58ab96dca409" providerId="ADAL" clId="{65E2A10D-7C40-45DB-8DA1-7D68A3AA91DF}" dt="2024-03-20T09:22:46.354" v="937" actId="113"/>
          <ac:spMkLst>
            <pc:docMk/>
            <pc:sldMk cId="241920681" sldId="2147481431"/>
            <ac:spMk id="5" creationId="{345F714E-B0DB-4AC0-A544-A6932E332BDD}"/>
          </ac:spMkLst>
        </pc:spChg>
      </pc:sldChg>
      <pc:sldChg chg="modSp mod">
        <pc:chgData name="FEYEL, Aude" userId="dc6f8eef-acdf-41f6-8bfe-58ab96dca409" providerId="ADAL" clId="{65E2A10D-7C40-45DB-8DA1-7D68A3AA91DF}" dt="2024-03-20T09:24:12.574" v="953" actId="20577"/>
        <pc:sldMkLst>
          <pc:docMk/>
          <pc:sldMk cId="2667478616" sldId="2147481432"/>
        </pc:sldMkLst>
        <pc:spChg chg="mod">
          <ac:chgData name="FEYEL, Aude" userId="dc6f8eef-acdf-41f6-8bfe-58ab96dca409" providerId="ADAL" clId="{65E2A10D-7C40-45DB-8DA1-7D68A3AA91DF}" dt="2024-03-20T09:23:12.706" v="940" actId="113"/>
          <ac:spMkLst>
            <pc:docMk/>
            <pc:sldMk cId="2667478616" sldId="2147481432"/>
            <ac:spMk id="5" creationId="{345F714E-B0DB-4AC0-A544-A6932E332BDD}"/>
          </ac:spMkLst>
        </pc:spChg>
        <pc:spChg chg="mod">
          <ac:chgData name="FEYEL, Aude" userId="dc6f8eef-acdf-41f6-8bfe-58ab96dca409" providerId="ADAL" clId="{65E2A10D-7C40-45DB-8DA1-7D68A3AA91DF}" dt="2024-03-20T09:23:04.832" v="938" actId="2711"/>
          <ac:spMkLst>
            <pc:docMk/>
            <pc:sldMk cId="2667478616" sldId="2147481432"/>
            <ac:spMk id="7" creationId="{F1B2EEE1-1304-879D-3D34-7069FE995678}"/>
          </ac:spMkLst>
        </pc:spChg>
        <pc:spChg chg="mod">
          <ac:chgData name="FEYEL, Aude" userId="dc6f8eef-acdf-41f6-8bfe-58ab96dca409" providerId="ADAL" clId="{65E2A10D-7C40-45DB-8DA1-7D68A3AA91DF}" dt="2024-03-20T09:23:44.025" v="944" actId="14100"/>
          <ac:spMkLst>
            <pc:docMk/>
            <pc:sldMk cId="2667478616" sldId="2147481432"/>
            <ac:spMk id="10" creationId="{3AF24337-FFCF-10B4-4BCC-AA6E0C5C5917}"/>
          </ac:spMkLst>
        </pc:spChg>
        <pc:spChg chg="mod">
          <ac:chgData name="FEYEL, Aude" userId="dc6f8eef-acdf-41f6-8bfe-58ab96dca409" providerId="ADAL" clId="{65E2A10D-7C40-45DB-8DA1-7D68A3AA91DF}" dt="2024-03-20T09:23:04.832" v="938" actId="2711"/>
          <ac:spMkLst>
            <pc:docMk/>
            <pc:sldMk cId="2667478616" sldId="2147481432"/>
            <ac:spMk id="15" creationId="{E484EDC2-FEC4-3F93-0F3F-03417C6C3C01}"/>
          </ac:spMkLst>
        </pc:spChg>
        <pc:spChg chg="mod">
          <ac:chgData name="FEYEL, Aude" userId="dc6f8eef-acdf-41f6-8bfe-58ab96dca409" providerId="ADAL" clId="{65E2A10D-7C40-45DB-8DA1-7D68A3AA91DF}" dt="2024-03-20T09:23:04.832" v="938" actId="2711"/>
          <ac:spMkLst>
            <pc:docMk/>
            <pc:sldMk cId="2667478616" sldId="2147481432"/>
            <ac:spMk id="16" creationId="{159C1621-7D77-FA46-578E-2141E9507077}"/>
          </ac:spMkLst>
        </pc:spChg>
        <pc:spChg chg="mod">
          <ac:chgData name="FEYEL, Aude" userId="dc6f8eef-acdf-41f6-8bfe-58ab96dca409" providerId="ADAL" clId="{65E2A10D-7C40-45DB-8DA1-7D68A3AA91DF}" dt="2024-03-20T09:23:04.832" v="938" actId="2711"/>
          <ac:spMkLst>
            <pc:docMk/>
            <pc:sldMk cId="2667478616" sldId="2147481432"/>
            <ac:spMk id="17" creationId="{33A9EA35-D98F-D2A4-5FD7-276A8884346D}"/>
          </ac:spMkLst>
        </pc:spChg>
        <pc:spChg chg="mod">
          <ac:chgData name="FEYEL, Aude" userId="dc6f8eef-acdf-41f6-8bfe-58ab96dca409" providerId="ADAL" clId="{65E2A10D-7C40-45DB-8DA1-7D68A3AA91DF}" dt="2024-03-20T09:23:56.442" v="947" actId="20577"/>
          <ac:spMkLst>
            <pc:docMk/>
            <pc:sldMk cId="2667478616" sldId="2147481432"/>
            <ac:spMk id="23" creationId="{7AD43E0E-8876-ECEC-60D6-C8F01D8C9D94}"/>
          </ac:spMkLst>
        </pc:spChg>
        <pc:spChg chg="mod">
          <ac:chgData name="FEYEL, Aude" userId="dc6f8eef-acdf-41f6-8bfe-58ab96dca409" providerId="ADAL" clId="{65E2A10D-7C40-45DB-8DA1-7D68A3AA91DF}" dt="2024-03-20T09:23:52.301" v="945" actId="20577"/>
          <ac:spMkLst>
            <pc:docMk/>
            <pc:sldMk cId="2667478616" sldId="2147481432"/>
            <ac:spMk id="36" creationId="{68B41304-2932-069A-D484-DBC08389C602}"/>
          </ac:spMkLst>
        </pc:spChg>
        <pc:spChg chg="mod">
          <ac:chgData name="FEYEL, Aude" userId="dc6f8eef-acdf-41f6-8bfe-58ab96dca409" providerId="ADAL" clId="{65E2A10D-7C40-45DB-8DA1-7D68A3AA91DF}" dt="2024-03-20T09:23:04.832" v="938" actId="2711"/>
          <ac:spMkLst>
            <pc:docMk/>
            <pc:sldMk cId="2667478616" sldId="2147481432"/>
            <ac:spMk id="43" creationId="{FC7740A1-3782-37EC-2922-9F21AA474B4D}"/>
          </ac:spMkLst>
        </pc:spChg>
        <pc:spChg chg="mod">
          <ac:chgData name="FEYEL, Aude" userId="dc6f8eef-acdf-41f6-8bfe-58ab96dca409" providerId="ADAL" clId="{65E2A10D-7C40-45DB-8DA1-7D68A3AA91DF}" dt="2024-03-20T09:23:04.832" v="938" actId="2711"/>
          <ac:spMkLst>
            <pc:docMk/>
            <pc:sldMk cId="2667478616" sldId="2147481432"/>
            <ac:spMk id="45" creationId="{2F848604-1019-0A8A-6A42-A490B0D4CEC2}"/>
          </ac:spMkLst>
        </pc:spChg>
        <pc:spChg chg="mod">
          <ac:chgData name="FEYEL, Aude" userId="dc6f8eef-acdf-41f6-8bfe-58ab96dca409" providerId="ADAL" clId="{65E2A10D-7C40-45DB-8DA1-7D68A3AA91DF}" dt="2024-03-20T09:24:03.546" v="949" actId="20577"/>
          <ac:spMkLst>
            <pc:docMk/>
            <pc:sldMk cId="2667478616" sldId="2147481432"/>
            <ac:spMk id="123" creationId="{2BC20B39-CDCD-5721-B44F-F63439986E6B}"/>
          </ac:spMkLst>
        </pc:spChg>
        <pc:spChg chg="mod">
          <ac:chgData name="FEYEL, Aude" userId="dc6f8eef-acdf-41f6-8bfe-58ab96dca409" providerId="ADAL" clId="{65E2A10D-7C40-45DB-8DA1-7D68A3AA91DF}" dt="2024-03-20T09:24:05.589" v="950" actId="20577"/>
          <ac:spMkLst>
            <pc:docMk/>
            <pc:sldMk cId="2667478616" sldId="2147481432"/>
            <ac:spMk id="124" creationId="{A5AA2C81-811C-6D35-6109-25DC0D8A89EC}"/>
          </ac:spMkLst>
        </pc:spChg>
        <pc:spChg chg="mod">
          <ac:chgData name="FEYEL, Aude" userId="dc6f8eef-acdf-41f6-8bfe-58ab96dca409" providerId="ADAL" clId="{65E2A10D-7C40-45DB-8DA1-7D68A3AA91DF}" dt="2024-03-20T09:24:07.660" v="951" actId="20577"/>
          <ac:spMkLst>
            <pc:docMk/>
            <pc:sldMk cId="2667478616" sldId="2147481432"/>
            <ac:spMk id="125" creationId="{8E8503C3-6637-9148-191A-BE08F64AC483}"/>
          </ac:spMkLst>
        </pc:spChg>
        <pc:spChg chg="mod">
          <ac:chgData name="FEYEL, Aude" userId="dc6f8eef-acdf-41f6-8bfe-58ab96dca409" providerId="ADAL" clId="{65E2A10D-7C40-45DB-8DA1-7D68A3AA91DF}" dt="2024-03-20T09:24:12.574" v="953" actId="20577"/>
          <ac:spMkLst>
            <pc:docMk/>
            <pc:sldMk cId="2667478616" sldId="2147481432"/>
            <ac:spMk id="126" creationId="{5AC12142-5B7A-B355-8D79-D9D9D6C183A5}"/>
          </ac:spMkLst>
        </pc:spChg>
        <pc:spChg chg="mod">
          <ac:chgData name="FEYEL, Aude" userId="dc6f8eef-acdf-41f6-8bfe-58ab96dca409" providerId="ADAL" clId="{65E2A10D-7C40-45DB-8DA1-7D68A3AA91DF}" dt="2024-03-20T09:24:00.520" v="948" actId="20577"/>
          <ac:spMkLst>
            <pc:docMk/>
            <pc:sldMk cId="2667478616" sldId="2147481432"/>
            <ac:spMk id="160" creationId="{AA7B0AD9-728E-D75D-4D92-EA32164807F6}"/>
          </ac:spMkLst>
        </pc:spChg>
        <pc:spChg chg="mod">
          <ac:chgData name="FEYEL, Aude" userId="dc6f8eef-acdf-41f6-8bfe-58ab96dca409" providerId="ADAL" clId="{65E2A10D-7C40-45DB-8DA1-7D68A3AA91DF}" dt="2024-03-20T09:24:10.372" v="952" actId="20577"/>
          <ac:spMkLst>
            <pc:docMk/>
            <pc:sldMk cId="2667478616" sldId="2147481432"/>
            <ac:spMk id="161" creationId="{50E199FB-D80F-0D51-BEC3-D3A48D667708}"/>
          </ac:spMkLst>
        </pc:spChg>
        <pc:spChg chg="mod">
          <ac:chgData name="FEYEL, Aude" userId="dc6f8eef-acdf-41f6-8bfe-58ab96dca409" providerId="ADAL" clId="{65E2A10D-7C40-45DB-8DA1-7D68A3AA91DF}" dt="2024-03-20T09:23:54.107" v="946" actId="20577"/>
          <ac:spMkLst>
            <pc:docMk/>
            <pc:sldMk cId="2667478616" sldId="2147481432"/>
            <ac:spMk id="251" creationId="{34AD6FBC-56DD-1CB6-CB42-A5E158FD6656}"/>
          </ac:spMkLst>
        </pc:spChg>
        <pc:grpChg chg="mod">
          <ac:chgData name="FEYEL, Aude" userId="dc6f8eef-acdf-41f6-8bfe-58ab96dca409" providerId="ADAL" clId="{65E2A10D-7C40-45DB-8DA1-7D68A3AA91DF}" dt="2024-03-20T09:23:04.832" v="938" actId="2711"/>
          <ac:grpSpMkLst>
            <pc:docMk/>
            <pc:sldMk cId="2667478616" sldId="2147481432"/>
            <ac:grpSpMk id="21" creationId="{DEF55DF7-A455-18A5-E328-02DD822A0210}"/>
          </ac:grpSpMkLst>
        </pc:grpChg>
        <pc:grpChg chg="mod">
          <ac:chgData name="FEYEL, Aude" userId="dc6f8eef-acdf-41f6-8bfe-58ab96dca409" providerId="ADAL" clId="{65E2A10D-7C40-45DB-8DA1-7D68A3AA91DF}" dt="2024-03-20T09:23:04.832" v="938" actId="2711"/>
          <ac:grpSpMkLst>
            <pc:docMk/>
            <pc:sldMk cId="2667478616" sldId="2147481432"/>
            <ac:grpSpMk id="34" creationId="{E4BF0198-F099-4414-F4DE-4263EC683654}"/>
          </ac:grpSpMkLst>
        </pc:grpChg>
        <pc:grpChg chg="mod">
          <ac:chgData name="FEYEL, Aude" userId="dc6f8eef-acdf-41f6-8bfe-58ab96dca409" providerId="ADAL" clId="{65E2A10D-7C40-45DB-8DA1-7D68A3AA91DF}" dt="2024-03-20T09:23:04.832" v="938" actId="2711"/>
          <ac:grpSpMkLst>
            <pc:docMk/>
            <pc:sldMk cId="2667478616" sldId="2147481432"/>
            <ac:grpSpMk id="47" creationId="{4DAA4882-53FF-1992-DD97-A4BEC56513B9}"/>
          </ac:grpSpMkLst>
        </pc:grpChg>
        <pc:grpChg chg="mod">
          <ac:chgData name="FEYEL, Aude" userId="dc6f8eef-acdf-41f6-8bfe-58ab96dca409" providerId="ADAL" clId="{65E2A10D-7C40-45DB-8DA1-7D68A3AA91DF}" dt="2024-03-20T09:23:04.832" v="938" actId="2711"/>
          <ac:grpSpMkLst>
            <pc:docMk/>
            <pc:sldMk cId="2667478616" sldId="2147481432"/>
            <ac:grpSpMk id="64" creationId="{293F4F10-817E-1832-83A6-1381BB03CA1C}"/>
          </ac:grpSpMkLst>
        </pc:grpChg>
        <pc:grpChg chg="mod">
          <ac:chgData name="FEYEL, Aude" userId="dc6f8eef-acdf-41f6-8bfe-58ab96dca409" providerId="ADAL" clId="{65E2A10D-7C40-45DB-8DA1-7D68A3AA91DF}" dt="2024-03-20T09:23:04.832" v="938" actId="2711"/>
          <ac:grpSpMkLst>
            <pc:docMk/>
            <pc:sldMk cId="2667478616" sldId="2147481432"/>
            <ac:grpSpMk id="70" creationId="{619A1EB5-DA6F-6B40-4697-52DB02F421C4}"/>
          </ac:grpSpMkLst>
        </pc:grpChg>
        <pc:grpChg chg="mod">
          <ac:chgData name="FEYEL, Aude" userId="dc6f8eef-acdf-41f6-8bfe-58ab96dca409" providerId="ADAL" clId="{65E2A10D-7C40-45DB-8DA1-7D68A3AA91DF}" dt="2024-03-20T09:23:04.832" v="938" actId="2711"/>
          <ac:grpSpMkLst>
            <pc:docMk/>
            <pc:sldMk cId="2667478616" sldId="2147481432"/>
            <ac:grpSpMk id="80" creationId="{083E3572-F695-1A69-DAF4-32E236995B79}"/>
          </ac:grpSpMkLst>
        </pc:grpChg>
        <pc:grpChg chg="mod">
          <ac:chgData name="FEYEL, Aude" userId="dc6f8eef-acdf-41f6-8bfe-58ab96dca409" providerId="ADAL" clId="{65E2A10D-7C40-45DB-8DA1-7D68A3AA91DF}" dt="2024-03-20T09:23:04.832" v="938" actId="2711"/>
          <ac:grpSpMkLst>
            <pc:docMk/>
            <pc:sldMk cId="2667478616" sldId="2147481432"/>
            <ac:grpSpMk id="162" creationId="{CCEDD5FA-9C41-7548-FA75-3217AA3B64C4}"/>
          </ac:grpSpMkLst>
        </pc:grpChg>
        <pc:grpChg chg="mod">
          <ac:chgData name="FEYEL, Aude" userId="dc6f8eef-acdf-41f6-8bfe-58ab96dca409" providerId="ADAL" clId="{65E2A10D-7C40-45DB-8DA1-7D68A3AA91DF}" dt="2024-03-20T09:23:04.832" v="938" actId="2711"/>
          <ac:grpSpMkLst>
            <pc:docMk/>
            <pc:sldMk cId="2667478616" sldId="2147481432"/>
            <ac:grpSpMk id="249" creationId="{A13D6006-2C5A-B191-0E1E-44149B816CFB}"/>
          </ac:grpSpMkLst>
        </pc:grpChg>
        <pc:picChg chg="mod">
          <ac:chgData name="FEYEL, Aude" userId="dc6f8eef-acdf-41f6-8bfe-58ab96dca409" providerId="ADAL" clId="{65E2A10D-7C40-45DB-8DA1-7D68A3AA91DF}" dt="2024-03-20T09:23:04.832" v="938" actId="2711"/>
          <ac:picMkLst>
            <pc:docMk/>
            <pc:sldMk cId="2667478616" sldId="2147481432"/>
            <ac:picMk id="127" creationId="{2336A18B-DE19-45AF-4C35-0073CDB9052D}"/>
          </ac:picMkLst>
        </pc:picChg>
        <pc:cxnChg chg="mod">
          <ac:chgData name="FEYEL, Aude" userId="dc6f8eef-acdf-41f6-8bfe-58ab96dca409" providerId="ADAL" clId="{65E2A10D-7C40-45DB-8DA1-7D68A3AA91DF}" dt="2024-03-20T09:23:04.832" v="938" actId="2711"/>
          <ac:cxnSpMkLst>
            <pc:docMk/>
            <pc:sldMk cId="2667478616" sldId="2147481432"/>
            <ac:cxnSpMk id="33" creationId="{1204B050-1DC7-F7FF-695F-B19A2EA81217}"/>
          </ac:cxnSpMkLst>
        </pc:cxnChg>
        <pc:cxnChg chg="mod">
          <ac:chgData name="FEYEL, Aude" userId="dc6f8eef-acdf-41f6-8bfe-58ab96dca409" providerId="ADAL" clId="{65E2A10D-7C40-45DB-8DA1-7D68A3AA91DF}" dt="2024-03-20T09:23:04.832" v="938" actId="2711"/>
          <ac:cxnSpMkLst>
            <pc:docMk/>
            <pc:sldMk cId="2667478616" sldId="2147481432"/>
            <ac:cxnSpMk id="44" creationId="{2D99F3A5-1C82-0E4E-990E-2951C9D8AE93}"/>
          </ac:cxnSpMkLst>
        </pc:cxnChg>
        <pc:cxnChg chg="mod">
          <ac:chgData name="FEYEL, Aude" userId="dc6f8eef-acdf-41f6-8bfe-58ab96dca409" providerId="ADAL" clId="{65E2A10D-7C40-45DB-8DA1-7D68A3AA91DF}" dt="2024-03-20T09:23:04.832" v="938" actId="2711"/>
          <ac:cxnSpMkLst>
            <pc:docMk/>
            <pc:sldMk cId="2667478616" sldId="2147481432"/>
            <ac:cxnSpMk id="46" creationId="{B87DD264-51FD-6E25-23A5-C6EF87A4BAE6}"/>
          </ac:cxnSpMkLst>
        </pc:cxnChg>
      </pc:sldChg>
      <pc:sldChg chg="modSp mod">
        <pc:chgData name="FEYEL, Aude" userId="dc6f8eef-acdf-41f6-8bfe-58ab96dca409" providerId="ADAL" clId="{65E2A10D-7C40-45DB-8DA1-7D68A3AA91DF}" dt="2024-03-20T09:24:55.190" v="957" actId="2711"/>
        <pc:sldMkLst>
          <pc:docMk/>
          <pc:sldMk cId="436686117" sldId="2147481433"/>
        </pc:sldMkLst>
        <pc:spChg chg="mod">
          <ac:chgData name="FEYEL, Aude" userId="dc6f8eef-acdf-41f6-8bfe-58ab96dca409" providerId="ADAL" clId="{65E2A10D-7C40-45DB-8DA1-7D68A3AA91DF}" dt="2024-03-20T09:24:55.190" v="957" actId="2711"/>
          <ac:spMkLst>
            <pc:docMk/>
            <pc:sldMk cId="436686117" sldId="2147481433"/>
            <ac:spMk id="3" creationId="{FCE54E78-32FB-3780-7072-EBE7A21DCDFF}"/>
          </ac:spMkLst>
        </pc:spChg>
        <pc:spChg chg="mod">
          <ac:chgData name="FEYEL, Aude" userId="dc6f8eef-acdf-41f6-8bfe-58ab96dca409" providerId="ADAL" clId="{65E2A10D-7C40-45DB-8DA1-7D68A3AA91DF}" dt="2024-03-20T09:24:26.336" v="954" actId="108"/>
          <ac:spMkLst>
            <pc:docMk/>
            <pc:sldMk cId="436686117" sldId="2147481433"/>
            <ac:spMk id="5" creationId="{345F714E-B0DB-4AC0-A544-A6932E332BDD}"/>
          </ac:spMkLst>
        </pc:spChg>
        <pc:spChg chg="mod">
          <ac:chgData name="FEYEL, Aude" userId="dc6f8eef-acdf-41f6-8bfe-58ab96dca409" providerId="ADAL" clId="{65E2A10D-7C40-45DB-8DA1-7D68A3AA91DF}" dt="2024-03-20T09:24:55.190" v="957" actId="2711"/>
          <ac:spMkLst>
            <pc:docMk/>
            <pc:sldMk cId="436686117" sldId="2147481433"/>
            <ac:spMk id="6" creationId="{8CEC6A37-DEA8-BB0B-FE43-6A55747C34D6}"/>
          </ac:spMkLst>
        </pc:spChg>
        <pc:spChg chg="mod">
          <ac:chgData name="FEYEL, Aude" userId="dc6f8eef-acdf-41f6-8bfe-58ab96dca409" providerId="ADAL" clId="{65E2A10D-7C40-45DB-8DA1-7D68A3AA91DF}" dt="2024-03-20T09:24:55.190" v="957" actId="2711"/>
          <ac:spMkLst>
            <pc:docMk/>
            <pc:sldMk cId="436686117" sldId="2147481433"/>
            <ac:spMk id="8" creationId="{B87A26A2-86A6-6C94-BA50-A5728B0285B2}"/>
          </ac:spMkLst>
        </pc:spChg>
        <pc:spChg chg="mod">
          <ac:chgData name="FEYEL, Aude" userId="dc6f8eef-acdf-41f6-8bfe-58ab96dca409" providerId="ADAL" clId="{65E2A10D-7C40-45DB-8DA1-7D68A3AA91DF}" dt="2024-03-20T09:24:55.190" v="957" actId="2711"/>
          <ac:spMkLst>
            <pc:docMk/>
            <pc:sldMk cId="436686117" sldId="2147481433"/>
            <ac:spMk id="9" creationId="{9728AC0B-0743-CE9F-5AEE-0D6F342211B1}"/>
          </ac:spMkLst>
        </pc:spChg>
        <pc:spChg chg="mod">
          <ac:chgData name="FEYEL, Aude" userId="dc6f8eef-acdf-41f6-8bfe-58ab96dca409" providerId="ADAL" clId="{65E2A10D-7C40-45DB-8DA1-7D68A3AA91DF}" dt="2024-03-20T09:24:55.190" v="957" actId="2711"/>
          <ac:spMkLst>
            <pc:docMk/>
            <pc:sldMk cId="436686117" sldId="2147481433"/>
            <ac:spMk id="11" creationId="{D688E535-89A5-1C5E-ED91-E836198687DA}"/>
          </ac:spMkLst>
        </pc:spChg>
        <pc:spChg chg="mod">
          <ac:chgData name="FEYEL, Aude" userId="dc6f8eef-acdf-41f6-8bfe-58ab96dca409" providerId="ADAL" clId="{65E2A10D-7C40-45DB-8DA1-7D68A3AA91DF}" dt="2024-03-20T09:24:55.190" v="957" actId="2711"/>
          <ac:spMkLst>
            <pc:docMk/>
            <pc:sldMk cId="436686117" sldId="2147481433"/>
            <ac:spMk id="12" creationId="{D709C43B-4C5C-9ED9-7358-F94CA376D468}"/>
          </ac:spMkLst>
        </pc:spChg>
        <pc:spChg chg="mod">
          <ac:chgData name="FEYEL, Aude" userId="dc6f8eef-acdf-41f6-8bfe-58ab96dca409" providerId="ADAL" clId="{65E2A10D-7C40-45DB-8DA1-7D68A3AA91DF}" dt="2024-03-20T09:24:55.190" v="957" actId="2711"/>
          <ac:spMkLst>
            <pc:docMk/>
            <pc:sldMk cId="436686117" sldId="2147481433"/>
            <ac:spMk id="13" creationId="{FC18329E-A472-A39B-AB79-F3DEC175E4E0}"/>
          </ac:spMkLst>
        </pc:spChg>
        <pc:spChg chg="mod">
          <ac:chgData name="FEYEL, Aude" userId="dc6f8eef-acdf-41f6-8bfe-58ab96dca409" providerId="ADAL" clId="{65E2A10D-7C40-45DB-8DA1-7D68A3AA91DF}" dt="2024-03-20T09:24:55.190" v="957" actId="2711"/>
          <ac:spMkLst>
            <pc:docMk/>
            <pc:sldMk cId="436686117" sldId="2147481433"/>
            <ac:spMk id="14" creationId="{D42F0508-7BD1-6EF3-1D64-668517C0152B}"/>
          </ac:spMkLst>
        </pc:spChg>
        <pc:spChg chg="mod">
          <ac:chgData name="FEYEL, Aude" userId="dc6f8eef-acdf-41f6-8bfe-58ab96dca409" providerId="ADAL" clId="{65E2A10D-7C40-45DB-8DA1-7D68A3AA91DF}" dt="2024-03-20T09:24:55.190" v="957" actId="2711"/>
          <ac:spMkLst>
            <pc:docMk/>
            <pc:sldMk cId="436686117" sldId="2147481433"/>
            <ac:spMk id="18" creationId="{684D87A3-9941-4DCA-9A6C-A951AE27A4A2}"/>
          </ac:spMkLst>
        </pc:spChg>
        <pc:spChg chg="mod">
          <ac:chgData name="FEYEL, Aude" userId="dc6f8eef-acdf-41f6-8bfe-58ab96dca409" providerId="ADAL" clId="{65E2A10D-7C40-45DB-8DA1-7D68A3AA91DF}" dt="2024-03-20T09:24:55.190" v="957" actId="2711"/>
          <ac:spMkLst>
            <pc:docMk/>
            <pc:sldMk cId="436686117" sldId="2147481433"/>
            <ac:spMk id="19" creationId="{83139EE0-2A9C-35A2-A03A-CD90625EED8B}"/>
          </ac:spMkLst>
        </pc:spChg>
        <pc:spChg chg="mod">
          <ac:chgData name="FEYEL, Aude" userId="dc6f8eef-acdf-41f6-8bfe-58ab96dca409" providerId="ADAL" clId="{65E2A10D-7C40-45DB-8DA1-7D68A3AA91DF}" dt="2024-03-20T09:24:55.190" v="957" actId="2711"/>
          <ac:spMkLst>
            <pc:docMk/>
            <pc:sldMk cId="436686117" sldId="2147481433"/>
            <ac:spMk id="20" creationId="{F1B68105-98BE-6FA9-99CD-0C8EF8EE82D1}"/>
          </ac:spMkLst>
        </pc:spChg>
        <pc:spChg chg="mod">
          <ac:chgData name="FEYEL, Aude" userId="dc6f8eef-acdf-41f6-8bfe-58ab96dca409" providerId="ADAL" clId="{65E2A10D-7C40-45DB-8DA1-7D68A3AA91DF}" dt="2024-03-20T09:24:55.190" v="957" actId="2711"/>
          <ac:spMkLst>
            <pc:docMk/>
            <pc:sldMk cId="436686117" sldId="2147481433"/>
            <ac:spMk id="54" creationId="{73589B68-C667-6EE7-AC17-00A7DFDFE1FA}"/>
          </ac:spMkLst>
        </pc:spChg>
        <pc:spChg chg="mod">
          <ac:chgData name="FEYEL, Aude" userId="dc6f8eef-acdf-41f6-8bfe-58ab96dca409" providerId="ADAL" clId="{65E2A10D-7C40-45DB-8DA1-7D68A3AA91DF}" dt="2024-03-20T09:24:55.190" v="957" actId="2711"/>
          <ac:spMkLst>
            <pc:docMk/>
            <pc:sldMk cId="436686117" sldId="2147481433"/>
            <ac:spMk id="89" creationId="{5418B780-1F1C-D9D8-EBCC-D6DBF73B70C3}"/>
          </ac:spMkLst>
        </pc:spChg>
        <pc:spChg chg="mod">
          <ac:chgData name="FEYEL, Aude" userId="dc6f8eef-acdf-41f6-8bfe-58ab96dca409" providerId="ADAL" clId="{65E2A10D-7C40-45DB-8DA1-7D68A3AA91DF}" dt="2024-03-20T09:24:55.190" v="957" actId="2711"/>
          <ac:spMkLst>
            <pc:docMk/>
            <pc:sldMk cId="436686117" sldId="2147481433"/>
            <ac:spMk id="90" creationId="{9248DFD5-F676-B148-5264-74114F613CB7}"/>
          </ac:spMkLst>
        </pc:spChg>
        <pc:spChg chg="mod">
          <ac:chgData name="FEYEL, Aude" userId="dc6f8eef-acdf-41f6-8bfe-58ab96dca409" providerId="ADAL" clId="{65E2A10D-7C40-45DB-8DA1-7D68A3AA91DF}" dt="2024-03-20T09:24:55.190" v="957" actId="2711"/>
          <ac:spMkLst>
            <pc:docMk/>
            <pc:sldMk cId="436686117" sldId="2147481433"/>
            <ac:spMk id="92" creationId="{25133C55-334C-9E50-26D2-490EE7F304D3}"/>
          </ac:spMkLst>
        </pc:spChg>
        <pc:spChg chg="mod">
          <ac:chgData name="FEYEL, Aude" userId="dc6f8eef-acdf-41f6-8bfe-58ab96dca409" providerId="ADAL" clId="{65E2A10D-7C40-45DB-8DA1-7D68A3AA91DF}" dt="2024-03-20T09:24:55.190" v="957" actId="2711"/>
          <ac:spMkLst>
            <pc:docMk/>
            <pc:sldMk cId="436686117" sldId="2147481433"/>
            <ac:spMk id="94" creationId="{617ED4F4-D089-6EED-3269-180E436F9EF8}"/>
          </ac:spMkLst>
        </pc:spChg>
        <pc:spChg chg="mod">
          <ac:chgData name="FEYEL, Aude" userId="dc6f8eef-acdf-41f6-8bfe-58ab96dca409" providerId="ADAL" clId="{65E2A10D-7C40-45DB-8DA1-7D68A3AA91DF}" dt="2024-03-20T09:24:55.190" v="957" actId="2711"/>
          <ac:spMkLst>
            <pc:docMk/>
            <pc:sldMk cId="436686117" sldId="2147481433"/>
            <ac:spMk id="96" creationId="{92BCA199-AAF0-9AB1-7711-D244FC98F49C}"/>
          </ac:spMkLst>
        </pc:spChg>
        <pc:spChg chg="mod">
          <ac:chgData name="FEYEL, Aude" userId="dc6f8eef-acdf-41f6-8bfe-58ab96dca409" providerId="ADAL" clId="{65E2A10D-7C40-45DB-8DA1-7D68A3AA91DF}" dt="2024-03-20T09:24:55.190" v="957" actId="2711"/>
          <ac:spMkLst>
            <pc:docMk/>
            <pc:sldMk cId="436686117" sldId="2147481433"/>
            <ac:spMk id="98" creationId="{86C8ED8B-5F09-04E6-FE83-A9BDFA12F6E6}"/>
          </ac:spMkLst>
        </pc:spChg>
        <pc:spChg chg="mod">
          <ac:chgData name="FEYEL, Aude" userId="dc6f8eef-acdf-41f6-8bfe-58ab96dca409" providerId="ADAL" clId="{65E2A10D-7C40-45DB-8DA1-7D68A3AA91DF}" dt="2024-03-20T09:24:55.190" v="957" actId="2711"/>
          <ac:spMkLst>
            <pc:docMk/>
            <pc:sldMk cId="436686117" sldId="2147481433"/>
            <ac:spMk id="224" creationId="{F1187C47-DAD7-82C2-22BC-783F6516101C}"/>
          </ac:spMkLst>
        </pc:spChg>
        <pc:spChg chg="mod">
          <ac:chgData name="FEYEL, Aude" userId="dc6f8eef-acdf-41f6-8bfe-58ab96dca409" providerId="ADAL" clId="{65E2A10D-7C40-45DB-8DA1-7D68A3AA91DF}" dt="2024-03-20T09:24:55.190" v="957" actId="2711"/>
          <ac:spMkLst>
            <pc:docMk/>
            <pc:sldMk cId="436686117" sldId="2147481433"/>
            <ac:spMk id="225" creationId="{0601B8AC-17E1-DC5A-6739-95B896A78405}"/>
          </ac:spMkLst>
        </pc:spChg>
        <pc:spChg chg="mod">
          <ac:chgData name="FEYEL, Aude" userId="dc6f8eef-acdf-41f6-8bfe-58ab96dca409" providerId="ADAL" clId="{65E2A10D-7C40-45DB-8DA1-7D68A3AA91DF}" dt="2024-03-20T09:24:55.190" v="957" actId="2711"/>
          <ac:spMkLst>
            <pc:docMk/>
            <pc:sldMk cId="436686117" sldId="2147481433"/>
            <ac:spMk id="226" creationId="{309D26D7-308D-33C3-62A8-606D7BCC83B3}"/>
          </ac:spMkLst>
        </pc:spChg>
        <pc:spChg chg="mod">
          <ac:chgData name="FEYEL, Aude" userId="dc6f8eef-acdf-41f6-8bfe-58ab96dca409" providerId="ADAL" clId="{65E2A10D-7C40-45DB-8DA1-7D68A3AA91DF}" dt="2024-03-20T09:24:55.190" v="957" actId="2711"/>
          <ac:spMkLst>
            <pc:docMk/>
            <pc:sldMk cId="436686117" sldId="2147481433"/>
            <ac:spMk id="227" creationId="{7A253671-51F4-40B3-C158-57E425CB0943}"/>
          </ac:spMkLst>
        </pc:spChg>
        <pc:spChg chg="mod">
          <ac:chgData name="FEYEL, Aude" userId="dc6f8eef-acdf-41f6-8bfe-58ab96dca409" providerId="ADAL" clId="{65E2A10D-7C40-45DB-8DA1-7D68A3AA91DF}" dt="2024-03-20T09:24:55.190" v="957" actId="2711"/>
          <ac:spMkLst>
            <pc:docMk/>
            <pc:sldMk cId="436686117" sldId="2147481433"/>
            <ac:spMk id="230" creationId="{BFBADE87-FC40-B876-29EA-2DA79B72D799}"/>
          </ac:spMkLst>
        </pc:spChg>
        <pc:spChg chg="mod">
          <ac:chgData name="FEYEL, Aude" userId="dc6f8eef-acdf-41f6-8bfe-58ab96dca409" providerId="ADAL" clId="{65E2A10D-7C40-45DB-8DA1-7D68A3AA91DF}" dt="2024-03-20T09:24:55.190" v="957" actId="2711"/>
          <ac:spMkLst>
            <pc:docMk/>
            <pc:sldMk cId="436686117" sldId="2147481433"/>
            <ac:spMk id="233" creationId="{BC6F8E71-CC24-A4A6-3333-0A6677AF6978}"/>
          </ac:spMkLst>
        </pc:spChg>
        <pc:spChg chg="mod">
          <ac:chgData name="FEYEL, Aude" userId="dc6f8eef-acdf-41f6-8bfe-58ab96dca409" providerId="ADAL" clId="{65E2A10D-7C40-45DB-8DA1-7D68A3AA91DF}" dt="2024-03-20T09:24:55.190" v="957" actId="2711"/>
          <ac:spMkLst>
            <pc:docMk/>
            <pc:sldMk cId="436686117" sldId="2147481433"/>
            <ac:spMk id="236" creationId="{D2681EBD-8DA3-D9EC-083C-5D310420F211}"/>
          </ac:spMkLst>
        </pc:spChg>
        <pc:spChg chg="mod">
          <ac:chgData name="FEYEL, Aude" userId="dc6f8eef-acdf-41f6-8bfe-58ab96dca409" providerId="ADAL" clId="{65E2A10D-7C40-45DB-8DA1-7D68A3AA91DF}" dt="2024-03-20T09:24:55.190" v="957" actId="2711"/>
          <ac:spMkLst>
            <pc:docMk/>
            <pc:sldMk cId="436686117" sldId="2147481433"/>
            <ac:spMk id="237" creationId="{693AA1B0-C96A-AC6D-B0A9-D41F8499D158}"/>
          </ac:spMkLst>
        </pc:spChg>
        <pc:spChg chg="mod">
          <ac:chgData name="FEYEL, Aude" userId="dc6f8eef-acdf-41f6-8bfe-58ab96dca409" providerId="ADAL" clId="{65E2A10D-7C40-45DB-8DA1-7D68A3AA91DF}" dt="2024-03-20T09:24:55.190" v="957" actId="2711"/>
          <ac:spMkLst>
            <pc:docMk/>
            <pc:sldMk cId="436686117" sldId="2147481433"/>
            <ac:spMk id="239" creationId="{9B441DB9-6998-DAAF-CCEC-1A79EAB912EE}"/>
          </ac:spMkLst>
        </pc:spChg>
        <pc:spChg chg="mod">
          <ac:chgData name="FEYEL, Aude" userId="dc6f8eef-acdf-41f6-8bfe-58ab96dca409" providerId="ADAL" clId="{65E2A10D-7C40-45DB-8DA1-7D68A3AA91DF}" dt="2024-03-20T09:24:55.190" v="957" actId="2711"/>
          <ac:spMkLst>
            <pc:docMk/>
            <pc:sldMk cId="436686117" sldId="2147481433"/>
            <ac:spMk id="241" creationId="{47B3EA9B-7B91-05FE-CDF9-5526955B5757}"/>
          </ac:spMkLst>
        </pc:spChg>
        <pc:spChg chg="mod">
          <ac:chgData name="FEYEL, Aude" userId="dc6f8eef-acdf-41f6-8bfe-58ab96dca409" providerId="ADAL" clId="{65E2A10D-7C40-45DB-8DA1-7D68A3AA91DF}" dt="2024-03-20T09:24:55.190" v="957" actId="2711"/>
          <ac:spMkLst>
            <pc:docMk/>
            <pc:sldMk cId="436686117" sldId="2147481433"/>
            <ac:spMk id="243" creationId="{9E0024CD-1E56-0285-2C34-98F2760F633D}"/>
          </ac:spMkLst>
        </pc:spChg>
        <pc:spChg chg="mod">
          <ac:chgData name="FEYEL, Aude" userId="dc6f8eef-acdf-41f6-8bfe-58ab96dca409" providerId="ADAL" clId="{65E2A10D-7C40-45DB-8DA1-7D68A3AA91DF}" dt="2024-03-20T09:24:55.190" v="957" actId="2711"/>
          <ac:spMkLst>
            <pc:docMk/>
            <pc:sldMk cId="436686117" sldId="2147481433"/>
            <ac:spMk id="244" creationId="{4B9B82F6-82FE-21E7-880F-5E792FBAFD96}"/>
          </ac:spMkLst>
        </pc:spChg>
        <pc:spChg chg="mod">
          <ac:chgData name="FEYEL, Aude" userId="dc6f8eef-acdf-41f6-8bfe-58ab96dca409" providerId="ADAL" clId="{65E2A10D-7C40-45DB-8DA1-7D68A3AA91DF}" dt="2024-03-20T09:24:55.190" v="957" actId="2711"/>
          <ac:spMkLst>
            <pc:docMk/>
            <pc:sldMk cId="436686117" sldId="2147481433"/>
            <ac:spMk id="246" creationId="{6ECDDAD0-C05E-A397-5142-FFEB7E60ACE6}"/>
          </ac:spMkLst>
        </pc:spChg>
      </pc:sldChg>
      <pc:sldChg chg="modSp mod">
        <pc:chgData name="FEYEL, Aude" userId="dc6f8eef-acdf-41f6-8bfe-58ab96dca409" providerId="ADAL" clId="{65E2A10D-7C40-45DB-8DA1-7D68A3AA91DF}" dt="2024-03-20T09:24:31.015" v="955" actId="108"/>
        <pc:sldMkLst>
          <pc:docMk/>
          <pc:sldMk cId="3632670280" sldId="2147481434"/>
        </pc:sldMkLst>
        <pc:spChg chg="mod">
          <ac:chgData name="FEYEL, Aude" userId="dc6f8eef-acdf-41f6-8bfe-58ab96dca409" providerId="ADAL" clId="{65E2A10D-7C40-45DB-8DA1-7D68A3AA91DF}" dt="2024-03-20T09:24:31.015" v="955" actId="108"/>
          <ac:spMkLst>
            <pc:docMk/>
            <pc:sldMk cId="3632670280" sldId="2147481434"/>
            <ac:spMk id="5" creationId="{345F714E-B0DB-4AC0-A544-A6932E332BDD}"/>
          </ac:spMkLst>
        </pc:spChg>
      </pc:sldChg>
      <pc:sldChg chg="addSp modSp mod">
        <pc:chgData name="FEYEL, Aude" userId="dc6f8eef-acdf-41f6-8bfe-58ab96dca409" providerId="ADAL" clId="{65E2A10D-7C40-45DB-8DA1-7D68A3AA91DF}" dt="2024-03-20T09:13:26.417" v="710" actId="20577"/>
        <pc:sldMkLst>
          <pc:docMk/>
          <pc:sldMk cId="1228357790" sldId="2147481451"/>
        </pc:sldMkLst>
        <pc:spChg chg="add mod">
          <ac:chgData name="FEYEL, Aude" userId="dc6f8eef-acdf-41f6-8bfe-58ab96dca409" providerId="ADAL" clId="{65E2A10D-7C40-45DB-8DA1-7D68A3AA91DF}" dt="2024-03-20T09:13:26.417" v="710" actId="20577"/>
          <ac:spMkLst>
            <pc:docMk/>
            <pc:sldMk cId="1228357790" sldId="2147481451"/>
            <ac:spMk id="5" creationId="{F9F389B4-0AD2-0613-DD27-B8F41026D863}"/>
          </ac:spMkLst>
        </pc:spChg>
        <pc:graphicFrameChg chg="modGraphic">
          <ac:chgData name="FEYEL, Aude" userId="dc6f8eef-acdf-41f6-8bfe-58ab96dca409" providerId="ADAL" clId="{65E2A10D-7C40-45DB-8DA1-7D68A3AA91DF}" dt="2024-03-14T15:52:30.961" v="577" actId="20577"/>
          <ac:graphicFrameMkLst>
            <pc:docMk/>
            <pc:sldMk cId="1228357790" sldId="2147481451"/>
            <ac:graphicFrameMk id="4" creationId="{868DAC96-CB41-D4D4-D037-AA7301259B0A}"/>
          </ac:graphicFrameMkLst>
        </pc:graphicFrameChg>
      </pc:sldChg>
      <pc:sldChg chg="modSp mod">
        <pc:chgData name="FEYEL, Aude" userId="dc6f8eef-acdf-41f6-8bfe-58ab96dca409" providerId="ADAL" clId="{65E2A10D-7C40-45DB-8DA1-7D68A3AA91DF}" dt="2024-03-20T09:19:50.027" v="912" actId="20577"/>
        <pc:sldMkLst>
          <pc:docMk/>
          <pc:sldMk cId="3743689127" sldId="2147481452"/>
        </pc:sldMkLst>
        <pc:spChg chg="mod">
          <ac:chgData name="FEYEL, Aude" userId="dc6f8eef-acdf-41f6-8bfe-58ab96dca409" providerId="ADAL" clId="{65E2A10D-7C40-45DB-8DA1-7D68A3AA91DF}" dt="2024-03-20T09:19:50.027" v="912" actId="20577"/>
          <ac:spMkLst>
            <pc:docMk/>
            <pc:sldMk cId="3743689127" sldId="2147481452"/>
            <ac:spMk id="2" creationId="{5FBEB8B5-A4CC-ADB2-80A6-EB127078C5C1}"/>
          </ac:spMkLst>
        </pc:spChg>
        <pc:spChg chg="mod">
          <ac:chgData name="FEYEL, Aude" userId="dc6f8eef-acdf-41f6-8bfe-58ab96dca409" providerId="ADAL" clId="{65E2A10D-7C40-45DB-8DA1-7D68A3AA91DF}" dt="2024-03-20T09:19:45.010" v="910" actId="790"/>
          <ac:spMkLst>
            <pc:docMk/>
            <pc:sldMk cId="3743689127" sldId="2147481452"/>
            <ac:spMk id="3" creationId="{DC01C05F-AD85-5415-CEC9-6BFBC0BE846C}"/>
          </ac:spMkLst>
        </pc:spChg>
      </pc:sldChg>
      <pc:sldChg chg="del">
        <pc:chgData name="FEYEL, Aude" userId="dc6f8eef-acdf-41f6-8bfe-58ab96dca409" providerId="ADAL" clId="{65E2A10D-7C40-45DB-8DA1-7D68A3AA91DF}" dt="2024-03-20T09:16:46.713" v="785" actId="47"/>
        <pc:sldMkLst>
          <pc:docMk/>
          <pc:sldMk cId="3334764948" sldId="2147481456"/>
        </pc:sldMkLst>
      </pc:sldChg>
      <pc:sldChg chg="modSp mod">
        <pc:chgData name="FEYEL, Aude" userId="dc6f8eef-acdf-41f6-8bfe-58ab96dca409" providerId="ADAL" clId="{65E2A10D-7C40-45DB-8DA1-7D68A3AA91DF}" dt="2024-03-20T09:28:38.131" v="981" actId="2711"/>
        <pc:sldMkLst>
          <pc:docMk/>
          <pc:sldMk cId="1203554301" sldId="2147481457"/>
        </pc:sldMkLst>
        <pc:spChg chg="mod">
          <ac:chgData name="FEYEL, Aude" userId="dc6f8eef-acdf-41f6-8bfe-58ab96dca409" providerId="ADAL" clId="{65E2A10D-7C40-45DB-8DA1-7D68A3AA91DF}" dt="2024-03-20T09:28:38.131" v="981" actId="2711"/>
          <ac:spMkLst>
            <pc:docMk/>
            <pc:sldMk cId="1203554301" sldId="2147481457"/>
            <ac:spMk id="23" creationId="{829AF7EE-145B-4C4A-8CEB-F55DCBE6686C}"/>
          </ac:spMkLst>
        </pc:spChg>
      </pc:sldChg>
      <pc:sldChg chg="addSp modSp mod">
        <pc:chgData name="FEYEL, Aude" userId="dc6f8eef-acdf-41f6-8bfe-58ab96dca409" providerId="ADAL" clId="{65E2A10D-7C40-45DB-8DA1-7D68A3AA91DF}" dt="2024-03-20T09:14:34.416" v="784" actId="20577"/>
        <pc:sldMkLst>
          <pc:docMk/>
          <pc:sldMk cId="1582801622" sldId="2147481462"/>
        </pc:sldMkLst>
        <pc:spChg chg="add mod">
          <ac:chgData name="FEYEL, Aude" userId="dc6f8eef-acdf-41f6-8bfe-58ab96dca409" providerId="ADAL" clId="{65E2A10D-7C40-45DB-8DA1-7D68A3AA91DF}" dt="2024-03-20T09:14:34.416" v="784" actId="20577"/>
          <ac:spMkLst>
            <pc:docMk/>
            <pc:sldMk cId="1582801622" sldId="2147481462"/>
            <ac:spMk id="2" creationId="{54010598-F592-20BF-FB08-F822699E4009}"/>
          </ac:spMkLst>
        </pc:spChg>
      </pc:sldChg>
      <pc:sldChg chg="modSp mod">
        <pc:chgData name="FEYEL, Aude" userId="dc6f8eef-acdf-41f6-8bfe-58ab96dca409" providerId="ADAL" clId="{65E2A10D-7C40-45DB-8DA1-7D68A3AA91DF}" dt="2024-03-20T09:20:03.235" v="913" actId="790"/>
        <pc:sldMkLst>
          <pc:docMk/>
          <pc:sldMk cId="4251552819" sldId="2147481466"/>
        </pc:sldMkLst>
        <pc:spChg chg="mod">
          <ac:chgData name="FEYEL, Aude" userId="dc6f8eef-acdf-41f6-8bfe-58ab96dca409" providerId="ADAL" clId="{65E2A10D-7C40-45DB-8DA1-7D68A3AA91DF}" dt="2024-03-20T09:20:03.235" v="913" actId="790"/>
          <ac:spMkLst>
            <pc:docMk/>
            <pc:sldMk cId="4251552819" sldId="2147481466"/>
            <ac:spMk id="3" creationId="{DC01C05F-AD85-5415-CEC9-6BFBC0BE846C}"/>
          </ac:spMkLst>
        </pc:spChg>
      </pc:sldChg>
    </pc:docChg>
  </pc:docChgLst>
  <pc:docChgLst>
    <pc:chgData name="SEIMANDI, Matthieu" userId="a1af33a6-fb38-46b3-9399-8c933e699451" providerId="ADAL" clId="{430C985F-A311-4434-952C-DEB42487B883}"/>
    <pc:docChg chg="undo custSel addSld delSld modSld sldOrd modMainMaster modSection">
      <pc:chgData name="SEIMANDI, Matthieu" userId="a1af33a6-fb38-46b3-9399-8c933e699451" providerId="ADAL" clId="{430C985F-A311-4434-952C-DEB42487B883}" dt="2024-03-26T13:03:59.911" v="8430" actId="729"/>
      <pc:docMkLst>
        <pc:docMk/>
      </pc:docMkLst>
      <pc:sldChg chg="modSp mod">
        <pc:chgData name="SEIMANDI, Matthieu" userId="a1af33a6-fb38-46b3-9399-8c933e699451" providerId="ADAL" clId="{430C985F-A311-4434-952C-DEB42487B883}" dt="2024-02-20T10:40:31.500" v="5427" actId="14100"/>
        <pc:sldMkLst>
          <pc:docMk/>
          <pc:sldMk cId="1054645184" sldId="1051"/>
        </pc:sldMkLst>
        <pc:spChg chg="mod">
          <ac:chgData name="SEIMANDI, Matthieu" userId="a1af33a6-fb38-46b3-9399-8c933e699451" providerId="ADAL" clId="{430C985F-A311-4434-952C-DEB42487B883}" dt="2024-02-20T10:40:31.500" v="5427" actId="14100"/>
          <ac:spMkLst>
            <pc:docMk/>
            <pc:sldMk cId="1054645184" sldId="1051"/>
            <ac:spMk id="12" creationId="{A00DB984-C4C9-4289-8951-D58BE233784C}"/>
          </ac:spMkLst>
        </pc:spChg>
      </pc:sldChg>
      <pc:sldChg chg="delSp modSp add mod modClrScheme chgLayout">
        <pc:chgData name="SEIMANDI, Matthieu" userId="a1af33a6-fb38-46b3-9399-8c933e699451" providerId="ADAL" clId="{430C985F-A311-4434-952C-DEB42487B883}" dt="2024-02-15T10:54:58.908" v="3330" actId="14100"/>
        <pc:sldMkLst>
          <pc:docMk/>
          <pc:sldMk cId="959937450" sldId="2793"/>
        </pc:sldMkLst>
        <pc:spChg chg="mod ord">
          <ac:chgData name="SEIMANDI, Matthieu" userId="a1af33a6-fb38-46b3-9399-8c933e699451" providerId="ADAL" clId="{430C985F-A311-4434-952C-DEB42487B883}" dt="2024-02-15T10:54:58.908" v="3330" actId="14100"/>
          <ac:spMkLst>
            <pc:docMk/>
            <pc:sldMk cId="959937450" sldId="2793"/>
            <ac:spMk id="2" creationId="{C611B042-4B8F-495F-A39F-F1AA55E2D236}"/>
          </ac:spMkLst>
        </pc:spChg>
        <pc:spChg chg="mod ord">
          <ac:chgData name="SEIMANDI, Matthieu" userId="a1af33a6-fb38-46b3-9399-8c933e699451" providerId="ADAL" clId="{430C985F-A311-4434-952C-DEB42487B883}" dt="2024-02-15T10:54:55.027" v="3329" actId="700"/>
          <ac:spMkLst>
            <pc:docMk/>
            <pc:sldMk cId="959937450" sldId="2793"/>
            <ac:spMk id="5" creationId="{2AE4D188-262B-41B6-B9D8-0ABFD39275E0}"/>
          </ac:spMkLst>
        </pc:spChg>
        <pc:graphicFrameChg chg="mod">
          <ac:chgData name="SEIMANDI, Matthieu" userId="a1af33a6-fb38-46b3-9399-8c933e699451" providerId="ADAL" clId="{430C985F-A311-4434-952C-DEB42487B883}" dt="2024-02-15T10:54:37.141" v="3326" actId="1036"/>
          <ac:graphicFrameMkLst>
            <pc:docMk/>
            <pc:sldMk cId="959937450" sldId="2793"/>
            <ac:graphicFrameMk id="3" creationId="{5BEA64BB-DE3A-405B-95DE-0E5F83124F73}"/>
          </ac:graphicFrameMkLst>
        </pc:graphicFrameChg>
        <pc:cxnChg chg="del">
          <ac:chgData name="SEIMANDI, Matthieu" userId="a1af33a6-fb38-46b3-9399-8c933e699451" providerId="ADAL" clId="{430C985F-A311-4434-952C-DEB42487B883}" dt="2024-02-15T09:13:37.734" v="2332" actId="478"/>
          <ac:cxnSpMkLst>
            <pc:docMk/>
            <pc:sldMk cId="959937450" sldId="2793"/>
            <ac:cxnSpMk id="6" creationId="{6EA4FA6E-A361-491D-80E0-D0893F4D869B}"/>
          </ac:cxnSpMkLst>
        </pc:cxnChg>
      </pc:sldChg>
      <pc:sldChg chg="modSp mod">
        <pc:chgData name="SEIMANDI, Matthieu" userId="a1af33a6-fb38-46b3-9399-8c933e699451" providerId="ADAL" clId="{430C985F-A311-4434-952C-DEB42487B883}" dt="2024-03-12T17:08:52.679" v="7741" actId="12789"/>
        <pc:sldMkLst>
          <pc:docMk/>
          <pc:sldMk cId="2464078307" sldId="2793"/>
        </pc:sldMkLst>
        <pc:graphicFrameChg chg="mod modGraphic">
          <ac:chgData name="SEIMANDI, Matthieu" userId="a1af33a6-fb38-46b3-9399-8c933e699451" providerId="ADAL" clId="{430C985F-A311-4434-952C-DEB42487B883}" dt="2024-03-12T17:08:52.679" v="7741" actId="12789"/>
          <ac:graphicFrameMkLst>
            <pc:docMk/>
            <pc:sldMk cId="2464078307" sldId="2793"/>
            <ac:graphicFrameMk id="3" creationId="{5BEA64BB-DE3A-405B-95DE-0E5F83124F73}"/>
          </ac:graphicFrameMkLst>
        </pc:graphicFrameChg>
      </pc:sldChg>
      <pc:sldChg chg="delSp modSp mod modClrScheme chgLayout">
        <pc:chgData name="SEIMANDI, Matthieu" userId="a1af33a6-fb38-46b3-9399-8c933e699451" providerId="ADAL" clId="{430C985F-A311-4434-952C-DEB42487B883}" dt="2024-03-12T12:54:17.233" v="7586" actId="700"/>
        <pc:sldMkLst>
          <pc:docMk/>
          <pc:sldMk cId="3274350114" sldId="2808"/>
        </pc:sldMkLst>
        <pc:spChg chg="del mod">
          <ac:chgData name="SEIMANDI, Matthieu" userId="a1af33a6-fb38-46b3-9399-8c933e699451" providerId="ADAL" clId="{430C985F-A311-4434-952C-DEB42487B883}" dt="2024-02-14T16:52:55.461" v="1697" actId="478"/>
          <ac:spMkLst>
            <pc:docMk/>
            <pc:sldMk cId="3274350114" sldId="2808"/>
            <ac:spMk id="104" creationId="{4A65B2FC-E04F-4178-A7B5-2A50008C33A3}"/>
          </ac:spMkLst>
        </pc:spChg>
        <pc:spChg chg="mod ord">
          <ac:chgData name="SEIMANDI, Matthieu" userId="a1af33a6-fb38-46b3-9399-8c933e699451" providerId="ADAL" clId="{430C985F-A311-4434-952C-DEB42487B883}" dt="2024-03-12T12:54:17.233" v="7586" actId="700"/>
          <ac:spMkLst>
            <pc:docMk/>
            <pc:sldMk cId="3274350114" sldId="2808"/>
            <ac:spMk id="108" creationId="{A5FFCCE8-21FE-4867-BE65-7E34C24F06E2}"/>
          </ac:spMkLst>
        </pc:spChg>
      </pc:sldChg>
      <pc:sldChg chg="delSp modSp add mod ord modClrScheme chgLayout">
        <pc:chgData name="SEIMANDI, Matthieu" userId="a1af33a6-fb38-46b3-9399-8c933e699451" providerId="ADAL" clId="{430C985F-A311-4434-952C-DEB42487B883}" dt="2024-02-15T10:58:34.589" v="3366" actId="3064"/>
        <pc:sldMkLst>
          <pc:docMk/>
          <pc:sldMk cId="3197640049" sldId="2844"/>
        </pc:sldMkLst>
        <pc:spChg chg="mod">
          <ac:chgData name="SEIMANDI, Matthieu" userId="a1af33a6-fb38-46b3-9399-8c933e699451" providerId="ADAL" clId="{430C985F-A311-4434-952C-DEB42487B883}" dt="2024-02-15T09:13:13.076" v="2329" actId="1036"/>
          <ac:spMkLst>
            <pc:docMk/>
            <pc:sldMk cId="3197640049" sldId="2844"/>
            <ac:spMk id="2" creationId="{05663357-58FB-4C3A-8E98-4CE122824C74}"/>
          </ac:spMkLst>
        </pc:spChg>
        <pc:spChg chg="mod">
          <ac:chgData name="SEIMANDI, Matthieu" userId="a1af33a6-fb38-46b3-9399-8c933e699451" providerId="ADAL" clId="{430C985F-A311-4434-952C-DEB42487B883}" dt="2024-02-15T10:58:34.589" v="3366" actId="3064"/>
          <ac:spMkLst>
            <pc:docMk/>
            <pc:sldMk cId="3197640049" sldId="2844"/>
            <ac:spMk id="3" creationId="{50C605F5-6FCC-4268-A25A-258FFA633113}"/>
          </ac:spMkLst>
        </pc:spChg>
        <pc:spChg chg="del">
          <ac:chgData name="SEIMANDI, Matthieu" userId="a1af33a6-fb38-46b3-9399-8c933e699451" providerId="ADAL" clId="{430C985F-A311-4434-952C-DEB42487B883}" dt="2024-02-15T09:13:17.657" v="2330" actId="478"/>
          <ac:spMkLst>
            <pc:docMk/>
            <pc:sldMk cId="3197640049" sldId="2844"/>
            <ac:spMk id="4" creationId="{24916DB7-6B02-45AD-9E81-D28947DEE21B}"/>
          </ac:spMkLst>
        </pc:spChg>
        <pc:spChg chg="mod">
          <ac:chgData name="SEIMANDI, Matthieu" userId="a1af33a6-fb38-46b3-9399-8c933e699451" providerId="ADAL" clId="{430C985F-A311-4434-952C-DEB42487B883}" dt="2024-02-15T09:13:13.076" v="2329" actId="1036"/>
          <ac:spMkLst>
            <pc:docMk/>
            <pc:sldMk cId="3197640049" sldId="2844"/>
            <ac:spMk id="5" creationId="{BBD22A95-FE9E-4456-8AD2-CAA546B78FFA}"/>
          </ac:spMkLst>
        </pc:spChg>
        <pc:spChg chg="mod ord">
          <ac:chgData name="SEIMANDI, Matthieu" userId="a1af33a6-fb38-46b3-9399-8c933e699451" providerId="ADAL" clId="{430C985F-A311-4434-952C-DEB42487B883}" dt="2024-02-15T10:54:25.140" v="3299" actId="700"/>
          <ac:spMkLst>
            <pc:docMk/>
            <pc:sldMk cId="3197640049" sldId="2844"/>
            <ac:spMk id="6" creationId="{21F93EC9-2CE4-454D-B487-CA95A2F9493A}"/>
          </ac:spMkLst>
        </pc:spChg>
        <pc:spChg chg="mod">
          <ac:chgData name="SEIMANDI, Matthieu" userId="a1af33a6-fb38-46b3-9399-8c933e699451" providerId="ADAL" clId="{430C985F-A311-4434-952C-DEB42487B883}" dt="2024-02-15T09:13:13.076" v="2329" actId="1036"/>
          <ac:spMkLst>
            <pc:docMk/>
            <pc:sldMk cId="3197640049" sldId="2844"/>
            <ac:spMk id="24" creationId="{571394B3-950C-47A4-B485-1A0BD801A612}"/>
          </ac:spMkLst>
        </pc:spChg>
        <pc:spChg chg="mod">
          <ac:chgData name="SEIMANDI, Matthieu" userId="a1af33a6-fb38-46b3-9399-8c933e699451" providerId="ADAL" clId="{430C985F-A311-4434-952C-DEB42487B883}" dt="2024-02-15T09:13:13.076" v="2329" actId="1036"/>
          <ac:spMkLst>
            <pc:docMk/>
            <pc:sldMk cId="3197640049" sldId="2844"/>
            <ac:spMk id="25" creationId="{37FF3FF9-6D99-4A0E-8602-135C87BEB7D9}"/>
          </ac:spMkLst>
        </pc:spChg>
        <pc:spChg chg="mod">
          <ac:chgData name="SEIMANDI, Matthieu" userId="a1af33a6-fb38-46b3-9399-8c933e699451" providerId="ADAL" clId="{430C985F-A311-4434-952C-DEB42487B883}" dt="2024-02-15T09:13:13.076" v="2329" actId="1036"/>
          <ac:spMkLst>
            <pc:docMk/>
            <pc:sldMk cId="3197640049" sldId="2844"/>
            <ac:spMk id="31" creationId="{B1D4AE82-CC43-4FF8-B7F8-6B714F6D97CB}"/>
          </ac:spMkLst>
        </pc:spChg>
        <pc:spChg chg="mod">
          <ac:chgData name="SEIMANDI, Matthieu" userId="a1af33a6-fb38-46b3-9399-8c933e699451" providerId="ADAL" clId="{430C985F-A311-4434-952C-DEB42487B883}" dt="2024-02-15T09:13:13.076" v="2329" actId="1036"/>
          <ac:spMkLst>
            <pc:docMk/>
            <pc:sldMk cId="3197640049" sldId="2844"/>
            <ac:spMk id="45" creationId="{15974C15-827E-4035-962C-12E79AD885AF}"/>
          </ac:spMkLst>
        </pc:spChg>
        <pc:spChg chg="mod">
          <ac:chgData name="SEIMANDI, Matthieu" userId="a1af33a6-fb38-46b3-9399-8c933e699451" providerId="ADAL" clId="{430C985F-A311-4434-952C-DEB42487B883}" dt="2024-02-15T09:13:13.076" v="2329" actId="1036"/>
          <ac:spMkLst>
            <pc:docMk/>
            <pc:sldMk cId="3197640049" sldId="2844"/>
            <ac:spMk id="49" creationId="{DFD89AB1-653A-476E-B23C-FCA6E1F5A212}"/>
          </ac:spMkLst>
        </pc:spChg>
        <pc:spChg chg="mod">
          <ac:chgData name="SEIMANDI, Matthieu" userId="a1af33a6-fb38-46b3-9399-8c933e699451" providerId="ADAL" clId="{430C985F-A311-4434-952C-DEB42487B883}" dt="2024-02-15T09:13:13.076" v="2329" actId="1036"/>
          <ac:spMkLst>
            <pc:docMk/>
            <pc:sldMk cId="3197640049" sldId="2844"/>
            <ac:spMk id="50" creationId="{E5531225-850E-468B-BC67-C144C5B75B24}"/>
          </ac:spMkLst>
        </pc:spChg>
        <pc:spChg chg="mod">
          <ac:chgData name="SEIMANDI, Matthieu" userId="a1af33a6-fb38-46b3-9399-8c933e699451" providerId="ADAL" clId="{430C985F-A311-4434-952C-DEB42487B883}" dt="2024-02-15T09:13:13.076" v="2329" actId="1036"/>
          <ac:spMkLst>
            <pc:docMk/>
            <pc:sldMk cId="3197640049" sldId="2844"/>
            <ac:spMk id="80" creationId="{64E86665-B6FD-4B86-A16C-3D1283D44942}"/>
          </ac:spMkLst>
        </pc:spChg>
        <pc:spChg chg="mod">
          <ac:chgData name="SEIMANDI, Matthieu" userId="a1af33a6-fb38-46b3-9399-8c933e699451" providerId="ADAL" clId="{430C985F-A311-4434-952C-DEB42487B883}" dt="2024-02-15T09:13:13.076" v="2329" actId="1036"/>
          <ac:spMkLst>
            <pc:docMk/>
            <pc:sldMk cId="3197640049" sldId="2844"/>
            <ac:spMk id="81" creationId="{A7B97495-5C5E-4FD9-BEF2-9117E45BFFCB}"/>
          </ac:spMkLst>
        </pc:spChg>
        <pc:spChg chg="mod">
          <ac:chgData name="SEIMANDI, Matthieu" userId="a1af33a6-fb38-46b3-9399-8c933e699451" providerId="ADAL" clId="{430C985F-A311-4434-952C-DEB42487B883}" dt="2024-02-15T10:57:44.184" v="3354" actId="3064"/>
          <ac:spMkLst>
            <pc:docMk/>
            <pc:sldMk cId="3197640049" sldId="2844"/>
            <ac:spMk id="82" creationId="{970554C7-696F-4586-99A6-C317B8E7FC69}"/>
          </ac:spMkLst>
        </pc:spChg>
        <pc:spChg chg="mod">
          <ac:chgData name="SEIMANDI, Matthieu" userId="a1af33a6-fb38-46b3-9399-8c933e699451" providerId="ADAL" clId="{430C985F-A311-4434-952C-DEB42487B883}" dt="2024-02-15T10:57:47.303" v="3356" actId="20577"/>
          <ac:spMkLst>
            <pc:docMk/>
            <pc:sldMk cId="3197640049" sldId="2844"/>
            <ac:spMk id="83" creationId="{A6536A61-313E-46E5-8B8C-468FB6567435}"/>
          </ac:spMkLst>
        </pc:spChg>
        <pc:graphicFrameChg chg="mod">
          <ac:chgData name="SEIMANDI, Matthieu" userId="a1af33a6-fb38-46b3-9399-8c933e699451" providerId="ADAL" clId="{430C985F-A311-4434-952C-DEB42487B883}" dt="2024-02-15T09:13:13.076" v="2329" actId="1036"/>
          <ac:graphicFrameMkLst>
            <pc:docMk/>
            <pc:sldMk cId="3197640049" sldId="2844"/>
            <ac:graphicFrameMk id="16" creationId="{5E9B32CA-FCCE-4F22-93FC-459638979744}"/>
          </ac:graphicFrameMkLst>
        </pc:graphicFrameChg>
        <pc:graphicFrameChg chg="mod">
          <ac:chgData name="SEIMANDI, Matthieu" userId="a1af33a6-fb38-46b3-9399-8c933e699451" providerId="ADAL" clId="{430C985F-A311-4434-952C-DEB42487B883}" dt="2024-02-15T09:13:13.076" v="2329" actId="1036"/>
          <ac:graphicFrameMkLst>
            <pc:docMk/>
            <pc:sldMk cId="3197640049" sldId="2844"/>
            <ac:graphicFrameMk id="17" creationId="{FA4C2AA3-158A-4091-ADAC-EBCCCBD38EB7}"/>
          </ac:graphicFrameMkLst>
        </pc:graphicFrameChg>
        <pc:graphicFrameChg chg="mod">
          <ac:chgData name="SEIMANDI, Matthieu" userId="a1af33a6-fb38-46b3-9399-8c933e699451" providerId="ADAL" clId="{430C985F-A311-4434-952C-DEB42487B883}" dt="2024-02-15T09:13:13.076" v="2329" actId="1036"/>
          <ac:graphicFrameMkLst>
            <pc:docMk/>
            <pc:sldMk cId="3197640049" sldId="2844"/>
            <ac:graphicFrameMk id="20" creationId="{B739E486-70DB-4746-BDF5-DBD2391E250A}"/>
          </ac:graphicFrameMkLst>
        </pc:graphicFrameChg>
        <pc:graphicFrameChg chg="mod">
          <ac:chgData name="SEIMANDI, Matthieu" userId="a1af33a6-fb38-46b3-9399-8c933e699451" providerId="ADAL" clId="{430C985F-A311-4434-952C-DEB42487B883}" dt="2024-02-15T10:57:56.545" v="3358" actId="14100"/>
          <ac:graphicFrameMkLst>
            <pc:docMk/>
            <pc:sldMk cId="3197640049" sldId="2844"/>
            <ac:graphicFrameMk id="22" creationId="{220EBFE2-26F0-4B56-A207-11C4EFBBE316}"/>
          </ac:graphicFrameMkLst>
        </pc:graphicFrameChg>
      </pc:sldChg>
      <pc:sldChg chg="modSp mod modClrScheme chgLayout">
        <pc:chgData name="SEIMANDI, Matthieu" userId="a1af33a6-fb38-46b3-9399-8c933e699451" providerId="ADAL" clId="{430C985F-A311-4434-952C-DEB42487B883}" dt="2024-03-12T12:54:17.233" v="7586" actId="700"/>
        <pc:sldMkLst>
          <pc:docMk/>
          <pc:sldMk cId="4132157064" sldId="2134806153"/>
        </pc:sldMkLst>
        <pc:spChg chg="mod ord">
          <ac:chgData name="SEIMANDI, Matthieu" userId="a1af33a6-fb38-46b3-9399-8c933e699451" providerId="ADAL" clId="{430C985F-A311-4434-952C-DEB42487B883}" dt="2024-03-12T12:54:17.233" v="7586" actId="700"/>
          <ac:spMkLst>
            <pc:docMk/>
            <pc:sldMk cId="4132157064" sldId="2134806153"/>
            <ac:spMk id="2" creationId="{2FFF98E1-27E7-4C87-ACFA-F6B772233047}"/>
          </ac:spMkLst>
        </pc:spChg>
        <pc:spChg chg="mod">
          <ac:chgData name="SEIMANDI, Matthieu" userId="a1af33a6-fb38-46b3-9399-8c933e699451" providerId="ADAL" clId="{430C985F-A311-4434-952C-DEB42487B883}" dt="2024-02-14T16:52:15.336" v="1694" actId="1036"/>
          <ac:spMkLst>
            <pc:docMk/>
            <pc:sldMk cId="4132157064" sldId="2134806153"/>
            <ac:spMk id="3" creationId="{4AFD6551-D384-435C-9060-7DAE459857C1}"/>
          </ac:spMkLst>
        </pc:spChg>
        <pc:spChg chg="mod">
          <ac:chgData name="SEIMANDI, Matthieu" userId="a1af33a6-fb38-46b3-9399-8c933e699451" providerId="ADAL" clId="{430C985F-A311-4434-952C-DEB42487B883}" dt="2024-02-14T16:52:15.336" v="1694" actId="1036"/>
          <ac:spMkLst>
            <pc:docMk/>
            <pc:sldMk cId="4132157064" sldId="2134806153"/>
            <ac:spMk id="4" creationId="{EF4CFF39-29D1-42BA-9546-01499FEF9C07}"/>
          </ac:spMkLst>
        </pc:spChg>
        <pc:spChg chg="mod">
          <ac:chgData name="SEIMANDI, Matthieu" userId="a1af33a6-fb38-46b3-9399-8c933e699451" providerId="ADAL" clId="{430C985F-A311-4434-952C-DEB42487B883}" dt="2024-02-14T16:52:15.336" v="1694" actId="1036"/>
          <ac:spMkLst>
            <pc:docMk/>
            <pc:sldMk cId="4132157064" sldId="2134806153"/>
            <ac:spMk id="5" creationId="{3CAD3081-E0A3-4FE8-B410-F27D80BBC94C}"/>
          </ac:spMkLst>
        </pc:spChg>
        <pc:spChg chg="mod">
          <ac:chgData name="SEIMANDI, Matthieu" userId="a1af33a6-fb38-46b3-9399-8c933e699451" providerId="ADAL" clId="{430C985F-A311-4434-952C-DEB42487B883}" dt="2024-02-14T16:52:15.336" v="1694" actId="1036"/>
          <ac:spMkLst>
            <pc:docMk/>
            <pc:sldMk cId="4132157064" sldId="2134806153"/>
            <ac:spMk id="31" creationId="{E64460FC-C683-4FAF-B1CB-12C849003C14}"/>
          </ac:spMkLst>
        </pc:spChg>
        <pc:spChg chg="mod">
          <ac:chgData name="SEIMANDI, Matthieu" userId="a1af33a6-fb38-46b3-9399-8c933e699451" providerId="ADAL" clId="{430C985F-A311-4434-952C-DEB42487B883}" dt="2024-02-14T16:52:15.336" v="1694" actId="1036"/>
          <ac:spMkLst>
            <pc:docMk/>
            <pc:sldMk cId="4132157064" sldId="2134806153"/>
            <ac:spMk id="32" creationId="{7AFAFE10-B558-485C-9966-4F15D56D7DBF}"/>
          </ac:spMkLst>
        </pc:spChg>
        <pc:spChg chg="mod">
          <ac:chgData name="SEIMANDI, Matthieu" userId="a1af33a6-fb38-46b3-9399-8c933e699451" providerId="ADAL" clId="{430C985F-A311-4434-952C-DEB42487B883}" dt="2024-02-14T16:52:15.336" v="1694" actId="1036"/>
          <ac:spMkLst>
            <pc:docMk/>
            <pc:sldMk cId="4132157064" sldId="2134806153"/>
            <ac:spMk id="33" creationId="{C9EB2705-D43A-4263-8C68-279029091621}"/>
          </ac:spMkLst>
        </pc:spChg>
        <pc:spChg chg="mod">
          <ac:chgData name="SEIMANDI, Matthieu" userId="a1af33a6-fb38-46b3-9399-8c933e699451" providerId="ADAL" clId="{430C985F-A311-4434-952C-DEB42487B883}" dt="2024-02-14T16:52:15.336" v="1694" actId="1036"/>
          <ac:spMkLst>
            <pc:docMk/>
            <pc:sldMk cId="4132157064" sldId="2134806153"/>
            <ac:spMk id="34" creationId="{932AE426-5AA7-4C37-8313-C4166875F2C4}"/>
          </ac:spMkLst>
        </pc:spChg>
        <pc:spChg chg="mod">
          <ac:chgData name="SEIMANDI, Matthieu" userId="a1af33a6-fb38-46b3-9399-8c933e699451" providerId="ADAL" clId="{430C985F-A311-4434-952C-DEB42487B883}" dt="2024-02-14T16:52:15.336" v="1694" actId="1036"/>
          <ac:spMkLst>
            <pc:docMk/>
            <pc:sldMk cId="4132157064" sldId="2134806153"/>
            <ac:spMk id="35" creationId="{D1A08FAB-EAA2-4B42-9BD5-94A66A513049}"/>
          </ac:spMkLst>
        </pc:spChg>
        <pc:spChg chg="mod">
          <ac:chgData name="SEIMANDI, Matthieu" userId="a1af33a6-fb38-46b3-9399-8c933e699451" providerId="ADAL" clId="{430C985F-A311-4434-952C-DEB42487B883}" dt="2024-02-14T16:52:15.336" v="1694" actId="1036"/>
          <ac:spMkLst>
            <pc:docMk/>
            <pc:sldMk cId="4132157064" sldId="2134806153"/>
            <ac:spMk id="36" creationId="{AC90C40C-A723-4EEA-B790-2297C7B29457}"/>
          </ac:spMkLst>
        </pc:spChg>
        <pc:spChg chg="mod">
          <ac:chgData name="SEIMANDI, Matthieu" userId="a1af33a6-fb38-46b3-9399-8c933e699451" providerId="ADAL" clId="{430C985F-A311-4434-952C-DEB42487B883}" dt="2024-02-14T16:52:15.336" v="1694" actId="1036"/>
          <ac:spMkLst>
            <pc:docMk/>
            <pc:sldMk cId="4132157064" sldId="2134806153"/>
            <ac:spMk id="37" creationId="{A5C291EC-195E-4829-BBB7-564B974D1423}"/>
          </ac:spMkLst>
        </pc:spChg>
        <pc:spChg chg="mod">
          <ac:chgData name="SEIMANDI, Matthieu" userId="a1af33a6-fb38-46b3-9399-8c933e699451" providerId="ADAL" clId="{430C985F-A311-4434-952C-DEB42487B883}" dt="2024-02-14T16:52:15.336" v="1694" actId="1036"/>
          <ac:spMkLst>
            <pc:docMk/>
            <pc:sldMk cId="4132157064" sldId="2134806153"/>
            <ac:spMk id="38" creationId="{F045B752-DAA6-4DEF-A668-CF3F556A050D}"/>
          </ac:spMkLst>
        </pc:spChg>
        <pc:spChg chg="mod">
          <ac:chgData name="SEIMANDI, Matthieu" userId="a1af33a6-fb38-46b3-9399-8c933e699451" providerId="ADAL" clId="{430C985F-A311-4434-952C-DEB42487B883}" dt="2024-02-14T16:52:15.336" v="1694" actId="1036"/>
          <ac:spMkLst>
            <pc:docMk/>
            <pc:sldMk cId="4132157064" sldId="2134806153"/>
            <ac:spMk id="39" creationId="{BDD3A583-3014-4339-AF16-D6EF82C181ED}"/>
          </ac:spMkLst>
        </pc:spChg>
        <pc:spChg chg="mod">
          <ac:chgData name="SEIMANDI, Matthieu" userId="a1af33a6-fb38-46b3-9399-8c933e699451" providerId="ADAL" clId="{430C985F-A311-4434-952C-DEB42487B883}" dt="2024-02-14T16:52:15.336" v="1694" actId="1036"/>
          <ac:spMkLst>
            <pc:docMk/>
            <pc:sldMk cId="4132157064" sldId="2134806153"/>
            <ac:spMk id="40" creationId="{F0D00966-4AB7-4578-AC09-2EB61ECAE588}"/>
          </ac:spMkLst>
        </pc:spChg>
        <pc:spChg chg="mod">
          <ac:chgData name="SEIMANDI, Matthieu" userId="a1af33a6-fb38-46b3-9399-8c933e699451" providerId="ADAL" clId="{430C985F-A311-4434-952C-DEB42487B883}" dt="2024-02-14T16:52:15.336" v="1694" actId="1036"/>
          <ac:spMkLst>
            <pc:docMk/>
            <pc:sldMk cId="4132157064" sldId="2134806153"/>
            <ac:spMk id="41" creationId="{17B332B8-7BEE-4D92-A180-C647D13BFB00}"/>
          </ac:spMkLst>
        </pc:spChg>
        <pc:spChg chg="mod">
          <ac:chgData name="SEIMANDI, Matthieu" userId="a1af33a6-fb38-46b3-9399-8c933e699451" providerId="ADAL" clId="{430C985F-A311-4434-952C-DEB42487B883}" dt="2024-02-14T16:52:15.336" v="1694" actId="1036"/>
          <ac:spMkLst>
            <pc:docMk/>
            <pc:sldMk cId="4132157064" sldId="2134806153"/>
            <ac:spMk id="42" creationId="{9F378D50-B5D5-4F57-980B-73AD6A971D63}"/>
          </ac:spMkLst>
        </pc:spChg>
        <pc:spChg chg="mod">
          <ac:chgData name="SEIMANDI, Matthieu" userId="a1af33a6-fb38-46b3-9399-8c933e699451" providerId="ADAL" clId="{430C985F-A311-4434-952C-DEB42487B883}" dt="2024-02-14T16:52:15.336" v="1694" actId="1036"/>
          <ac:spMkLst>
            <pc:docMk/>
            <pc:sldMk cId="4132157064" sldId="2134806153"/>
            <ac:spMk id="43" creationId="{A7E5DC22-742F-43A9-9A54-F2FB6586222C}"/>
          </ac:spMkLst>
        </pc:spChg>
        <pc:spChg chg="mod">
          <ac:chgData name="SEIMANDI, Matthieu" userId="a1af33a6-fb38-46b3-9399-8c933e699451" providerId="ADAL" clId="{430C985F-A311-4434-952C-DEB42487B883}" dt="2024-02-14T16:52:15.336" v="1694" actId="1036"/>
          <ac:spMkLst>
            <pc:docMk/>
            <pc:sldMk cId="4132157064" sldId="2134806153"/>
            <ac:spMk id="44" creationId="{75A11E06-1ABA-4743-9174-397CC4B2456B}"/>
          </ac:spMkLst>
        </pc:spChg>
        <pc:spChg chg="mod">
          <ac:chgData name="SEIMANDI, Matthieu" userId="a1af33a6-fb38-46b3-9399-8c933e699451" providerId="ADAL" clId="{430C985F-A311-4434-952C-DEB42487B883}" dt="2024-02-14T16:52:15.336" v="1694" actId="1036"/>
          <ac:spMkLst>
            <pc:docMk/>
            <pc:sldMk cId="4132157064" sldId="2134806153"/>
            <ac:spMk id="45" creationId="{12E0087D-2426-4D71-BF81-50FE321F6F0E}"/>
          </ac:spMkLst>
        </pc:spChg>
        <pc:spChg chg="mod">
          <ac:chgData name="SEIMANDI, Matthieu" userId="a1af33a6-fb38-46b3-9399-8c933e699451" providerId="ADAL" clId="{430C985F-A311-4434-952C-DEB42487B883}" dt="2024-02-14T16:52:15.336" v="1694" actId="1036"/>
          <ac:spMkLst>
            <pc:docMk/>
            <pc:sldMk cId="4132157064" sldId="2134806153"/>
            <ac:spMk id="46" creationId="{356D93C7-D8DD-49FC-A97C-564FDC466392}"/>
          </ac:spMkLst>
        </pc:spChg>
        <pc:spChg chg="mod">
          <ac:chgData name="SEIMANDI, Matthieu" userId="a1af33a6-fb38-46b3-9399-8c933e699451" providerId="ADAL" clId="{430C985F-A311-4434-952C-DEB42487B883}" dt="2024-02-14T16:52:15.336" v="1694" actId="1036"/>
          <ac:spMkLst>
            <pc:docMk/>
            <pc:sldMk cId="4132157064" sldId="2134806153"/>
            <ac:spMk id="51" creationId="{7CEE9A79-9BC4-4E17-A154-693BB55CE05F}"/>
          </ac:spMkLst>
        </pc:spChg>
        <pc:spChg chg="mod">
          <ac:chgData name="SEIMANDI, Matthieu" userId="a1af33a6-fb38-46b3-9399-8c933e699451" providerId="ADAL" clId="{430C985F-A311-4434-952C-DEB42487B883}" dt="2024-02-14T16:52:15.336" v="1694" actId="1036"/>
          <ac:spMkLst>
            <pc:docMk/>
            <pc:sldMk cId="4132157064" sldId="2134806153"/>
            <ac:spMk id="52" creationId="{17FC2B4A-7EED-4962-A68B-4C87372FFC63}"/>
          </ac:spMkLst>
        </pc:spChg>
        <pc:spChg chg="mod">
          <ac:chgData name="SEIMANDI, Matthieu" userId="a1af33a6-fb38-46b3-9399-8c933e699451" providerId="ADAL" clId="{430C985F-A311-4434-952C-DEB42487B883}" dt="2024-02-14T16:52:15.336" v="1694" actId="1036"/>
          <ac:spMkLst>
            <pc:docMk/>
            <pc:sldMk cId="4132157064" sldId="2134806153"/>
            <ac:spMk id="61" creationId="{061C2EE9-5155-4170-B679-9C00CDF89314}"/>
          </ac:spMkLst>
        </pc:spChg>
        <pc:spChg chg="mod">
          <ac:chgData name="SEIMANDI, Matthieu" userId="a1af33a6-fb38-46b3-9399-8c933e699451" providerId="ADAL" clId="{430C985F-A311-4434-952C-DEB42487B883}" dt="2024-02-14T16:52:15.336" v="1694" actId="1036"/>
          <ac:spMkLst>
            <pc:docMk/>
            <pc:sldMk cId="4132157064" sldId="2134806153"/>
            <ac:spMk id="62" creationId="{898DF485-8FA9-4EBB-B5F3-0385B474ED76}"/>
          </ac:spMkLst>
        </pc:spChg>
        <pc:spChg chg="mod">
          <ac:chgData name="SEIMANDI, Matthieu" userId="a1af33a6-fb38-46b3-9399-8c933e699451" providerId="ADAL" clId="{430C985F-A311-4434-952C-DEB42487B883}" dt="2024-02-14T16:52:15.336" v="1694" actId="1036"/>
          <ac:spMkLst>
            <pc:docMk/>
            <pc:sldMk cId="4132157064" sldId="2134806153"/>
            <ac:spMk id="65" creationId="{6B9B81E9-0FBD-4151-82A7-69259F4D5365}"/>
          </ac:spMkLst>
        </pc:spChg>
        <pc:spChg chg="mod">
          <ac:chgData name="SEIMANDI, Matthieu" userId="a1af33a6-fb38-46b3-9399-8c933e699451" providerId="ADAL" clId="{430C985F-A311-4434-952C-DEB42487B883}" dt="2024-02-14T16:52:15.336" v="1694" actId="1036"/>
          <ac:spMkLst>
            <pc:docMk/>
            <pc:sldMk cId="4132157064" sldId="2134806153"/>
            <ac:spMk id="73" creationId="{F51D8A97-F4F1-4F92-B29D-063B83C69C2D}"/>
          </ac:spMkLst>
        </pc:spChg>
        <pc:spChg chg="mod">
          <ac:chgData name="SEIMANDI, Matthieu" userId="a1af33a6-fb38-46b3-9399-8c933e699451" providerId="ADAL" clId="{430C985F-A311-4434-952C-DEB42487B883}" dt="2024-02-14T16:52:15.336" v="1694" actId="1036"/>
          <ac:spMkLst>
            <pc:docMk/>
            <pc:sldMk cId="4132157064" sldId="2134806153"/>
            <ac:spMk id="77" creationId="{ABD33A5B-113D-493C-8B60-E12282B512E4}"/>
          </ac:spMkLst>
        </pc:spChg>
        <pc:spChg chg="mod">
          <ac:chgData name="SEIMANDI, Matthieu" userId="a1af33a6-fb38-46b3-9399-8c933e699451" providerId="ADAL" clId="{430C985F-A311-4434-952C-DEB42487B883}" dt="2024-02-14T16:52:15.336" v="1694" actId="1036"/>
          <ac:spMkLst>
            <pc:docMk/>
            <pc:sldMk cId="4132157064" sldId="2134806153"/>
            <ac:spMk id="132" creationId="{30C81F65-DCF5-40D9-ACBD-A3B805F8B3C6}"/>
          </ac:spMkLst>
        </pc:spChg>
        <pc:grpChg chg="mod">
          <ac:chgData name="SEIMANDI, Matthieu" userId="a1af33a6-fb38-46b3-9399-8c933e699451" providerId="ADAL" clId="{430C985F-A311-4434-952C-DEB42487B883}" dt="2024-02-14T16:52:15.336" v="1694" actId="1036"/>
          <ac:grpSpMkLst>
            <pc:docMk/>
            <pc:sldMk cId="4132157064" sldId="2134806153"/>
            <ac:grpSpMk id="30" creationId="{08718877-FEBD-4C92-862F-77D1C10C5875}"/>
          </ac:grpSpMkLst>
        </pc:grpChg>
        <pc:grpChg chg="mod">
          <ac:chgData name="SEIMANDI, Matthieu" userId="a1af33a6-fb38-46b3-9399-8c933e699451" providerId="ADAL" clId="{430C985F-A311-4434-952C-DEB42487B883}" dt="2024-02-14T16:52:15.336" v="1694" actId="1036"/>
          <ac:grpSpMkLst>
            <pc:docMk/>
            <pc:sldMk cId="4132157064" sldId="2134806153"/>
            <ac:grpSpMk id="50" creationId="{2D9075D3-966C-400D-81B9-1B52D59D2F20}"/>
          </ac:grpSpMkLst>
        </pc:grpChg>
        <pc:grpChg chg="mod">
          <ac:chgData name="SEIMANDI, Matthieu" userId="a1af33a6-fb38-46b3-9399-8c933e699451" providerId="ADAL" clId="{430C985F-A311-4434-952C-DEB42487B883}" dt="2024-02-14T16:52:15.336" v="1694" actId="1036"/>
          <ac:grpSpMkLst>
            <pc:docMk/>
            <pc:sldMk cId="4132157064" sldId="2134806153"/>
            <ac:grpSpMk id="89" creationId="{B58C8FB2-6941-4E1E-A296-A3A78F5FF1EE}"/>
          </ac:grpSpMkLst>
        </pc:grpChg>
        <pc:picChg chg="mod">
          <ac:chgData name="SEIMANDI, Matthieu" userId="a1af33a6-fb38-46b3-9399-8c933e699451" providerId="ADAL" clId="{430C985F-A311-4434-952C-DEB42487B883}" dt="2024-02-14T16:52:15.336" v="1694" actId="1036"/>
          <ac:picMkLst>
            <pc:docMk/>
            <pc:sldMk cId="4132157064" sldId="2134806153"/>
            <ac:picMk id="20" creationId="{37132FF1-691D-4167-B734-00D118D43981}"/>
          </ac:picMkLst>
        </pc:picChg>
        <pc:picChg chg="mod">
          <ac:chgData name="SEIMANDI, Matthieu" userId="a1af33a6-fb38-46b3-9399-8c933e699451" providerId="ADAL" clId="{430C985F-A311-4434-952C-DEB42487B883}" dt="2024-02-14T16:52:15.336" v="1694" actId="1036"/>
          <ac:picMkLst>
            <pc:docMk/>
            <pc:sldMk cId="4132157064" sldId="2134806153"/>
            <ac:picMk id="21" creationId="{57DEC9BE-5596-43BC-881D-0D7F9A4003DE}"/>
          </ac:picMkLst>
        </pc:picChg>
        <pc:picChg chg="mod">
          <ac:chgData name="SEIMANDI, Matthieu" userId="a1af33a6-fb38-46b3-9399-8c933e699451" providerId="ADAL" clId="{430C985F-A311-4434-952C-DEB42487B883}" dt="2024-02-14T16:52:15.336" v="1694" actId="1036"/>
          <ac:picMkLst>
            <pc:docMk/>
            <pc:sldMk cId="4132157064" sldId="2134806153"/>
            <ac:picMk id="22" creationId="{6BC10D09-31E1-4923-9293-C240CA5087D2}"/>
          </ac:picMkLst>
        </pc:picChg>
        <pc:picChg chg="mod">
          <ac:chgData name="SEIMANDI, Matthieu" userId="a1af33a6-fb38-46b3-9399-8c933e699451" providerId="ADAL" clId="{430C985F-A311-4434-952C-DEB42487B883}" dt="2024-02-14T16:52:15.336" v="1694" actId="1036"/>
          <ac:picMkLst>
            <pc:docMk/>
            <pc:sldMk cId="4132157064" sldId="2134806153"/>
            <ac:picMk id="53" creationId="{1086B68B-C521-4A28-8F61-75C3EBD2B4A2}"/>
          </ac:picMkLst>
        </pc:picChg>
        <pc:picChg chg="mod">
          <ac:chgData name="SEIMANDI, Matthieu" userId="a1af33a6-fb38-46b3-9399-8c933e699451" providerId="ADAL" clId="{430C985F-A311-4434-952C-DEB42487B883}" dt="2024-02-14T16:52:15.336" v="1694" actId="1036"/>
          <ac:picMkLst>
            <pc:docMk/>
            <pc:sldMk cId="4132157064" sldId="2134806153"/>
            <ac:picMk id="54" creationId="{56C6671D-4BA9-41B8-B586-B7F91E6D07EE}"/>
          </ac:picMkLst>
        </pc:picChg>
        <pc:picChg chg="mod">
          <ac:chgData name="SEIMANDI, Matthieu" userId="a1af33a6-fb38-46b3-9399-8c933e699451" providerId="ADAL" clId="{430C985F-A311-4434-952C-DEB42487B883}" dt="2024-02-14T16:52:15.336" v="1694" actId="1036"/>
          <ac:picMkLst>
            <pc:docMk/>
            <pc:sldMk cId="4132157064" sldId="2134806153"/>
            <ac:picMk id="55" creationId="{5831939C-F9C4-4601-A0CD-DC0CF5BB1BCE}"/>
          </ac:picMkLst>
        </pc:picChg>
        <pc:picChg chg="mod">
          <ac:chgData name="SEIMANDI, Matthieu" userId="a1af33a6-fb38-46b3-9399-8c933e699451" providerId="ADAL" clId="{430C985F-A311-4434-952C-DEB42487B883}" dt="2024-02-14T16:52:15.336" v="1694" actId="1036"/>
          <ac:picMkLst>
            <pc:docMk/>
            <pc:sldMk cId="4132157064" sldId="2134806153"/>
            <ac:picMk id="56" creationId="{99D179D6-A626-47C9-9393-E8DE4D771D93}"/>
          </ac:picMkLst>
        </pc:picChg>
        <pc:picChg chg="mod">
          <ac:chgData name="SEIMANDI, Matthieu" userId="a1af33a6-fb38-46b3-9399-8c933e699451" providerId="ADAL" clId="{430C985F-A311-4434-952C-DEB42487B883}" dt="2024-02-14T16:52:15.336" v="1694" actId="1036"/>
          <ac:picMkLst>
            <pc:docMk/>
            <pc:sldMk cId="4132157064" sldId="2134806153"/>
            <ac:picMk id="57" creationId="{83494A20-1440-415B-879E-90C88240ABA7}"/>
          </ac:picMkLst>
        </pc:picChg>
        <pc:picChg chg="mod">
          <ac:chgData name="SEIMANDI, Matthieu" userId="a1af33a6-fb38-46b3-9399-8c933e699451" providerId="ADAL" clId="{430C985F-A311-4434-952C-DEB42487B883}" dt="2024-02-14T16:52:15.336" v="1694" actId="1036"/>
          <ac:picMkLst>
            <pc:docMk/>
            <pc:sldMk cId="4132157064" sldId="2134806153"/>
            <ac:picMk id="58" creationId="{B9979371-CB8A-4B37-996F-FD933102C1CF}"/>
          </ac:picMkLst>
        </pc:picChg>
        <pc:picChg chg="mod">
          <ac:chgData name="SEIMANDI, Matthieu" userId="a1af33a6-fb38-46b3-9399-8c933e699451" providerId="ADAL" clId="{430C985F-A311-4434-952C-DEB42487B883}" dt="2024-02-14T16:52:15.336" v="1694" actId="1036"/>
          <ac:picMkLst>
            <pc:docMk/>
            <pc:sldMk cId="4132157064" sldId="2134806153"/>
            <ac:picMk id="59" creationId="{01D7028B-B7F8-4679-A39B-77BB28484FF3}"/>
          </ac:picMkLst>
        </pc:picChg>
        <pc:picChg chg="mod">
          <ac:chgData name="SEIMANDI, Matthieu" userId="a1af33a6-fb38-46b3-9399-8c933e699451" providerId="ADAL" clId="{430C985F-A311-4434-952C-DEB42487B883}" dt="2024-02-14T16:52:15.336" v="1694" actId="1036"/>
          <ac:picMkLst>
            <pc:docMk/>
            <pc:sldMk cId="4132157064" sldId="2134806153"/>
            <ac:picMk id="60" creationId="{77CA17C4-5656-4D02-A506-7C9B2ED7BF2E}"/>
          </ac:picMkLst>
        </pc:picChg>
        <pc:picChg chg="mod">
          <ac:chgData name="SEIMANDI, Matthieu" userId="a1af33a6-fb38-46b3-9399-8c933e699451" providerId="ADAL" clId="{430C985F-A311-4434-952C-DEB42487B883}" dt="2024-02-14T16:52:15.336" v="1694" actId="1036"/>
          <ac:picMkLst>
            <pc:docMk/>
            <pc:sldMk cId="4132157064" sldId="2134806153"/>
            <ac:picMk id="69" creationId="{66AE65BD-3B30-4E20-BA24-0508B2BF30E9}"/>
          </ac:picMkLst>
        </pc:picChg>
        <pc:picChg chg="mod">
          <ac:chgData name="SEIMANDI, Matthieu" userId="a1af33a6-fb38-46b3-9399-8c933e699451" providerId="ADAL" clId="{430C985F-A311-4434-952C-DEB42487B883}" dt="2024-02-14T16:52:15.336" v="1694" actId="1036"/>
          <ac:picMkLst>
            <pc:docMk/>
            <pc:sldMk cId="4132157064" sldId="2134806153"/>
            <ac:picMk id="70" creationId="{3B772DA9-A108-4018-9828-CFAD4D68F6BC}"/>
          </ac:picMkLst>
        </pc:picChg>
        <pc:picChg chg="mod">
          <ac:chgData name="SEIMANDI, Matthieu" userId="a1af33a6-fb38-46b3-9399-8c933e699451" providerId="ADAL" clId="{430C985F-A311-4434-952C-DEB42487B883}" dt="2024-02-14T16:52:15.336" v="1694" actId="1036"/>
          <ac:picMkLst>
            <pc:docMk/>
            <pc:sldMk cId="4132157064" sldId="2134806153"/>
            <ac:picMk id="71" creationId="{342F63F9-C73E-472C-A548-22BD3CFA587E}"/>
          </ac:picMkLst>
        </pc:picChg>
        <pc:cxnChg chg="mod">
          <ac:chgData name="SEIMANDI, Matthieu" userId="a1af33a6-fb38-46b3-9399-8c933e699451" providerId="ADAL" clId="{430C985F-A311-4434-952C-DEB42487B883}" dt="2024-02-14T16:52:15.336" v="1694" actId="1036"/>
          <ac:cxnSpMkLst>
            <pc:docMk/>
            <pc:sldMk cId="4132157064" sldId="2134806153"/>
            <ac:cxnSpMk id="26" creationId="{477AABB5-CCE8-4278-A031-10F075918300}"/>
          </ac:cxnSpMkLst>
        </pc:cxnChg>
        <pc:cxnChg chg="mod">
          <ac:chgData name="SEIMANDI, Matthieu" userId="a1af33a6-fb38-46b3-9399-8c933e699451" providerId="ADAL" clId="{430C985F-A311-4434-952C-DEB42487B883}" dt="2024-02-14T16:52:15.336" v="1694" actId="1036"/>
          <ac:cxnSpMkLst>
            <pc:docMk/>
            <pc:sldMk cId="4132157064" sldId="2134806153"/>
            <ac:cxnSpMk id="27" creationId="{98145A0E-D089-4371-B6F1-EA42A01B1E34}"/>
          </ac:cxnSpMkLst>
        </pc:cxnChg>
        <pc:cxnChg chg="mod">
          <ac:chgData name="SEIMANDI, Matthieu" userId="a1af33a6-fb38-46b3-9399-8c933e699451" providerId="ADAL" clId="{430C985F-A311-4434-952C-DEB42487B883}" dt="2024-02-14T16:52:15.336" v="1694" actId="1036"/>
          <ac:cxnSpMkLst>
            <pc:docMk/>
            <pc:sldMk cId="4132157064" sldId="2134806153"/>
            <ac:cxnSpMk id="28" creationId="{651B664B-F879-43DB-9504-8309F9A97537}"/>
          </ac:cxnSpMkLst>
        </pc:cxnChg>
        <pc:cxnChg chg="mod">
          <ac:chgData name="SEIMANDI, Matthieu" userId="a1af33a6-fb38-46b3-9399-8c933e699451" providerId="ADAL" clId="{430C985F-A311-4434-952C-DEB42487B883}" dt="2024-02-14T16:52:15.336" v="1694" actId="1036"/>
          <ac:cxnSpMkLst>
            <pc:docMk/>
            <pc:sldMk cId="4132157064" sldId="2134806153"/>
            <ac:cxnSpMk id="29" creationId="{CA84AC4D-1F9B-4B0F-9D5A-6A7B57E5DBA3}"/>
          </ac:cxnSpMkLst>
        </pc:cxnChg>
        <pc:cxnChg chg="mod">
          <ac:chgData name="SEIMANDI, Matthieu" userId="a1af33a6-fb38-46b3-9399-8c933e699451" providerId="ADAL" clId="{430C985F-A311-4434-952C-DEB42487B883}" dt="2024-02-14T16:52:15.336" v="1694" actId="1036"/>
          <ac:cxnSpMkLst>
            <pc:docMk/>
            <pc:sldMk cId="4132157064" sldId="2134806153"/>
            <ac:cxnSpMk id="47" creationId="{EDB761C7-019F-4406-9F88-1A9359968C3E}"/>
          </ac:cxnSpMkLst>
        </pc:cxnChg>
        <pc:cxnChg chg="mod">
          <ac:chgData name="SEIMANDI, Matthieu" userId="a1af33a6-fb38-46b3-9399-8c933e699451" providerId="ADAL" clId="{430C985F-A311-4434-952C-DEB42487B883}" dt="2024-02-14T16:52:15.336" v="1694" actId="1036"/>
          <ac:cxnSpMkLst>
            <pc:docMk/>
            <pc:sldMk cId="4132157064" sldId="2134806153"/>
            <ac:cxnSpMk id="48" creationId="{C77395CD-7495-4558-9F08-04524948F0A4}"/>
          </ac:cxnSpMkLst>
        </pc:cxnChg>
        <pc:cxnChg chg="mod">
          <ac:chgData name="SEIMANDI, Matthieu" userId="a1af33a6-fb38-46b3-9399-8c933e699451" providerId="ADAL" clId="{430C985F-A311-4434-952C-DEB42487B883}" dt="2024-02-14T16:52:15.336" v="1694" actId="1036"/>
          <ac:cxnSpMkLst>
            <pc:docMk/>
            <pc:sldMk cId="4132157064" sldId="2134806153"/>
            <ac:cxnSpMk id="49" creationId="{1C236566-4B56-409B-8B50-A86FCAC294ED}"/>
          </ac:cxnSpMkLst>
        </pc:cxnChg>
      </pc:sldChg>
      <pc:sldChg chg="addSp modSp mod modClrScheme chgLayout">
        <pc:chgData name="SEIMANDI, Matthieu" userId="a1af33a6-fb38-46b3-9399-8c933e699451" providerId="ADAL" clId="{430C985F-A311-4434-952C-DEB42487B883}" dt="2024-03-12T12:56:02.591" v="7733" actId="207"/>
        <pc:sldMkLst>
          <pc:docMk/>
          <pc:sldMk cId="2680239075" sldId="2134806154"/>
        </pc:sldMkLst>
        <pc:spChg chg="mod">
          <ac:chgData name="SEIMANDI, Matthieu" userId="a1af33a6-fb38-46b3-9399-8c933e699451" providerId="ADAL" clId="{430C985F-A311-4434-952C-DEB42487B883}" dt="2024-03-12T12:56:02.591" v="7733" actId="207"/>
          <ac:spMkLst>
            <pc:docMk/>
            <pc:sldMk cId="2680239075" sldId="2134806154"/>
            <ac:spMk id="2" creationId="{DE312302-6934-4772-AE96-8D517B35D7AF}"/>
          </ac:spMkLst>
        </pc:spChg>
        <pc:spChg chg="mod ord">
          <ac:chgData name="SEIMANDI, Matthieu" userId="a1af33a6-fb38-46b3-9399-8c933e699451" providerId="ADAL" clId="{430C985F-A311-4434-952C-DEB42487B883}" dt="2024-03-12T12:54:17.233" v="7586" actId="700"/>
          <ac:spMkLst>
            <pc:docMk/>
            <pc:sldMk cId="2680239075" sldId="2134806154"/>
            <ac:spMk id="3" creationId="{3CA4AA22-56AD-4D01-8CF5-5738BBA28C69}"/>
          </ac:spMkLst>
        </pc:spChg>
        <pc:spChg chg="mod">
          <ac:chgData name="SEIMANDI, Matthieu" userId="a1af33a6-fb38-46b3-9399-8c933e699451" providerId="ADAL" clId="{430C985F-A311-4434-952C-DEB42487B883}" dt="2024-03-12T12:54:56.368" v="7618" actId="1037"/>
          <ac:spMkLst>
            <pc:docMk/>
            <pc:sldMk cId="2680239075" sldId="2134806154"/>
            <ac:spMk id="9" creationId="{07C2A495-4F0A-4A2D-8530-A38812BD3E72}"/>
          </ac:spMkLst>
        </pc:spChg>
        <pc:grpChg chg="mod">
          <ac:chgData name="SEIMANDI, Matthieu" userId="a1af33a6-fb38-46b3-9399-8c933e699451" providerId="ADAL" clId="{430C985F-A311-4434-952C-DEB42487B883}" dt="2024-03-12T12:55:23.383" v="7620" actId="1076"/>
          <ac:grpSpMkLst>
            <pc:docMk/>
            <pc:sldMk cId="2680239075" sldId="2134806154"/>
            <ac:grpSpMk id="5" creationId="{05FD9AFD-368C-47CA-8A97-FBB0DF40565A}"/>
          </ac:grpSpMkLst>
        </pc:grpChg>
        <pc:graphicFrameChg chg="add mod modGraphic">
          <ac:chgData name="SEIMANDI, Matthieu" userId="a1af33a6-fb38-46b3-9399-8c933e699451" providerId="ADAL" clId="{430C985F-A311-4434-952C-DEB42487B883}" dt="2024-03-12T12:54:56.368" v="7618" actId="1037"/>
          <ac:graphicFrameMkLst>
            <pc:docMk/>
            <pc:sldMk cId="2680239075" sldId="2134806154"/>
            <ac:graphicFrameMk id="10" creationId="{5B16F258-72C0-B06B-D15F-B78CC44BC471}"/>
          </ac:graphicFrameMkLst>
        </pc:graphicFrameChg>
      </pc:sldChg>
      <pc:sldChg chg="ord">
        <pc:chgData name="SEIMANDI, Matthieu" userId="a1af33a6-fb38-46b3-9399-8c933e699451" providerId="ADAL" clId="{430C985F-A311-4434-952C-DEB42487B883}" dt="2024-03-04T09:48:04.607" v="7334"/>
        <pc:sldMkLst>
          <pc:docMk/>
          <pc:sldMk cId="2644363888" sldId="2134806240"/>
        </pc:sldMkLst>
      </pc:sldChg>
      <pc:sldChg chg="addCm">
        <pc:chgData name="SEIMANDI, Matthieu" userId="a1af33a6-fb38-46b3-9399-8c933e699451" providerId="ADAL" clId="{430C985F-A311-4434-952C-DEB42487B883}" dt="2024-03-05T08:25:10.715" v="7415"/>
        <pc:sldMkLst>
          <pc:docMk/>
          <pc:sldMk cId="2631033068" sldId="2147229068"/>
        </pc:sldMkLst>
        <pc:extLst>
          <p:ext xmlns:p="http://schemas.openxmlformats.org/presentationml/2006/main" uri="{D6D511B9-2390-475A-947B-AFAB55BFBCF1}">
            <pc226:cmChg xmlns:pc226="http://schemas.microsoft.com/office/powerpoint/2022/06/main/command" chg="add">
              <pc226:chgData name="SEIMANDI, Matthieu" userId="a1af33a6-fb38-46b3-9399-8c933e699451" providerId="ADAL" clId="{430C985F-A311-4434-952C-DEB42487B883}" dt="2024-03-05T08:25:10.715" v="7415"/>
              <pc2:cmMkLst xmlns:pc2="http://schemas.microsoft.com/office/powerpoint/2019/9/main/command">
                <pc:docMk/>
                <pc:sldMk cId="2631033068" sldId="2147229068"/>
                <pc2:cmMk id="{AB3B5EB0-7345-4236-8471-0ADE3D1AE6F8}"/>
              </pc2:cmMkLst>
            </pc226:cmChg>
          </p:ext>
        </pc:extLst>
      </pc:sldChg>
      <pc:sldChg chg="addSp delSp modSp add mod ord">
        <pc:chgData name="SEIMANDI, Matthieu" userId="a1af33a6-fb38-46b3-9399-8c933e699451" providerId="ADAL" clId="{430C985F-A311-4434-952C-DEB42487B883}" dt="2024-02-14T16:58:45.478" v="1964" actId="1036"/>
        <pc:sldMkLst>
          <pc:docMk/>
          <pc:sldMk cId="1970944974" sldId="2147308507"/>
        </pc:sldMkLst>
        <pc:spChg chg="mod">
          <ac:chgData name="SEIMANDI, Matthieu" userId="a1af33a6-fb38-46b3-9399-8c933e699451" providerId="ADAL" clId="{430C985F-A311-4434-952C-DEB42487B883}" dt="2024-02-14T16:55:57.643" v="1762" actId="20577"/>
          <ac:spMkLst>
            <pc:docMk/>
            <pc:sldMk cId="1970944974" sldId="2147308507"/>
            <ac:spMk id="2" creationId="{A94A7F0D-133F-D242-8547-75DF1B0E12A5}"/>
          </ac:spMkLst>
        </pc:spChg>
        <pc:spChg chg="mod">
          <ac:chgData name="SEIMANDI, Matthieu" userId="a1af33a6-fb38-46b3-9399-8c933e699451" providerId="ADAL" clId="{430C985F-A311-4434-952C-DEB42487B883}" dt="2024-02-14T16:58:12.995" v="1924" actId="20577"/>
          <ac:spMkLst>
            <pc:docMk/>
            <pc:sldMk cId="1970944974" sldId="2147308507"/>
            <ac:spMk id="6" creationId="{3410B81B-1313-4F02-BD86-8F01C91782BC}"/>
          </ac:spMkLst>
        </pc:spChg>
        <pc:picChg chg="del mod">
          <ac:chgData name="SEIMANDI, Matthieu" userId="a1af33a6-fb38-46b3-9399-8c933e699451" providerId="ADAL" clId="{430C985F-A311-4434-952C-DEB42487B883}" dt="2024-02-14T16:57:21.657" v="1783" actId="478"/>
          <ac:picMkLst>
            <pc:docMk/>
            <pc:sldMk cId="1970944974" sldId="2147308507"/>
            <ac:picMk id="3" creationId="{066A39E7-F2CC-4FC1-9F52-AA74A107C998}"/>
          </ac:picMkLst>
        </pc:picChg>
        <pc:picChg chg="add mod ord modCrop">
          <ac:chgData name="SEIMANDI, Matthieu" userId="a1af33a6-fb38-46b3-9399-8c933e699451" providerId="ADAL" clId="{430C985F-A311-4434-952C-DEB42487B883}" dt="2024-02-14T16:57:20.514" v="1782" actId="167"/>
          <ac:picMkLst>
            <pc:docMk/>
            <pc:sldMk cId="1970944974" sldId="2147308507"/>
            <ac:picMk id="8" creationId="{D931C6D2-4EB7-AAE7-28FF-C7D810D93715}"/>
          </ac:picMkLst>
        </pc:picChg>
        <pc:picChg chg="add mod">
          <ac:chgData name="SEIMANDI, Matthieu" userId="a1af33a6-fb38-46b3-9399-8c933e699451" providerId="ADAL" clId="{430C985F-A311-4434-952C-DEB42487B883}" dt="2024-02-14T16:58:45.478" v="1964" actId="1036"/>
          <ac:picMkLst>
            <pc:docMk/>
            <pc:sldMk cId="1970944974" sldId="2147308507"/>
            <ac:picMk id="10" creationId="{A09A07FE-0FEB-8BF1-CC58-BBA1F20225B2}"/>
          </ac:picMkLst>
        </pc:picChg>
      </pc:sldChg>
      <pc:sldChg chg="addSp modSp">
        <pc:chgData name="SEIMANDI, Matthieu" userId="a1af33a6-fb38-46b3-9399-8c933e699451" providerId="ADAL" clId="{430C985F-A311-4434-952C-DEB42487B883}" dt="2024-03-12T09:18:19.395" v="7548"/>
        <pc:sldMkLst>
          <pc:docMk/>
          <pc:sldMk cId="798083219" sldId="2147308509"/>
        </pc:sldMkLst>
        <pc:spChg chg="mod">
          <ac:chgData name="SEIMANDI, Matthieu" userId="a1af33a6-fb38-46b3-9399-8c933e699451" providerId="ADAL" clId="{430C985F-A311-4434-952C-DEB42487B883}" dt="2024-03-12T09:18:19.395" v="7548"/>
          <ac:spMkLst>
            <pc:docMk/>
            <pc:sldMk cId="798083219" sldId="2147308509"/>
            <ac:spMk id="3" creationId="{69F343BA-10E0-9E07-19A4-DD4D53FCF844}"/>
          </ac:spMkLst>
        </pc:spChg>
        <pc:spChg chg="mod">
          <ac:chgData name="SEIMANDI, Matthieu" userId="a1af33a6-fb38-46b3-9399-8c933e699451" providerId="ADAL" clId="{430C985F-A311-4434-952C-DEB42487B883}" dt="2024-03-12T09:18:19.395" v="7548"/>
          <ac:spMkLst>
            <pc:docMk/>
            <pc:sldMk cId="798083219" sldId="2147308509"/>
            <ac:spMk id="4" creationId="{A14322D6-387E-311C-176F-D3F3516EDD70}"/>
          </ac:spMkLst>
        </pc:spChg>
        <pc:grpChg chg="add mod">
          <ac:chgData name="SEIMANDI, Matthieu" userId="a1af33a6-fb38-46b3-9399-8c933e699451" providerId="ADAL" clId="{430C985F-A311-4434-952C-DEB42487B883}" dt="2024-03-12T09:18:19.395" v="7548"/>
          <ac:grpSpMkLst>
            <pc:docMk/>
            <pc:sldMk cId="798083219" sldId="2147308509"/>
            <ac:grpSpMk id="2" creationId="{3838AB14-F45A-E07A-D632-EF71214ED908}"/>
          </ac:grpSpMkLst>
        </pc:grpChg>
        <pc:picChg chg="add mod">
          <ac:chgData name="SEIMANDI, Matthieu" userId="a1af33a6-fb38-46b3-9399-8c933e699451" providerId="ADAL" clId="{430C985F-A311-4434-952C-DEB42487B883}" dt="2024-03-12T09:18:19.395" v="7548"/>
          <ac:picMkLst>
            <pc:docMk/>
            <pc:sldMk cId="798083219" sldId="2147308509"/>
            <ac:picMk id="5" creationId="{AC513F43-2FA3-7225-8829-F4D304B3D147}"/>
          </ac:picMkLst>
        </pc:picChg>
      </pc:sldChg>
      <pc:sldChg chg="modSp add mod">
        <pc:chgData name="SEIMANDI, Matthieu" userId="a1af33a6-fb38-46b3-9399-8c933e699451" providerId="ADAL" clId="{430C985F-A311-4434-952C-DEB42487B883}" dt="2024-02-15T13:37:19.289" v="4790" actId="1035"/>
        <pc:sldMkLst>
          <pc:docMk/>
          <pc:sldMk cId="3483016929" sldId="2147473370"/>
        </pc:sldMkLst>
        <pc:grpChg chg="mod">
          <ac:chgData name="SEIMANDI, Matthieu" userId="a1af33a6-fb38-46b3-9399-8c933e699451" providerId="ADAL" clId="{430C985F-A311-4434-952C-DEB42487B883}" dt="2024-02-15T13:37:19.289" v="4790" actId="1035"/>
          <ac:grpSpMkLst>
            <pc:docMk/>
            <pc:sldMk cId="3483016929" sldId="2147473370"/>
            <ac:grpSpMk id="24" creationId="{B785DA12-7844-41E9-94B7-793EC7158F35}"/>
          </ac:grpSpMkLst>
        </pc:grpChg>
      </pc:sldChg>
      <pc:sldChg chg="addSp modSp mod">
        <pc:chgData name="SEIMANDI, Matthieu" userId="a1af33a6-fb38-46b3-9399-8c933e699451" providerId="ADAL" clId="{430C985F-A311-4434-952C-DEB42487B883}" dt="2024-03-04T09:44:57.219" v="7206" actId="167"/>
        <pc:sldMkLst>
          <pc:docMk/>
          <pc:sldMk cId="2936182477" sldId="2147478736"/>
        </pc:sldMkLst>
        <pc:spChg chg="add mod ord">
          <ac:chgData name="SEIMANDI, Matthieu" userId="a1af33a6-fb38-46b3-9399-8c933e699451" providerId="ADAL" clId="{430C985F-A311-4434-952C-DEB42487B883}" dt="2024-03-04T09:44:55.458" v="7205" actId="167"/>
          <ac:spMkLst>
            <pc:docMk/>
            <pc:sldMk cId="2936182477" sldId="2147478736"/>
            <ac:spMk id="6" creationId="{1DC71B3D-1859-800B-BCED-F268220023B3}"/>
          </ac:spMkLst>
        </pc:spChg>
        <pc:spChg chg="mod">
          <ac:chgData name="SEIMANDI, Matthieu" userId="a1af33a6-fb38-46b3-9399-8c933e699451" providerId="ADAL" clId="{430C985F-A311-4434-952C-DEB42487B883}" dt="2024-03-04T09:41:30.957" v="7091" actId="20577"/>
          <ac:spMkLst>
            <pc:docMk/>
            <pc:sldMk cId="2936182477" sldId="2147478736"/>
            <ac:spMk id="8" creationId="{A8741D12-6817-404C-B9DE-65BA88D46907}"/>
          </ac:spMkLst>
        </pc:spChg>
        <pc:spChg chg="mod">
          <ac:chgData name="SEIMANDI, Matthieu" userId="a1af33a6-fb38-46b3-9399-8c933e699451" providerId="ADAL" clId="{430C985F-A311-4434-952C-DEB42487B883}" dt="2024-03-04T09:43:16.561" v="7159"/>
          <ac:spMkLst>
            <pc:docMk/>
            <pc:sldMk cId="2936182477" sldId="2147478736"/>
            <ac:spMk id="18" creationId="{2822AB21-B48D-EB8A-B915-2A689467EEDC}"/>
          </ac:spMkLst>
        </pc:spChg>
        <pc:spChg chg="mod">
          <ac:chgData name="SEIMANDI, Matthieu" userId="a1af33a6-fb38-46b3-9399-8c933e699451" providerId="ADAL" clId="{430C985F-A311-4434-952C-DEB42487B883}" dt="2024-03-04T09:43:16.561" v="7159"/>
          <ac:spMkLst>
            <pc:docMk/>
            <pc:sldMk cId="2936182477" sldId="2147478736"/>
            <ac:spMk id="21" creationId="{829B1476-F315-CD42-9B16-F0528B00AC48}"/>
          </ac:spMkLst>
        </pc:spChg>
        <pc:spChg chg="add mod ord">
          <ac:chgData name="SEIMANDI, Matthieu" userId="a1af33a6-fb38-46b3-9399-8c933e699451" providerId="ADAL" clId="{430C985F-A311-4434-952C-DEB42487B883}" dt="2024-03-04T09:44:55.458" v="7205" actId="167"/>
          <ac:spMkLst>
            <pc:docMk/>
            <pc:sldMk cId="2936182477" sldId="2147478736"/>
            <ac:spMk id="23" creationId="{77F30CFC-564D-F74D-9653-C669050BCCB2}"/>
          </ac:spMkLst>
        </pc:spChg>
        <pc:spChg chg="add mod ord">
          <ac:chgData name="SEIMANDI, Matthieu" userId="a1af33a6-fb38-46b3-9399-8c933e699451" providerId="ADAL" clId="{430C985F-A311-4434-952C-DEB42487B883}" dt="2024-03-04T09:44:55.458" v="7205" actId="167"/>
          <ac:spMkLst>
            <pc:docMk/>
            <pc:sldMk cId="2936182477" sldId="2147478736"/>
            <ac:spMk id="24" creationId="{307FAD1B-501D-4773-A7B1-4DD1D99B58F8}"/>
          </ac:spMkLst>
        </pc:spChg>
        <pc:spChg chg="add mod ord">
          <ac:chgData name="SEIMANDI, Matthieu" userId="a1af33a6-fb38-46b3-9399-8c933e699451" providerId="ADAL" clId="{430C985F-A311-4434-952C-DEB42487B883}" dt="2024-03-04T09:44:55.458" v="7205" actId="167"/>
          <ac:spMkLst>
            <pc:docMk/>
            <pc:sldMk cId="2936182477" sldId="2147478736"/>
            <ac:spMk id="25" creationId="{3876AE8D-7ED8-4BD2-20CD-EE20CBC56605}"/>
          </ac:spMkLst>
        </pc:spChg>
        <pc:spChg chg="add mod ord">
          <ac:chgData name="SEIMANDI, Matthieu" userId="a1af33a6-fb38-46b3-9399-8c933e699451" providerId="ADAL" clId="{430C985F-A311-4434-952C-DEB42487B883}" dt="2024-03-04T09:44:55.458" v="7205" actId="167"/>
          <ac:spMkLst>
            <pc:docMk/>
            <pc:sldMk cId="2936182477" sldId="2147478736"/>
            <ac:spMk id="26" creationId="{29DCCFE0-6409-A6BF-0B1E-13E6F277515A}"/>
          </ac:spMkLst>
        </pc:spChg>
        <pc:grpChg chg="add mod">
          <ac:chgData name="SEIMANDI, Matthieu" userId="a1af33a6-fb38-46b3-9399-8c933e699451" providerId="ADAL" clId="{430C985F-A311-4434-952C-DEB42487B883}" dt="2024-03-04T09:43:16.561" v="7159"/>
          <ac:grpSpMkLst>
            <pc:docMk/>
            <pc:sldMk cId="2936182477" sldId="2147478736"/>
            <ac:grpSpMk id="17" creationId="{4D76C6CD-CFFC-0A06-4586-4925DA159F4A}"/>
          </ac:grpSpMkLst>
        </pc:grpChg>
        <pc:picChg chg="add mod ord modCrop">
          <ac:chgData name="SEIMANDI, Matthieu" userId="a1af33a6-fb38-46b3-9399-8c933e699451" providerId="ADAL" clId="{430C985F-A311-4434-952C-DEB42487B883}" dt="2024-03-04T09:44:57.219" v="7206" actId="167"/>
          <ac:picMkLst>
            <pc:docMk/>
            <pc:sldMk cId="2936182477" sldId="2147478736"/>
            <ac:picMk id="2" creationId="{55ED4EB7-0BCF-77BB-261C-BFAEC28318BA}"/>
          </ac:picMkLst>
        </pc:picChg>
        <pc:picChg chg="add mod">
          <ac:chgData name="SEIMANDI, Matthieu" userId="a1af33a6-fb38-46b3-9399-8c933e699451" providerId="ADAL" clId="{430C985F-A311-4434-952C-DEB42487B883}" dt="2024-03-04T09:41:40.461" v="7101" actId="1035"/>
          <ac:picMkLst>
            <pc:docMk/>
            <pc:sldMk cId="2936182477" sldId="2147478736"/>
            <ac:picMk id="3" creationId="{5AC2DC1F-91FB-EA74-DD4A-8F53EB7C8733}"/>
          </ac:picMkLst>
        </pc:picChg>
        <pc:picChg chg="add mod">
          <ac:chgData name="SEIMANDI, Matthieu" userId="a1af33a6-fb38-46b3-9399-8c933e699451" providerId="ADAL" clId="{430C985F-A311-4434-952C-DEB42487B883}" dt="2024-03-04T09:43:16.561" v="7159"/>
          <ac:picMkLst>
            <pc:docMk/>
            <pc:sldMk cId="2936182477" sldId="2147478736"/>
            <ac:picMk id="22" creationId="{CA8E9036-188F-6B43-C0F1-43DC5C30985F}"/>
          </ac:picMkLst>
        </pc:picChg>
        <pc:picChg chg="mod">
          <ac:chgData name="SEIMANDI, Matthieu" userId="a1af33a6-fb38-46b3-9399-8c933e699451" providerId="ADAL" clId="{430C985F-A311-4434-952C-DEB42487B883}" dt="2024-03-04T09:42:08.609" v="7107" actId="1076"/>
          <ac:picMkLst>
            <pc:docMk/>
            <pc:sldMk cId="2936182477" sldId="2147478736"/>
            <ac:picMk id="6146" creationId="{C079166E-73C2-BF08-FE09-DA918FCC593E}"/>
          </ac:picMkLst>
        </pc:picChg>
      </pc:sldChg>
      <pc:sldChg chg="modSp mod delCm">
        <pc:chgData name="SEIMANDI, Matthieu" userId="a1af33a6-fb38-46b3-9399-8c933e699451" providerId="ADAL" clId="{430C985F-A311-4434-952C-DEB42487B883}" dt="2024-02-14T17:05:29.600" v="1985" actId="14100"/>
        <pc:sldMkLst>
          <pc:docMk/>
          <pc:sldMk cId="1787031314" sldId="2147478755"/>
        </pc:sldMkLst>
        <pc:spChg chg="mod">
          <ac:chgData name="SEIMANDI, Matthieu" userId="a1af33a6-fb38-46b3-9399-8c933e699451" providerId="ADAL" clId="{430C985F-A311-4434-952C-DEB42487B883}" dt="2024-02-14T17:05:29.600" v="1985" actId="14100"/>
          <ac:spMkLst>
            <pc:docMk/>
            <pc:sldMk cId="1787031314" sldId="2147478755"/>
            <ac:spMk id="5" creationId="{3CE478C9-78D2-83DC-9F43-F199AB73C23D}"/>
          </ac:spMkLst>
        </pc:spChg>
        <pc:spChg chg="mod">
          <ac:chgData name="SEIMANDI, Matthieu" userId="a1af33a6-fb38-46b3-9399-8c933e699451" providerId="ADAL" clId="{430C985F-A311-4434-952C-DEB42487B883}" dt="2024-02-14T17:05:29.600" v="1985" actId="14100"/>
          <ac:spMkLst>
            <pc:docMk/>
            <pc:sldMk cId="1787031314" sldId="2147478755"/>
            <ac:spMk id="10" creationId="{21B416E1-DCE2-3B5B-5CF9-4B8B7A22CEF5}"/>
          </ac:spMkLst>
        </pc:spChg>
        <pc:graphicFrameChg chg="mod modGraphic">
          <ac:chgData name="SEIMANDI, Matthieu" userId="a1af33a6-fb38-46b3-9399-8c933e699451" providerId="ADAL" clId="{430C985F-A311-4434-952C-DEB42487B883}" dt="2024-02-14T17:04:52.501" v="1973" actId="12788"/>
          <ac:graphicFrameMkLst>
            <pc:docMk/>
            <pc:sldMk cId="1787031314" sldId="2147478755"/>
            <ac:graphicFrameMk id="3" creationId="{35060650-FBE1-18D5-C05B-FA41C44EC928}"/>
          </ac:graphicFrameMkLst>
        </pc:graphicFrameChg>
        <pc:extLst>
          <p:ext xmlns:p="http://schemas.openxmlformats.org/presentationml/2006/main" uri="{D6D511B9-2390-475A-947B-AFAB55BFBCF1}">
            <pc226:cmChg xmlns:pc226="http://schemas.microsoft.com/office/powerpoint/2022/06/main/command" chg="del">
              <pc226:chgData name="SEIMANDI, Matthieu" userId="a1af33a6-fb38-46b3-9399-8c933e699451" providerId="ADAL" clId="{430C985F-A311-4434-952C-DEB42487B883}" dt="2024-02-14T17:04:35.131" v="1965"/>
              <pc2:cmMkLst xmlns:pc2="http://schemas.microsoft.com/office/powerpoint/2019/9/main/command">
                <pc:docMk/>
                <pc:sldMk cId="1787031314" sldId="2147478755"/>
                <pc2:cmMk id="{C20E4289-E743-4264-99AA-D254418B08E7}"/>
              </pc2:cmMkLst>
            </pc226:cmChg>
          </p:ext>
        </pc:extLst>
      </pc:sldChg>
      <pc:sldChg chg="modSp mod">
        <pc:chgData name="SEIMANDI, Matthieu" userId="a1af33a6-fb38-46b3-9399-8c933e699451" providerId="ADAL" clId="{430C985F-A311-4434-952C-DEB42487B883}" dt="2024-02-15T09:16:59.936" v="2407" actId="20577"/>
        <pc:sldMkLst>
          <pc:docMk/>
          <pc:sldMk cId="3863029708" sldId="2147478762"/>
        </pc:sldMkLst>
        <pc:spChg chg="mod">
          <ac:chgData name="SEIMANDI, Matthieu" userId="a1af33a6-fb38-46b3-9399-8c933e699451" providerId="ADAL" clId="{430C985F-A311-4434-952C-DEB42487B883}" dt="2024-02-15T09:16:59.936" v="2407" actId="20577"/>
          <ac:spMkLst>
            <pc:docMk/>
            <pc:sldMk cId="3863029708" sldId="2147478762"/>
            <ac:spMk id="3" creationId="{5F94CFD1-9154-D025-2D60-7CC2D06EC84C}"/>
          </ac:spMkLst>
        </pc:spChg>
        <pc:spChg chg="mod">
          <ac:chgData name="SEIMANDI, Matthieu" userId="a1af33a6-fb38-46b3-9399-8c933e699451" providerId="ADAL" clId="{430C985F-A311-4434-952C-DEB42487B883}" dt="2024-02-15T09:16:39.906" v="2405" actId="1036"/>
          <ac:spMkLst>
            <pc:docMk/>
            <pc:sldMk cId="3863029708" sldId="2147478762"/>
            <ac:spMk id="9" creationId="{65586A8A-513A-FEB3-CAF4-AB49CA727539}"/>
          </ac:spMkLst>
        </pc:spChg>
        <pc:spChg chg="mod">
          <ac:chgData name="SEIMANDI, Matthieu" userId="a1af33a6-fb38-46b3-9399-8c933e699451" providerId="ADAL" clId="{430C985F-A311-4434-952C-DEB42487B883}" dt="2024-02-15T09:16:39.906" v="2405" actId="1036"/>
          <ac:spMkLst>
            <pc:docMk/>
            <pc:sldMk cId="3863029708" sldId="2147478762"/>
            <ac:spMk id="10" creationId="{1156107A-3D62-6A87-B989-32A6FF556349}"/>
          </ac:spMkLst>
        </pc:spChg>
        <pc:spChg chg="mod">
          <ac:chgData name="SEIMANDI, Matthieu" userId="a1af33a6-fb38-46b3-9399-8c933e699451" providerId="ADAL" clId="{430C985F-A311-4434-952C-DEB42487B883}" dt="2024-02-15T09:16:39.906" v="2405" actId="1036"/>
          <ac:spMkLst>
            <pc:docMk/>
            <pc:sldMk cId="3863029708" sldId="2147478762"/>
            <ac:spMk id="11" creationId="{CF4C008D-6939-C5F2-8786-27C49BBC5DB2}"/>
          </ac:spMkLst>
        </pc:spChg>
      </pc:sldChg>
      <pc:sldChg chg="modTransition">
        <pc:chgData name="SEIMANDI, Matthieu" userId="a1af33a6-fb38-46b3-9399-8c933e699451" providerId="ADAL" clId="{430C985F-A311-4434-952C-DEB42487B883}" dt="2024-02-15T09:17:13.159" v="2408"/>
        <pc:sldMkLst>
          <pc:docMk/>
          <pc:sldMk cId="1286032952" sldId="2147478763"/>
        </pc:sldMkLst>
      </pc:sldChg>
      <pc:sldChg chg="delSp modSp mod">
        <pc:chgData name="SEIMANDI, Matthieu" userId="a1af33a6-fb38-46b3-9399-8c933e699451" providerId="ADAL" clId="{430C985F-A311-4434-952C-DEB42487B883}" dt="2024-03-12T17:10:00.706" v="7742" actId="313"/>
        <pc:sldMkLst>
          <pc:docMk/>
          <pc:sldMk cId="851675497" sldId="2147478775"/>
        </pc:sldMkLst>
        <pc:spChg chg="del">
          <ac:chgData name="SEIMANDI, Matthieu" userId="a1af33a6-fb38-46b3-9399-8c933e699451" providerId="ADAL" clId="{430C985F-A311-4434-952C-DEB42487B883}" dt="2024-03-11T14:05:48.732" v="7539" actId="478"/>
          <ac:spMkLst>
            <pc:docMk/>
            <pc:sldMk cId="851675497" sldId="2147478775"/>
            <ac:spMk id="2" creationId="{F342572F-0C3B-9A94-B40C-504AA3080040}"/>
          </ac:spMkLst>
        </pc:spChg>
        <pc:spChg chg="mod">
          <ac:chgData name="SEIMANDI, Matthieu" userId="a1af33a6-fb38-46b3-9399-8c933e699451" providerId="ADAL" clId="{430C985F-A311-4434-952C-DEB42487B883}" dt="2024-03-12T17:10:00.706" v="7742" actId="313"/>
          <ac:spMkLst>
            <pc:docMk/>
            <pc:sldMk cId="851675497" sldId="2147478775"/>
            <ac:spMk id="3" creationId="{D6F8B290-A10F-A156-903D-7D03B328AD3F}"/>
          </ac:spMkLst>
        </pc:spChg>
        <pc:graphicFrameChg chg="mod modGraphic">
          <ac:chgData name="SEIMANDI, Matthieu" userId="a1af33a6-fb38-46b3-9399-8c933e699451" providerId="ADAL" clId="{430C985F-A311-4434-952C-DEB42487B883}" dt="2024-03-11T14:06:04.838" v="7542" actId="572"/>
          <ac:graphicFrameMkLst>
            <pc:docMk/>
            <pc:sldMk cId="851675497" sldId="2147478775"/>
            <ac:graphicFrameMk id="5" creationId="{150A8F95-929A-70DA-4E85-2E8F1A0F6F57}"/>
          </ac:graphicFrameMkLst>
        </pc:graphicFrameChg>
      </pc:sldChg>
      <pc:sldChg chg="addSp delSp modSp mod addCm modCm chgLayout">
        <pc:chgData name="SEIMANDI, Matthieu" userId="a1af33a6-fb38-46b3-9399-8c933e699451" providerId="ADAL" clId="{430C985F-A311-4434-952C-DEB42487B883}" dt="2024-03-05T08:27:02.099" v="7439" actId="20577"/>
        <pc:sldMkLst>
          <pc:docMk/>
          <pc:sldMk cId="2813828781" sldId="2147478775"/>
        </pc:sldMkLst>
        <pc:spChg chg="add mod">
          <ac:chgData name="SEIMANDI, Matthieu" userId="a1af33a6-fb38-46b3-9399-8c933e699451" providerId="ADAL" clId="{430C985F-A311-4434-952C-DEB42487B883}" dt="2024-03-05T08:27:02.099" v="7439" actId="20577"/>
          <ac:spMkLst>
            <pc:docMk/>
            <pc:sldMk cId="2813828781" sldId="2147478775"/>
            <ac:spMk id="2" creationId="{F342572F-0C3B-9A94-B40C-504AA3080040}"/>
          </ac:spMkLst>
        </pc:spChg>
        <pc:spChg chg="mod ord">
          <ac:chgData name="SEIMANDI, Matthieu" userId="a1af33a6-fb38-46b3-9399-8c933e699451" providerId="ADAL" clId="{430C985F-A311-4434-952C-DEB42487B883}" dt="2024-03-04T09:33:09.222" v="6636" actId="6264"/>
          <ac:spMkLst>
            <pc:docMk/>
            <pc:sldMk cId="2813828781" sldId="2147478775"/>
            <ac:spMk id="3" creationId="{D6F8B290-A10F-A156-903D-7D03B328AD3F}"/>
          </ac:spMkLst>
        </pc:spChg>
        <pc:spChg chg="add del mod">
          <ac:chgData name="SEIMANDI, Matthieu" userId="a1af33a6-fb38-46b3-9399-8c933e699451" providerId="ADAL" clId="{430C985F-A311-4434-952C-DEB42487B883}" dt="2024-03-04T09:33:09.222" v="6636" actId="6264"/>
          <ac:spMkLst>
            <pc:docMk/>
            <pc:sldMk cId="2813828781" sldId="2147478775"/>
            <ac:spMk id="4" creationId="{E06DA07D-8741-FDA0-48D7-1B77355000CD}"/>
          </ac:spMkLst>
        </pc:spChg>
        <pc:spChg chg="add del mod ord">
          <ac:chgData name="SEIMANDI, Matthieu" userId="a1af33a6-fb38-46b3-9399-8c933e699451" providerId="ADAL" clId="{430C985F-A311-4434-952C-DEB42487B883}" dt="2024-03-04T09:33:12.321" v="6637" actId="478"/>
          <ac:spMkLst>
            <pc:docMk/>
            <pc:sldMk cId="2813828781" sldId="2147478775"/>
            <ac:spMk id="6" creationId="{9275A315-5B92-90DA-55F7-C2E5780DABA0}"/>
          </ac:spMkLst>
        </pc:spChg>
        <pc:graphicFrameChg chg="mod">
          <ac:chgData name="SEIMANDI, Matthieu" userId="a1af33a6-fb38-46b3-9399-8c933e699451" providerId="ADAL" clId="{430C985F-A311-4434-952C-DEB42487B883}" dt="2024-03-04T09:32:52.079" v="6635" actId="12788"/>
          <ac:graphicFrameMkLst>
            <pc:docMk/>
            <pc:sldMk cId="2813828781" sldId="2147478775"/>
            <ac:graphicFrameMk id="5" creationId="{150A8F95-929A-70DA-4E85-2E8F1A0F6F57}"/>
          </ac:graphicFrameMkLst>
        </pc:graphicFrameChg>
        <pc:extLst>
          <p:ext xmlns:p="http://schemas.openxmlformats.org/presentationml/2006/main" uri="{D6D511B9-2390-475A-947B-AFAB55BFBCF1}">
            <pc226:cmChg xmlns:pc226="http://schemas.microsoft.com/office/powerpoint/2022/06/main/command" chg="add mod">
              <pc226:chgData name="SEIMANDI, Matthieu" userId="a1af33a6-fb38-46b3-9399-8c933e699451" providerId="ADAL" clId="{430C985F-A311-4434-952C-DEB42487B883}" dt="2024-03-05T08:26:42.412" v="7417"/>
              <pc2:cmMkLst xmlns:pc2="http://schemas.microsoft.com/office/powerpoint/2019/9/main/command">
                <pc:docMk/>
                <pc:sldMk cId="2813828781" sldId="2147478775"/>
                <pc2:cmMk id="{8462F9D7-13C1-4152-960F-3C3453BE41BE}"/>
              </pc2:cmMkLst>
              <pc226:cmRplyChg chg="add">
                <pc226:chgData name="SEIMANDI, Matthieu" userId="a1af33a6-fb38-46b3-9399-8c933e699451" providerId="ADAL" clId="{430C985F-A311-4434-952C-DEB42487B883}" dt="2024-03-05T08:26:38.673" v="7416"/>
                <pc2:cmRplyMkLst xmlns:pc2="http://schemas.microsoft.com/office/powerpoint/2019/9/main/command">
                  <pc:docMk/>
                  <pc:sldMk cId="2813828781" sldId="2147478775"/>
                  <pc2:cmMk id="{8462F9D7-13C1-4152-960F-3C3453BE41BE}"/>
                  <pc2:cmRplyMk id="{8F793B32-E53B-42BA-AAE6-1A0962BE5FA6}"/>
                </pc2:cmRplyMkLst>
              </pc226:cmRplyChg>
            </pc226:cmChg>
          </p:ext>
        </pc:extLst>
      </pc:sldChg>
      <pc:sldChg chg="addSp delSp modSp mod modClrScheme delCm chgLayout">
        <pc:chgData name="SEIMANDI, Matthieu" userId="a1af33a6-fb38-46b3-9399-8c933e699451" providerId="ADAL" clId="{430C985F-A311-4434-952C-DEB42487B883}" dt="2024-02-15T16:35:52.257" v="5137" actId="478"/>
        <pc:sldMkLst>
          <pc:docMk/>
          <pc:sldMk cId="602456260" sldId="2147478783"/>
        </pc:sldMkLst>
        <pc:spChg chg="add mod ord">
          <ac:chgData name="SEIMANDI, Matthieu" userId="a1af33a6-fb38-46b3-9399-8c933e699451" providerId="ADAL" clId="{430C985F-A311-4434-952C-DEB42487B883}" dt="2024-02-14T17:38:12.969" v="2233" actId="1037"/>
          <ac:spMkLst>
            <pc:docMk/>
            <pc:sldMk cId="602456260" sldId="2147478783"/>
            <ac:spMk id="2" creationId="{87206DBC-EA0C-7720-FF3B-F478F021968B}"/>
          </ac:spMkLst>
        </pc:spChg>
        <pc:spChg chg="add mod">
          <ac:chgData name="SEIMANDI, Matthieu" userId="a1af33a6-fb38-46b3-9399-8c933e699451" providerId="ADAL" clId="{430C985F-A311-4434-952C-DEB42487B883}" dt="2024-02-14T17:34:50.205" v="2127" actId="12788"/>
          <ac:spMkLst>
            <pc:docMk/>
            <pc:sldMk cId="602456260" sldId="2147478783"/>
            <ac:spMk id="4" creationId="{7A085EA3-6114-AE1D-9ED4-2E0FA9F5C845}"/>
          </ac:spMkLst>
        </pc:spChg>
        <pc:spChg chg="del mod">
          <ac:chgData name="SEIMANDI, Matthieu" userId="a1af33a6-fb38-46b3-9399-8c933e699451" providerId="ADAL" clId="{430C985F-A311-4434-952C-DEB42487B883}" dt="2024-02-14T16:54:09.532" v="1701" actId="478"/>
          <ac:spMkLst>
            <pc:docMk/>
            <pc:sldMk cId="602456260" sldId="2147478783"/>
            <ac:spMk id="5" creationId="{5012091B-09CD-C327-B2EB-4891CEAF05BE}"/>
          </ac:spMkLst>
        </pc:spChg>
        <pc:spChg chg="add del mod">
          <ac:chgData name="SEIMANDI, Matthieu" userId="a1af33a6-fb38-46b3-9399-8c933e699451" providerId="ADAL" clId="{430C985F-A311-4434-952C-DEB42487B883}" dt="2024-02-15T16:35:52.257" v="5137" actId="478"/>
          <ac:spMkLst>
            <pc:docMk/>
            <pc:sldMk cId="602456260" sldId="2147478783"/>
            <ac:spMk id="5" creationId="{925E8400-3498-C211-FD9A-747EF6B70E53}"/>
          </ac:spMkLst>
        </pc:spChg>
        <pc:spChg chg="add mod ord">
          <ac:chgData name="SEIMANDI, Matthieu" userId="a1af33a6-fb38-46b3-9399-8c933e699451" providerId="ADAL" clId="{430C985F-A311-4434-952C-DEB42487B883}" dt="2024-02-14T16:56:07.669" v="1763" actId="167"/>
          <ac:spMkLst>
            <pc:docMk/>
            <pc:sldMk cId="602456260" sldId="2147478783"/>
            <ac:spMk id="7" creationId="{58797DF4-8C94-D651-82C9-2C663922186D}"/>
          </ac:spMkLst>
        </pc:spChg>
        <pc:spChg chg="add mod">
          <ac:chgData name="SEIMANDI, Matthieu" userId="a1af33a6-fb38-46b3-9399-8c933e699451" providerId="ADAL" clId="{430C985F-A311-4434-952C-DEB42487B883}" dt="2024-02-13T10:35:52.134" v="239" actId="1038"/>
          <ac:spMkLst>
            <pc:docMk/>
            <pc:sldMk cId="602456260" sldId="2147478783"/>
            <ac:spMk id="8" creationId="{9573DAAD-262A-DA65-220E-45CF7940BC13}"/>
          </ac:spMkLst>
        </pc:spChg>
        <pc:spChg chg="add mod">
          <ac:chgData name="SEIMANDI, Matthieu" userId="a1af33a6-fb38-46b3-9399-8c933e699451" providerId="ADAL" clId="{430C985F-A311-4434-952C-DEB42487B883}" dt="2024-02-15T09:18:28.263" v="2422" actId="20577"/>
          <ac:spMkLst>
            <pc:docMk/>
            <pc:sldMk cId="602456260" sldId="2147478783"/>
            <ac:spMk id="9" creationId="{11250C2D-0EAE-0DA4-9EAB-6E5C022EFF4F}"/>
          </ac:spMkLst>
        </pc:spChg>
        <pc:spChg chg="add mod">
          <ac:chgData name="SEIMANDI, Matthieu" userId="a1af33a6-fb38-46b3-9399-8c933e699451" providerId="ADAL" clId="{430C985F-A311-4434-952C-DEB42487B883}" dt="2024-02-13T10:35:52.134" v="239" actId="1038"/>
          <ac:spMkLst>
            <pc:docMk/>
            <pc:sldMk cId="602456260" sldId="2147478783"/>
            <ac:spMk id="10" creationId="{CFB58960-7731-749F-46B4-47559F3B279D}"/>
          </ac:spMkLst>
        </pc:spChg>
        <pc:spChg chg="add mod">
          <ac:chgData name="SEIMANDI, Matthieu" userId="a1af33a6-fb38-46b3-9399-8c933e699451" providerId="ADAL" clId="{430C985F-A311-4434-952C-DEB42487B883}" dt="2024-02-14T17:35:12.200" v="2168" actId="14100"/>
          <ac:spMkLst>
            <pc:docMk/>
            <pc:sldMk cId="602456260" sldId="2147478783"/>
            <ac:spMk id="11" creationId="{C3097481-9573-3A0C-270E-47EB39AC021A}"/>
          </ac:spMkLst>
        </pc:spChg>
        <pc:spChg chg="add mod">
          <ac:chgData name="SEIMANDI, Matthieu" userId="a1af33a6-fb38-46b3-9399-8c933e699451" providerId="ADAL" clId="{430C985F-A311-4434-952C-DEB42487B883}" dt="2024-02-15T10:53:51.768" v="3297" actId="20577"/>
          <ac:spMkLst>
            <pc:docMk/>
            <pc:sldMk cId="602456260" sldId="2147478783"/>
            <ac:spMk id="17" creationId="{6CD2F97E-04DC-312E-AE9A-A05C93F0D0F1}"/>
          </ac:spMkLst>
        </pc:spChg>
        <pc:spChg chg="add mod">
          <ac:chgData name="SEIMANDI, Matthieu" userId="a1af33a6-fb38-46b3-9399-8c933e699451" providerId="ADAL" clId="{430C985F-A311-4434-952C-DEB42487B883}" dt="2024-02-14T16:16:36.207" v="1480" actId="20577"/>
          <ac:spMkLst>
            <pc:docMk/>
            <pc:sldMk cId="602456260" sldId="2147478783"/>
            <ac:spMk id="18" creationId="{639CAA40-814F-399A-AECC-F170D74B4D17}"/>
          </ac:spMkLst>
        </pc:spChg>
        <pc:spChg chg="add mod">
          <ac:chgData name="SEIMANDI, Matthieu" userId="a1af33a6-fb38-46b3-9399-8c933e699451" providerId="ADAL" clId="{430C985F-A311-4434-952C-DEB42487B883}" dt="2024-02-13T10:37:13.127" v="302" actId="12789"/>
          <ac:spMkLst>
            <pc:docMk/>
            <pc:sldMk cId="602456260" sldId="2147478783"/>
            <ac:spMk id="19" creationId="{1D9132A3-ABA5-B35E-8AD6-B7FD8C2A7FCC}"/>
          </ac:spMkLst>
        </pc:spChg>
        <pc:spChg chg="add mod">
          <ac:chgData name="SEIMANDI, Matthieu" userId="a1af33a6-fb38-46b3-9399-8c933e699451" providerId="ADAL" clId="{430C985F-A311-4434-952C-DEB42487B883}" dt="2024-02-13T10:37:58.071" v="330" actId="14100"/>
          <ac:spMkLst>
            <pc:docMk/>
            <pc:sldMk cId="602456260" sldId="2147478783"/>
            <ac:spMk id="20" creationId="{231C1B0C-91F2-C797-04FC-F189652F24F8}"/>
          </ac:spMkLst>
        </pc:spChg>
        <pc:spChg chg="add mod">
          <ac:chgData name="SEIMANDI, Matthieu" userId="a1af33a6-fb38-46b3-9399-8c933e699451" providerId="ADAL" clId="{430C985F-A311-4434-952C-DEB42487B883}" dt="2024-02-13T10:37:58.071" v="330" actId="14100"/>
          <ac:spMkLst>
            <pc:docMk/>
            <pc:sldMk cId="602456260" sldId="2147478783"/>
            <ac:spMk id="21" creationId="{2B0D5B6D-5F7B-82EC-B37F-D1FB51DDA0FE}"/>
          </ac:spMkLst>
        </pc:spChg>
        <pc:spChg chg="add mod">
          <ac:chgData name="SEIMANDI, Matthieu" userId="a1af33a6-fb38-46b3-9399-8c933e699451" providerId="ADAL" clId="{430C985F-A311-4434-952C-DEB42487B883}" dt="2024-02-13T10:37:58.071" v="330" actId="14100"/>
          <ac:spMkLst>
            <pc:docMk/>
            <pc:sldMk cId="602456260" sldId="2147478783"/>
            <ac:spMk id="22" creationId="{6B0A18AD-D3B1-734A-96F0-135EA5CB9562}"/>
          </ac:spMkLst>
        </pc:spChg>
        <pc:spChg chg="add mod">
          <ac:chgData name="SEIMANDI, Matthieu" userId="a1af33a6-fb38-46b3-9399-8c933e699451" providerId="ADAL" clId="{430C985F-A311-4434-952C-DEB42487B883}" dt="2024-02-13T10:38:07.810" v="336" actId="20577"/>
          <ac:spMkLst>
            <pc:docMk/>
            <pc:sldMk cId="602456260" sldId="2147478783"/>
            <ac:spMk id="23" creationId="{4A4BCAD6-A83B-402A-88C2-82D47FCD427A}"/>
          </ac:spMkLst>
        </pc:spChg>
        <pc:spChg chg="add mod">
          <ac:chgData name="SEIMANDI, Matthieu" userId="a1af33a6-fb38-46b3-9399-8c933e699451" providerId="ADAL" clId="{430C985F-A311-4434-952C-DEB42487B883}" dt="2024-02-14T17:34:28.854" v="2095" actId="14100"/>
          <ac:spMkLst>
            <pc:docMk/>
            <pc:sldMk cId="602456260" sldId="2147478783"/>
            <ac:spMk id="24" creationId="{F782A969-F710-FAFF-B084-B6C62E4DF5F1}"/>
          </ac:spMkLst>
        </pc:spChg>
        <pc:spChg chg="add mod">
          <ac:chgData name="SEIMANDI, Matthieu" userId="a1af33a6-fb38-46b3-9399-8c933e699451" providerId="ADAL" clId="{430C985F-A311-4434-952C-DEB42487B883}" dt="2024-02-14T17:34:32.254" v="2103" actId="1037"/>
          <ac:spMkLst>
            <pc:docMk/>
            <pc:sldMk cId="602456260" sldId="2147478783"/>
            <ac:spMk id="25" creationId="{4EA8B7A2-A577-A513-91B3-2757E9DA03BA}"/>
          </ac:spMkLst>
        </pc:spChg>
        <pc:spChg chg="add del mod">
          <ac:chgData name="SEIMANDI, Matthieu" userId="a1af33a6-fb38-46b3-9399-8c933e699451" providerId="ADAL" clId="{430C985F-A311-4434-952C-DEB42487B883}" dt="2024-02-14T17:40:24.771" v="2259" actId="478"/>
          <ac:spMkLst>
            <pc:docMk/>
            <pc:sldMk cId="602456260" sldId="2147478783"/>
            <ac:spMk id="28" creationId="{A2F6E337-3441-1432-CA73-8B2ACA2EB7A3}"/>
          </ac:spMkLst>
        </pc:spChg>
        <pc:spChg chg="add mod">
          <ac:chgData name="SEIMANDI, Matthieu" userId="a1af33a6-fb38-46b3-9399-8c933e699451" providerId="ADAL" clId="{430C985F-A311-4434-952C-DEB42487B883}" dt="2024-02-13T10:42:58.922" v="516" actId="692"/>
          <ac:spMkLst>
            <pc:docMk/>
            <pc:sldMk cId="602456260" sldId="2147478783"/>
            <ac:spMk id="34" creationId="{6CE83F8E-6230-3F9C-5E43-00A70900058D}"/>
          </ac:spMkLst>
        </pc:spChg>
        <pc:spChg chg="add mod">
          <ac:chgData name="SEIMANDI, Matthieu" userId="a1af33a6-fb38-46b3-9399-8c933e699451" providerId="ADAL" clId="{430C985F-A311-4434-952C-DEB42487B883}" dt="2024-02-15T11:07:50.957" v="3765" actId="313"/>
          <ac:spMkLst>
            <pc:docMk/>
            <pc:sldMk cId="602456260" sldId="2147478783"/>
            <ac:spMk id="35" creationId="{E1C52E6E-6E98-843F-A0CD-7CC59A03E7A1}"/>
          </ac:spMkLst>
        </pc:spChg>
        <pc:spChg chg="add mod">
          <ac:chgData name="SEIMANDI, Matthieu" userId="a1af33a6-fb38-46b3-9399-8c933e699451" providerId="ADAL" clId="{430C985F-A311-4434-952C-DEB42487B883}" dt="2024-02-13T10:43:03.415" v="517" actId="571"/>
          <ac:spMkLst>
            <pc:docMk/>
            <pc:sldMk cId="602456260" sldId="2147478783"/>
            <ac:spMk id="36" creationId="{C99F13B4-FCF3-C5A5-8E33-5355D7D3915B}"/>
          </ac:spMkLst>
        </pc:spChg>
        <pc:spChg chg="add mod">
          <ac:chgData name="SEIMANDI, Matthieu" userId="a1af33a6-fb38-46b3-9399-8c933e699451" providerId="ADAL" clId="{430C985F-A311-4434-952C-DEB42487B883}" dt="2024-02-14T17:36:12.200" v="2207" actId="14100"/>
          <ac:spMkLst>
            <pc:docMk/>
            <pc:sldMk cId="602456260" sldId="2147478783"/>
            <ac:spMk id="37" creationId="{AE8B6FA8-4973-805F-DFAB-F03DC6016E3F}"/>
          </ac:spMkLst>
        </pc:spChg>
        <pc:spChg chg="add del mod">
          <ac:chgData name="SEIMANDI, Matthieu" userId="a1af33a6-fb38-46b3-9399-8c933e699451" providerId="ADAL" clId="{430C985F-A311-4434-952C-DEB42487B883}" dt="2024-02-13T11:00:28.155" v="915" actId="478"/>
          <ac:spMkLst>
            <pc:docMk/>
            <pc:sldMk cId="602456260" sldId="2147478783"/>
            <ac:spMk id="38" creationId="{E6FEC476-F26D-F1E5-3AB0-26F6BD958039}"/>
          </ac:spMkLst>
        </pc:spChg>
        <pc:spChg chg="add mod">
          <ac:chgData name="SEIMANDI, Matthieu" userId="a1af33a6-fb38-46b3-9399-8c933e699451" providerId="ADAL" clId="{430C985F-A311-4434-952C-DEB42487B883}" dt="2024-02-15T16:35:43.380" v="5135" actId="20577"/>
          <ac:spMkLst>
            <pc:docMk/>
            <pc:sldMk cId="602456260" sldId="2147478783"/>
            <ac:spMk id="39" creationId="{BAE2CA40-0B88-191E-2C43-40731AA996A8}"/>
          </ac:spMkLst>
        </pc:spChg>
        <pc:spChg chg="add mod">
          <ac:chgData name="SEIMANDI, Matthieu" userId="a1af33a6-fb38-46b3-9399-8c933e699451" providerId="ADAL" clId="{430C985F-A311-4434-952C-DEB42487B883}" dt="2024-02-15T12:59:51.264" v="4045" actId="20577"/>
          <ac:spMkLst>
            <pc:docMk/>
            <pc:sldMk cId="602456260" sldId="2147478783"/>
            <ac:spMk id="40" creationId="{E3BA2324-879D-1E36-C5EF-44039E7537D2}"/>
          </ac:spMkLst>
        </pc:spChg>
        <pc:spChg chg="add mod">
          <ac:chgData name="SEIMANDI, Matthieu" userId="a1af33a6-fb38-46b3-9399-8c933e699451" providerId="ADAL" clId="{430C985F-A311-4434-952C-DEB42487B883}" dt="2024-02-14T17:40:25.012" v="2260"/>
          <ac:spMkLst>
            <pc:docMk/>
            <pc:sldMk cId="602456260" sldId="2147478783"/>
            <ac:spMk id="41" creationId="{898C5E76-1A96-7304-00A8-C02F2F66A9F2}"/>
          </ac:spMkLst>
        </pc:spChg>
        <pc:picChg chg="add mod ord modCrop">
          <ac:chgData name="SEIMANDI, Matthieu" userId="a1af33a6-fb38-46b3-9399-8c933e699451" providerId="ADAL" clId="{430C985F-A311-4434-952C-DEB42487B883}" dt="2024-02-14T16:56:14.370" v="1764" actId="167"/>
          <ac:picMkLst>
            <pc:docMk/>
            <pc:sldMk cId="602456260" sldId="2147478783"/>
            <ac:picMk id="3" creationId="{2F0CF120-A084-BE83-ED9C-6EDF280A3740}"/>
          </ac:picMkLst>
        </pc:picChg>
        <pc:picChg chg="add mod">
          <ac:chgData name="SEIMANDI, Matthieu" userId="a1af33a6-fb38-46b3-9399-8c933e699451" providerId="ADAL" clId="{430C985F-A311-4434-952C-DEB42487B883}" dt="2024-02-13T10:30:22.206" v="47"/>
          <ac:picMkLst>
            <pc:docMk/>
            <pc:sldMk cId="602456260" sldId="2147478783"/>
            <ac:picMk id="6" creationId="{B1786DD6-190B-A8BD-2B70-88DCBE9324C4}"/>
          </ac:picMkLst>
        </pc:picChg>
        <pc:picChg chg="add mod modCrop">
          <ac:chgData name="SEIMANDI, Matthieu" userId="a1af33a6-fb38-46b3-9399-8c933e699451" providerId="ADAL" clId="{430C985F-A311-4434-952C-DEB42487B883}" dt="2024-02-13T10:35:27.478" v="224" actId="12788"/>
          <ac:picMkLst>
            <pc:docMk/>
            <pc:sldMk cId="602456260" sldId="2147478783"/>
            <ac:picMk id="12" creationId="{F0FC11F0-AC90-70B4-8AB9-DCB9E9778A2A}"/>
          </ac:picMkLst>
        </pc:picChg>
        <pc:picChg chg="add mod">
          <ac:chgData name="SEIMANDI, Matthieu" userId="a1af33a6-fb38-46b3-9399-8c933e699451" providerId="ADAL" clId="{430C985F-A311-4434-952C-DEB42487B883}" dt="2024-02-14T17:34:39.676" v="2104" actId="571"/>
          <ac:picMkLst>
            <pc:docMk/>
            <pc:sldMk cId="602456260" sldId="2147478783"/>
            <ac:picMk id="13" creationId="{6945DEFE-97E0-9999-31DA-51820CF46DF3}"/>
          </ac:picMkLst>
        </pc:picChg>
        <pc:picChg chg="add mod">
          <ac:chgData name="SEIMANDI, Matthieu" userId="a1af33a6-fb38-46b3-9399-8c933e699451" providerId="ADAL" clId="{430C985F-A311-4434-952C-DEB42487B883}" dt="2024-02-13T10:35:27.478" v="224" actId="12788"/>
          <ac:picMkLst>
            <pc:docMk/>
            <pc:sldMk cId="602456260" sldId="2147478783"/>
            <ac:picMk id="14" creationId="{D2A5C054-B227-3099-611F-D17D96F40909}"/>
          </ac:picMkLst>
        </pc:picChg>
        <pc:picChg chg="add mod">
          <ac:chgData name="SEIMANDI, Matthieu" userId="a1af33a6-fb38-46b3-9399-8c933e699451" providerId="ADAL" clId="{430C985F-A311-4434-952C-DEB42487B883}" dt="2024-02-13T10:35:30.679" v="225" actId="12789"/>
          <ac:picMkLst>
            <pc:docMk/>
            <pc:sldMk cId="602456260" sldId="2147478783"/>
            <ac:picMk id="16" creationId="{43321E63-4C74-E7B8-0E72-ACB13BE44FF4}"/>
          </ac:picMkLst>
        </pc:picChg>
        <pc:picChg chg="add del mod">
          <ac:chgData name="SEIMANDI, Matthieu" userId="a1af33a6-fb38-46b3-9399-8c933e699451" providerId="ADAL" clId="{430C985F-A311-4434-952C-DEB42487B883}" dt="2024-02-14T17:40:24.771" v="2259" actId="478"/>
          <ac:picMkLst>
            <pc:docMk/>
            <pc:sldMk cId="602456260" sldId="2147478783"/>
            <ac:picMk id="27" creationId="{E65A98DB-D1A5-5361-3B30-6362823AB3B6}"/>
          </ac:picMkLst>
        </pc:picChg>
        <pc:picChg chg="add mod">
          <ac:chgData name="SEIMANDI, Matthieu" userId="a1af33a6-fb38-46b3-9399-8c933e699451" providerId="ADAL" clId="{430C985F-A311-4434-952C-DEB42487B883}" dt="2024-02-13T10:41:56.083" v="490" actId="1076"/>
          <ac:picMkLst>
            <pc:docMk/>
            <pc:sldMk cId="602456260" sldId="2147478783"/>
            <ac:picMk id="33" creationId="{098076B7-012B-98ED-A1C5-DEBFAF0B9C80}"/>
          </ac:picMkLst>
        </pc:picChg>
        <pc:picChg chg="add mod">
          <ac:chgData name="SEIMANDI, Matthieu" userId="a1af33a6-fb38-46b3-9399-8c933e699451" providerId="ADAL" clId="{430C985F-A311-4434-952C-DEB42487B883}" dt="2024-02-14T17:40:25.012" v="2260"/>
          <ac:picMkLst>
            <pc:docMk/>
            <pc:sldMk cId="602456260" sldId="2147478783"/>
            <ac:picMk id="42" creationId="{A28042F8-E352-BB90-7FDC-A01DADC1FF74}"/>
          </ac:picMkLst>
        </pc:picChg>
        <pc:cxnChg chg="add mod">
          <ac:chgData name="SEIMANDI, Matthieu" userId="a1af33a6-fb38-46b3-9399-8c933e699451" providerId="ADAL" clId="{430C985F-A311-4434-952C-DEB42487B883}" dt="2024-02-14T17:38:44.667" v="2240" actId="12789"/>
          <ac:cxnSpMkLst>
            <pc:docMk/>
            <pc:sldMk cId="602456260" sldId="2147478783"/>
            <ac:cxnSpMk id="15" creationId="{B4A2D070-75F2-BF14-28AC-C384ECEB1FE8}"/>
          </ac:cxnSpMkLst>
        </pc:cxnChg>
        <pc:cxnChg chg="add mod">
          <ac:chgData name="SEIMANDI, Matthieu" userId="a1af33a6-fb38-46b3-9399-8c933e699451" providerId="ADAL" clId="{430C985F-A311-4434-952C-DEB42487B883}" dt="2024-02-14T17:38:31.572" v="2236" actId="408"/>
          <ac:cxnSpMkLst>
            <pc:docMk/>
            <pc:sldMk cId="602456260" sldId="2147478783"/>
            <ac:cxnSpMk id="29" creationId="{DB35FD67-D750-BA8F-F94E-F9A8CA4F4E92}"/>
          </ac:cxnSpMkLst>
        </pc:cxnChg>
        <pc:cxnChg chg="add mod">
          <ac:chgData name="SEIMANDI, Matthieu" userId="a1af33a6-fb38-46b3-9399-8c933e699451" providerId="ADAL" clId="{430C985F-A311-4434-952C-DEB42487B883}" dt="2024-02-14T17:36:20.471" v="2216" actId="1038"/>
          <ac:cxnSpMkLst>
            <pc:docMk/>
            <pc:sldMk cId="602456260" sldId="2147478783"/>
            <ac:cxnSpMk id="30" creationId="{E28F3131-7A97-6A1E-52AB-A7AE4AB5D9EE}"/>
          </ac:cxnSpMkLst>
        </pc:cxnChg>
        <pc:cxnChg chg="add mod">
          <ac:chgData name="SEIMANDI, Matthieu" userId="a1af33a6-fb38-46b3-9399-8c933e699451" providerId="ADAL" clId="{430C985F-A311-4434-952C-DEB42487B883}" dt="2024-02-14T17:38:44.667" v="2240" actId="12789"/>
          <ac:cxnSpMkLst>
            <pc:docMk/>
            <pc:sldMk cId="602456260" sldId="2147478783"/>
            <ac:cxnSpMk id="32" creationId="{391F04DD-4CB0-20AA-D0FD-19B0041383D9}"/>
          </ac:cxnSpMkLst>
        </pc:cxnChg>
        <pc:extLst>
          <p:ext xmlns:p="http://schemas.openxmlformats.org/presentationml/2006/main" uri="{D6D511B9-2390-475A-947B-AFAB55BFBCF1}">
            <pc226:cmChg xmlns:pc226="http://schemas.microsoft.com/office/powerpoint/2022/06/main/command" chg="del">
              <pc226:chgData name="SEIMANDI, Matthieu" userId="a1af33a6-fb38-46b3-9399-8c933e699451" providerId="ADAL" clId="{430C985F-A311-4434-952C-DEB42487B883}" dt="2024-02-15T16:15:04.438" v="4987"/>
              <pc2:cmMkLst xmlns:pc2="http://schemas.microsoft.com/office/powerpoint/2019/9/main/command">
                <pc:docMk/>
                <pc:sldMk cId="602456260" sldId="2147478783"/>
                <pc2:cmMk id="{9F7269EC-3ECD-4E8A-8CDB-3496EE9CAD00}"/>
              </pc2:cmMkLst>
            </pc226:cmChg>
          </p:ext>
        </pc:extLst>
      </pc:sldChg>
      <pc:sldChg chg="modSp mod ord delCm modCm">
        <pc:chgData name="SEIMANDI, Matthieu" userId="a1af33a6-fb38-46b3-9399-8c933e699451" providerId="ADAL" clId="{430C985F-A311-4434-952C-DEB42487B883}" dt="2024-02-19T09:12:51.280" v="5162"/>
        <pc:sldMkLst>
          <pc:docMk/>
          <pc:sldMk cId="1362600534" sldId="2147478788"/>
        </pc:sldMkLst>
        <pc:spChg chg="mod">
          <ac:chgData name="SEIMANDI, Matthieu" userId="a1af33a6-fb38-46b3-9399-8c933e699451" providerId="ADAL" clId="{430C985F-A311-4434-952C-DEB42487B883}" dt="2024-02-16T14:18:48.579" v="5161" actId="1035"/>
          <ac:spMkLst>
            <pc:docMk/>
            <pc:sldMk cId="1362600534" sldId="2147478788"/>
            <ac:spMk id="8" creationId="{D74F69D6-EA3B-5D68-E727-D0D768386FB0}"/>
          </ac:spMkLst>
        </pc:spChg>
        <pc:spChg chg="mod">
          <ac:chgData name="SEIMANDI, Matthieu" userId="a1af33a6-fb38-46b3-9399-8c933e699451" providerId="ADAL" clId="{430C985F-A311-4434-952C-DEB42487B883}" dt="2024-02-16T14:18:48.579" v="5161" actId="1035"/>
          <ac:spMkLst>
            <pc:docMk/>
            <pc:sldMk cId="1362600534" sldId="2147478788"/>
            <ac:spMk id="9" creationId="{0FC2FA8B-DA6A-98DF-45D0-212A63A39137}"/>
          </ac:spMkLst>
        </pc:spChg>
        <pc:extLst>
          <p:ext xmlns:p="http://schemas.openxmlformats.org/presentationml/2006/main" uri="{D6D511B9-2390-475A-947B-AFAB55BFBCF1}">
            <pc226:cmChg xmlns:pc226="http://schemas.microsoft.com/office/powerpoint/2022/06/main/command" chg="del mod">
              <pc226:chgData name="SEIMANDI, Matthieu" userId="a1af33a6-fb38-46b3-9399-8c933e699451" providerId="ADAL" clId="{430C985F-A311-4434-952C-DEB42487B883}" dt="2024-02-19T09:12:51.280" v="5162"/>
              <pc2:cmMkLst xmlns:pc2="http://schemas.microsoft.com/office/powerpoint/2019/9/main/command">
                <pc:docMk/>
                <pc:sldMk cId="1362600534" sldId="2147478788"/>
                <pc2:cmMk id="{1EF768FB-0449-4DEB-9DC4-EAA88BFA9C1D}"/>
              </pc2:cmMkLst>
            </pc226:cmChg>
          </p:ext>
        </pc:extLst>
      </pc:sldChg>
      <pc:sldChg chg="addSp modSp new mod">
        <pc:chgData name="SEIMANDI, Matthieu" userId="a1af33a6-fb38-46b3-9399-8c933e699451" providerId="ADAL" clId="{430C985F-A311-4434-952C-DEB42487B883}" dt="2024-02-13T13:17:33.246" v="1396" actId="14100"/>
        <pc:sldMkLst>
          <pc:docMk/>
          <pc:sldMk cId="1164553436" sldId="2147478790"/>
        </pc:sldMkLst>
        <pc:spChg chg="mod">
          <ac:chgData name="SEIMANDI, Matthieu" userId="a1af33a6-fb38-46b3-9399-8c933e699451" providerId="ADAL" clId="{430C985F-A311-4434-952C-DEB42487B883}" dt="2024-02-13T13:17:33.246" v="1396" actId="14100"/>
          <ac:spMkLst>
            <pc:docMk/>
            <pc:sldMk cId="1164553436" sldId="2147478790"/>
            <ac:spMk id="2" creationId="{2DE76623-32CB-18E3-0B51-680ECD547326}"/>
          </ac:spMkLst>
        </pc:spChg>
        <pc:spChg chg="mod">
          <ac:chgData name="SEIMANDI, Matthieu" userId="a1af33a6-fb38-46b3-9399-8c933e699451" providerId="ADAL" clId="{430C985F-A311-4434-952C-DEB42487B883}" dt="2024-02-13T13:02:21.638" v="1002" actId="20577"/>
          <ac:spMkLst>
            <pc:docMk/>
            <pc:sldMk cId="1164553436" sldId="2147478790"/>
            <ac:spMk id="3" creationId="{292A5E8C-AA25-48D5-2CCE-8C78DF31FA30}"/>
          </ac:spMkLst>
        </pc:spChg>
        <pc:spChg chg="add mod">
          <ac:chgData name="SEIMANDI, Matthieu" userId="a1af33a6-fb38-46b3-9399-8c933e699451" providerId="ADAL" clId="{430C985F-A311-4434-952C-DEB42487B883}" dt="2024-02-13T13:17:28.435" v="1395" actId="20577"/>
          <ac:spMkLst>
            <pc:docMk/>
            <pc:sldMk cId="1164553436" sldId="2147478790"/>
            <ac:spMk id="4" creationId="{86EE4620-3BF6-06A7-2D39-0C1202616826}"/>
          </ac:spMkLst>
        </pc:spChg>
      </pc:sldChg>
      <pc:sldChg chg="addSp delSp modSp new mod">
        <pc:chgData name="SEIMANDI, Matthieu" userId="a1af33a6-fb38-46b3-9399-8c933e699451" providerId="ADAL" clId="{430C985F-A311-4434-952C-DEB42487B883}" dt="2024-02-19T09:56:51.513" v="5407" actId="20577"/>
        <pc:sldMkLst>
          <pc:docMk/>
          <pc:sldMk cId="1303457090" sldId="2147478791"/>
        </pc:sldMkLst>
        <pc:spChg chg="mod">
          <ac:chgData name="SEIMANDI, Matthieu" userId="a1af33a6-fb38-46b3-9399-8c933e699451" providerId="ADAL" clId="{430C985F-A311-4434-952C-DEB42487B883}" dt="2024-02-14T16:49:58.426" v="1600" actId="404"/>
          <ac:spMkLst>
            <pc:docMk/>
            <pc:sldMk cId="1303457090" sldId="2147478791"/>
            <ac:spMk id="2" creationId="{A1B6F4D1-0BE8-5451-414B-53ABA0735847}"/>
          </ac:spMkLst>
        </pc:spChg>
        <pc:spChg chg="add del mod">
          <ac:chgData name="SEIMANDI, Matthieu" userId="a1af33a6-fb38-46b3-9399-8c933e699451" providerId="ADAL" clId="{430C985F-A311-4434-952C-DEB42487B883}" dt="2024-02-15T10:04:45.414" v="3092" actId="478"/>
          <ac:spMkLst>
            <pc:docMk/>
            <pc:sldMk cId="1303457090" sldId="2147478791"/>
            <ac:spMk id="3" creationId="{E3156D0C-6F34-EB2B-DA17-5DE436749621}"/>
          </ac:spMkLst>
        </pc:spChg>
        <pc:spChg chg="add del mod">
          <ac:chgData name="SEIMANDI, Matthieu" userId="a1af33a6-fb38-46b3-9399-8c933e699451" providerId="ADAL" clId="{430C985F-A311-4434-952C-DEB42487B883}" dt="2024-02-14T16:49:35.946" v="1561" actId="478"/>
          <ac:spMkLst>
            <pc:docMk/>
            <pc:sldMk cId="1303457090" sldId="2147478791"/>
            <ac:spMk id="4" creationId="{A7E6D2C5-AD6C-F6F6-6D74-1777EC136CC5}"/>
          </ac:spMkLst>
        </pc:spChg>
        <pc:spChg chg="add mod">
          <ac:chgData name="SEIMANDI, Matthieu" userId="a1af33a6-fb38-46b3-9399-8c933e699451" providerId="ADAL" clId="{430C985F-A311-4434-952C-DEB42487B883}" dt="2024-02-15T10:51:13.245" v="3173" actId="1036"/>
          <ac:spMkLst>
            <pc:docMk/>
            <pc:sldMk cId="1303457090" sldId="2147478791"/>
            <ac:spMk id="15" creationId="{05161982-9355-1E13-5BA3-3C3E89BF3C48}"/>
          </ac:spMkLst>
        </pc:spChg>
        <pc:spChg chg="add mod">
          <ac:chgData name="SEIMANDI, Matthieu" userId="a1af33a6-fb38-46b3-9399-8c933e699451" providerId="ADAL" clId="{430C985F-A311-4434-952C-DEB42487B883}" dt="2024-02-15T16:36:56.485" v="5153" actId="20577"/>
          <ac:spMkLst>
            <pc:docMk/>
            <pc:sldMk cId="1303457090" sldId="2147478791"/>
            <ac:spMk id="16" creationId="{C396228E-9D5A-42FB-FF25-44EB16A4EE05}"/>
          </ac:spMkLst>
        </pc:spChg>
        <pc:graphicFrameChg chg="add mod modGraphic">
          <ac:chgData name="SEIMANDI, Matthieu" userId="a1af33a6-fb38-46b3-9399-8c933e699451" providerId="ADAL" clId="{430C985F-A311-4434-952C-DEB42487B883}" dt="2024-02-19T09:56:44.964" v="5395" actId="20577"/>
          <ac:graphicFrameMkLst>
            <pc:docMk/>
            <pc:sldMk cId="1303457090" sldId="2147478791"/>
            <ac:graphicFrameMk id="6" creationId="{D3241E9E-640C-D1FC-20D7-923C981FA097}"/>
          </ac:graphicFrameMkLst>
        </pc:graphicFrameChg>
        <pc:graphicFrameChg chg="add mod modGraphic">
          <ac:chgData name="SEIMANDI, Matthieu" userId="a1af33a6-fb38-46b3-9399-8c933e699451" providerId="ADAL" clId="{430C985F-A311-4434-952C-DEB42487B883}" dt="2024-02-15T13:47:01.010" v="4914" actId="1035"/>
          <ac:graphicFrameMkLst>
            <pc:docMk/>
            <pc:sldMk cId="1303457090" sldId="2147478791"/>
            <ac:graphicFrameMk id="7" creationId="{92C26AF8-2405-9EDB-AF57-1F995BCCE876}"/>
          </ac:graphicFrameMkLst>
        </pc:graphicFrameChg>
        <pc:graphicFrameChg chg="add mod modGraphic">
          <ac:chgData name="SEIMANDI, Matthieu" userId="a1af33a6-fb38-46b3-9399-8c933e699451" providerId="ADAL" clId="{430C985F-A311-4434-952C-DEB42487B883}" dt="2024-02-19T09:56:51.513" v="5407" actId="20577"/>
          <ac:graphicFrameMkLst>
            <pc:docMk/>
            <pc:sldMk cId="1303457090" sldId="2147478791"/>
            <ac:graphicFrameMk id="10" creationId="{FD17E388-F992-20EF-CC2C-DBC9BE5A1DF6}"/>
          </ac:graphicFrameMkLst>
        </pc:graphicFrameChg>
        <pc:graphicFrameChg chg="add mod modGraphic">
          <ac:chgData name="SEIMANDI, Matthieu" userId="a1af33a6-fb38-46b3-9399-8c933e699451" providerId="ADAL" clId="{430C985F-A311-4434-952C-DEB42487B883}" dt="2024-02-15T13:47:01.010" v="4914" actId="1035"/>
          <ac:graphicFrameMkLst>
            <pc:docMk/>
            <pc:sldMk cId="1303457090" sldId="2147478791"/>
            <ac:graphicFrameMk id="11" creationId="{5881EFAB-1147-F18A-6EB2-5B3658D2AA8F}"/>
          </ac:graphicFrameMkLst>
        </pc:graphicFrameChg>
        <pc:picChg chg="add mod">
          <ac:chgData name="SEIMANDI, Matthieu" userId="a1af33a6-fb38-46b3-9399-8c933e699451" providerId="ADAL" clId="{430C985F-A311-4434-952C-DEB42487B883}" dt="2024-02-15T10:49:50.391" v="3128" actId="14100"/>
          <ac:picMkLst>
            <pc:docMk/>
            <pc:sldMk cId="1303457090" sldId="2147478791"/>
            <ac:picMk id="5" creationId="{A138EE98-34F7-346A-8669-A01E0B7F5E45}"/>
          </ac:picMkLst>
        </pc:picChg>
        <pc:picChg chg="add mod">
          <ac:chgData name="SEIMANDI, Matthieu" userId="a1af33a6-fb38-46b3-9399-8c933e699451" providerId="ADAL" clId="{430C985F-A311-4434-952C-DEB42487B883}" dt="2024-02-15T10:05:04.522" v="3106" actId="1036"/>
          <ac:picMkLst>
            <pc:docMk/>
            <pc:sldMk cId="1303457090" sldId="2147478791"/>
            <ac:picMk id="9" creationId="{E184A776-179F-E446-80C1-6A5825B73EB8}"/>
          </ac:picMkLst>
        </pc:picChg>
        <pc:picChg chg="add del mod">
          <ac:chgData name="SEIMANDI, Matthieu" userId="a1af33a6-fb38-46b3-9399-8c933e699451" providerId="ADAL" clId="{430C985F-A311-4434-952C-DEB42487B883}" dt="2024-02-15T10:49:07.551" v="3116" actId="478"/>
          <ac:picMkLst>
            <pc:docMk/>
            <pc:sldMk cId="1303457090" sldId="2147478791"/>
            <ac:picMk id="12" creationId="{41DEC7A9-0B98-D911-52A1-87CC69F179C3}"/>
          </ac:picMkLst>
        </pc:picChg>
        <pc:picChg chg="add del mod">
          <ac:chgData name="SEIMANDI, Matthieu" userId="a1af33a6-fb38-46b3-9399-8c933e699451" providerId="ADAL" clId="{430C985F-A311-4434-952C-DEB42487B883}" dt="2024-02-15T10:04:58.768" v="3094" actId="478"/>
          <ac:picMkLst>
            <pc:docMk/>
            <pc:sldMk cId="1303457090" sldId="2147478791"/>
            <ac:picMk id="13" creationId="{26A88166-D87F-2A55-5F7B-16CF4BB5B506}"/>
          </ac:picMkLst>
        </pc:picChg>
        <pc:picChg chg="add del mod">
          <ac:chgData name="SEIMANDI, Matthieu" userId="a1af33a6-fb38-46b3-9399-8c933e699451" providerId="ADAL" clId="{430C985F-A311-4434-952C-DEB42487B883}" dt="2024-02-15T10:50:33.180" v="3153" actId="478"/>
          <ac:picMkLst>
            <pc:docMk/>
            <pc:sldMk cId="1303457090" sldId="2147478791"/>
            <ac:picMk id="14" creationId="{85B9C3B9-406C-E122-460B-900148828693}"/>
          </ac:picMkLst>
        </pc:picChg>
        <pc:picChg chg="add mod">
          <ac:chgData name="SEIMANDI, Matthieu" userId="a1af33a6-fb38-46b3-9399-8c933e699451" providerId="ADAL" clId="{430C985F-A311-4434-952C-DEB42487B883}" dt="2024-02-15T13:09:06.954" v="4059" actId="1037"/>
          <ac:picMkLst>
            <pc:docMk/>
            <pc:sldMk cId="1303457090" sldId="2147478791"/>
            <ac:picMk id="18" creationId="{1777A5FA-7D5D-E0C1-A86F-94D53E089FAF}"/>
          </ac:picMkLst>
        </pc:picChg>
        <pc:picChg chg="add mod">
          <ac:chgData name="SEIMANDI, Matthieu" userId="a1af33a6-fb38-46b3-9399-8c933e699451" providerId="ADAL" clId="{430C985F-A311-4434-952C-DEB42487B883}" dt="2024-02-15T13:14:07.275" v="4237" actId="1076"/>
          <ac:picMkLst>
            <pc:docMk/>
            <pc:sldMk cId="1303457090" sldId="2147478791"/>
            <ac:picMk id="19" creationId="{9BE0A1C2-E67C-218D-05F1-08892639A77C}"/>
          </ac:picMkLst>
        </pc:picChg>
        <pc:picChg chg="add mod">
          <ac:chgData name="SEIMANDI, Matthieu" userId="a1af33a6-fb38-46b3-9399-8c933e699451" providerId="ADAL" clId="{430C985F-A311-4434-952C-DEB42487B883}" dt="2024-02-15T10:05:04.522" v="3106" actId="1036"/>
          <ac:picMkLst>
            <pc:docMk/>
            <pc:sldMk cId="1303457090" sldId="2147478791"/>
            <ac:picMk id="1026" creationId="{8F4A9B91-3213-68F3-DD51-D3BBA5BFAD66}"/>
          </ac:picMkLst>
        </pc:picChg>
        <pc:picChg chg="add del">
          <ac:chgData name="SEIMANDI, Matthieu" userId="a1af33a6-fb38-46b3-9399-8c933e699451" providerId="ADAL" clId="{430C985F-A311-4434-952C-DEB42487B883}" dt="2024-02-15T13:28:12.245" v="4369"/>
          <ac:picMkLst>
            <pc:docMk/>
            <pc:sldMk cId="1303457090" sldId="2147478791"/>
            <ac:picMk id="1028" creationId="{14CF5403-BC9D-1226-6BA5-B30916C21F2C}"/>
          </ac:picMkLst>
        </pc:picChg>
      </pc:sldChg>
      <pc:sldChg chg="addSp delSp modSp add mod delCm">
        <pc:chgData name="SEIMANDI, Matthieu" userId="a1af33a6-fb38-46b3-9399-8c933e699451" providerId="ADAL" clId="{430C985F-A311-4434-952C-DEB42487B883}" dt="2024-02-15T16:39:26.913" v="5157" actId="1035"/>
        <pc:sldMkLst>
          <pc:docMk/>
          <pc:sldMk cId="2017698475" sldId="2147478792"/>
        </pc:sldMkLst>
        <pc:spChg chg="mod">
          <ac:chgData name="SEIMANDI, Matthieu" userId="a1af33a6-fb38-46b3-9399-8c933e699451" providerId="ADAL" clId="{430C985F-A311-4434-952C-DEB42487B883}" dt="2024-02-14T17:32:20.053" v="2044" actId="1037"/>
          <ac:spMkLst>
            <pc:docMk/>
            <pc:sldMk cId="2017698475" sldId="2147478792"/>
            <ac:spMk id="2" creationId="{87206DBC-EA0C-7720-FF3B-F478F021968B}"/>
          </ac:spMkLst>
        </pc:spChg>
        <pc:spChg chg="add mod">
          <ac:chgData name="SEIMANDI, Matthieu" userId="a1af33a6-fb38-46b3-9399-8c933e699451" providerId="ADAL" clId="{430C985F-A311-4434-952C-DEB42487B883}" dt="2024-02-15T16:36:30.004" v="5142" actId="20577"/>
          <ac:spMkLst>
            <pc:docMk/>
            <pc:sldMk cId="2017698475" sldId="2147478792"/>
            <ac:spMk id="3" creationId="{B07B3E3E-D6FF-AE8C-6150-450B2B554834}"/>
          </ac:spMkLst>
        </pc:spChg>
        <pc:spChg chg="add mod">
          <ac:chgData name="SEIMANDI, Matthieu" userId="a1af33a6-fb38-46b3-9399-8c933e699451" providerId="ADAL" clId="{430C985F-A311-4434-952C-DEB42487B883}" dt="2024-02-15T16:39:26.913" v="5157" actId="1035"/>
          <ac:spMkLst>
            <pc:docMk/>
            <pc:sldMk cId="2017698475" sldId="2147478792"/>
            <ac:spMk id="4" creationId="{1D4770D0-3029-8D3A-17E1-00F9613F515C}"/>
          </ac:spMkLst>
        </pc:spChg>
        <pc:spChg chg="del">
          <ac:chgData name="SEIMANDI, Matthieu" userId="a1af33a6-fb38-46b3-9399-8c933e699451" providerId="ADAL" clId="{430C985F-A311-4434-952C-DEB42487B883}" dt="2024-02-14T16:54:07.756" v="1700" actId="478"/>
          <ac:spMkLst>
            <pc:docMk/>
            <pc:sldMk cId="2017698475" sldId="2147478792"/>
            <ac:spMk id="5" creationId="{5012091B-09CD-C327-B2EB-4891CEAF05BE}"/>
          </ac:spMkLst>
        </pc:spChg>
        <pc:spChg chg="ord">
          <ac:chgData name="SEIMANDI, Matthieu" userId="a1af33a6-fb38-46b3-9399-8c933e699451" providerId="ADAL" clId="{430C985F-A311-4434-952C-DEB42487B883}" dt="2024-02-14T17:33:52.354" v="2089" actId="167"/>
          <ac:spMkLst>
            <pc:docMk/>
            <pc:sldMk cId="2017698475" sldId="2147478792"/>
            <ac:spMk id="7" creationId="{58797DF4-8C94-D651-82C9-2C663922186D}"/>
          </ac:spMkLst>
        </pc:spChg>
        <pc:spChg chg="mod">
          <ac:chgData name="SEIMANDI, Matthieu" userId="a1af33a6-fb38-46b3-9399-8c933e699451" providerId="ADAL" clId="{430C985F-A311-4434-952C-DEB42487B883}" dt="2024-02-15T09:18:23.667" v="2414" actId="20577"/>
          <ac:spMkLst>
            <pc:docMk/>
            <pc:sldMk cId="2017698475" sldId="2147478792"/>
            <ac:spMk id="9" creationId="{11250C2D-0EAE-0DA4-9EAB-6E5C022EFF4F}"/>
          </ac:spMkLst>
        </pc:spChg>
        <pc:spChg chg="add mod">
          <ac:chgData name="SEIMANDI, Matthieu" userId="a1af33a6-fb38-46b3-9399-8c933e699451" providerId="ADAL" clId="{430C985F-A311-4434-952C-DEB42487B883}" dt="2024-02-14T17:39:30.145" v="2251"/>
          <ac:spMkLst>
            <pc:docMk/>
            <pc:sldMk cId="2017698475" sldId="2147478792"/>
            <ac:spMk id="15" creationId="{18BC47FE-A6B8-BC9A-5BDB-DA8A97FF1D2D}"/>
          </ac:spMkLst>
        </pc:spChg>
        <pc:spChg chg="mod">
          <ac:chgData name="SEIMANDI, Matthieu" userId="a1af33a6-fb38-46b3-9399-8c933e699451" providerId="ADAL" clId="{430C985F-A311-4434-952C-DEB42487B883}" dt="2024-02-15T13:16:06.411" v="4269" actId="20577"/>
          <ac:spMkLst>
            <pc:docMk/>
            <pc:sldMk cId="2017698475" sldId="2147478792"/>
            <ac:spMk id="17" creationId="{6CD2F97E-04DC-312E-AE9A-A05C93F0D0F1}"/>
          </ac:spMkLst>
        </pc:spChg>
        <pc:spChg chg="mod">
          <ac:chgData name="SEIMANDI, Matthieu" userId="a1af33a6-fb38-46b3-9399-8c933e699451" providerId="ADAL" clId="{430C985F-A311-4434-952C-DEB42487B883}" dt="2024-02-15T11:16:14.657" v="4032" actId="20577"/>
          <ac:spMkLst>
            <pc:docMk/>
            <pc:sldMk cId="2017698475" sldId="2147478792"/>
            <ac:spMk id="18" creationId="{639CAA40-814F-399A-AECC-F170D74B4D17}"/>
          </ac:spMkLst>
        </pc:spChg>
        <pc:spChg chg="mod">
          <ac:chgData name="SEIMANDI, Matthieu" userId="a1af33a6-fb38-46b3-9399-8c933e699451" providerId="ADAL" clId="{430C985F-A311-4434-952C-DEB42487B883}" dt="2024-02-15T09:18:53.690" v="2428" actId="3064"/>
          <ac:spMkLst>
            <pc:docMk/>
            <pc:sldMk cId="2017698475" sldId="2147478792"/>
            <ac:spMk id="20" creationId="{231C1B0C-91F2-C797-04FC-F189652F24F8}"/>
          </ac:spMkLst>
        </pc:spChg>
        <pc:spChg chg="mod">
          <ac:chgData name="SEIMANDI, Matthieu" userId="a1af33a6-fb38-46b3-9399-8c933e699451" providerId="ADAL" clId="{430C985F-A311-4434-952C-DEB42487B883}" dt="2024-02-15T09:18:53.690" v="2428" actId="3064"/>
          <ac:spMkLst>
            <pc:docMk/>
            <pc:sldMk cId="2017698475" sldId="2147478792"/>
            <ac:spMk id="21" creationId="{2B0D5B6D-5F7B-82EC-B37F-D1FB51DDA0FE}"/>
          </ac:spMkLst>
        </pc:spChg>
        <pc:spChg chg="mod">
          <ac:chgData name="SEIMANDI, Matthieu" userId="a1af33a6-fb38-46b3-9399-8c933e699451" providerId="ADAL" clId="{430C985F-A311-4434-952C-DEB42487B883}" dt="2024-02-15T09:18:53.690" v="2428" actId="3064"/>
          <ac:spMkLst>
            <pc:docMk/>
            <pc:sldMk cId="2017698475" sldId="2147478792"/>
            <ac:spMk id="22" creationId="{6B0A18AD-D3B1-734A-96F0-135EA5CB9562}"/>
          </ac:spMkLst>
        </pc:spChg>
        <pc:spChg chg="mod">
          <ac:chgData name="SEIMANDI, Matthieu" userId="a1af33a6-fb38-46b3-9399-8c933e699451" providerId="ADAL" clId="{430C985F-A311-4434-952C-DEB42487B883}" dt="2024-02-15T09:18:53.690" v="2428" actId="3064"/>
          <ac:spMkLst>
            <pc:docMk/>
            <pc:sldMk cId="2017698475" sldId="2147478792"/>
            <ac:spMk id="23" creationId="{4A4BCAD6-A83B-402A-88C2-82D47FCD427A}"/>
          </ac:spMkLst>
        </pc:spChg>
        <pc:spChg chg="mod">
          <ac:chgData name="SEIMANDI, Matthieu" userId="a1af33a6-fb38-46b3-9399-8c933e699451" providerId="ADAL" clId="{430C985F-A311-4434-952C-DEB42487B883}" dt="2024-02-14T17:39:38.993" v="2253" actId="14100"/>
          <ac:spMkLst>
            <pc:docMk/>
            <pc:sldMk cId="2017698475" sldId="2147478792"/>
            <ac:spMk id="24" creationId="{F782A969-F710-FAFF-B084-B6C62E4DF5F1}"/>
          </ac:spMkLst>
        </pc:spChg>
        <pc:spChg chg="mod">
          <ac:chgData name="SEIMANDI, Matthieu" userId="a1af33a6-fb38-46b3-9399-8c933e699451" providerId="ADAL" clId="{430C985F-A311-4434-952C-DEB42487B883}" dt="2024-02-14T17:39:41.096" v="2254" actId="14100"/>
          <ac:spMkLst>
            <pc:docMk/>
            <pc:sldMk cId="2017698475" sldId="2147478792"/>
            <ac:spMk id="25" creationId="{4EA8B7A2-A577-A513-91B3-2757E9DA03BA}"/>
          </ac:spMkLst>
        </pc:spChg>
        <pc:spChg chg="add mod">
          <ac:chgData name="SEIMANDI, Matthieu" userId="a1af33a6-fb38-46b3-9399-8c933e699451" providerId="ADAL" clId="{430C985F-A311-4434-952C-DEB42487B883}" dt="2024-02-14T17:39:30.145" v="2251"/>
          <ac:spMkLst>
            <pc:docMk/>
            <pc:sldMk cId="2017698475" sldId="2147478792"/>
            <ac:spMk id="26" creationId="{5CB143A9-959C-0337-1578-C4B66EF9CE7C}"/>
          </ac:spMkLst>
        </pc:spChg>
        <pc:spChg chg="ord">
          <ac:chgData name="SEIMANDI, Matthieu" userId="a1af33a6-fb38-46b3-9399-8c933e699451" providerId="ADAL" clId="{430C985F-A311-4434-952C-DEB42487B883}" dt="2024-02-14T17:40:19.770" v="2258" actId="167"/>
          <ac:spMkLst>
            <pc:docMk/>
            <pc:sldMk cId="2017698475" sldId="2147478792"/>
            <ac:spMk id="28" creationId="{A2F6E337-3441-1432-CA73-8B2ACA2EB7A3}"/>
          </ac:spMkLst>
        </pc:spChg>
        <pc:spChg chg="add mod">
          <ac:chgData name="SEIMANDI, Matthieu" userId="a1af33a6-fb38-46b3-9399-8c933e699451" providerId="ADAL" clId="{430C985F-A311-4434-952C-DEB42487B883}" dt="2024-02-14T17:39:30.145" v="2251"/>
          <ac:spMkLst>
            <pc:docMk/>
            <pc:sldMk cId="2017698475" sldId="2147478792"/>
            <ac:spMk id="29" creationId="{DE45D884-9472-D6BC-FB38-570080C3FA5F}"/>
          </ac:spMkLst>
        </pc:spChg>
        <pc:spChg chg="add mod">
          <ac:chgData name="SEIMANDI, Matthieu" userId="a1af33a6-fb38-46b3-9399-8c933e699451" providerId="ADAL" clId="{430C985F-A311-4434-952C-DEB42487B883}" dt="2024-02-14T17:39:30.145" v="2251"/>
          <ac:spMkLst>
            <pc:docMk/>
            <pc:sldMk cId="2017698475" sldId="2147478792"/>
            <ac:spMk id="31" creationId="{47E978B0-11E6-95AC-3754-B2A21232F770}"/>
          </ac:spMkLst>
        </pc:spChg>
        <pc:spChg chg="del">
          <ac:chgData name="SEIMANDI, Matthieu" userId="a1af33a6-fb38-46b3-9399-8c933e699451" providerId="ADAL" clId="{430C985F-A311-4434-952C-DEB42487B883}" dt="2024-02-14T17:39:29.645" v="2250" actId="478"/>
          <ac:spMkLst>
            <pc:docMk/>
            <pc:sldMk cId="2017698475" sldId="2147478792"/>
            <ac:spMk id="35" creationId="{E1C52E6E-6E98-843F-A0CD-7CC59A03E7A1}"/>
          </ac:spMkLst>
        </pc:spChg>
        <pc:spChg chg="del">
          <ac:chgData name="SEIMANDI, Matthieu" userId="a1af33a6-fb38-46b3-9399-8c933e699451" providerId="ADAL" clId="{430C985F-A311-4434-952C-DEB42487B883}" dt="2024-02-14T17:39:29.645" v="2250" actId="478"/>
          <ac:spMkLst>
            <pc:docMk/>
            <pc:sldMk cId="2017698475" sldId="2147478792"/>
            <ac:spMk id="37" creationId="{AE8B6FA8-4973-805F-DFAB-F03DC6016E3F}"/>
          </ac:spMkLst>
        </pc:spChg>
        <pc:spChg chg="mod">
          <ac:chgData name="SEIMANDI, Matthieu" userId="a1af33a6-fb38-46b3-9399-8c933e699451" providerId="ADAL" clId="{430C985F-A311-4434-952C-DEB42487B883}" dt="2024-02-15T16:39:26.913" v="5157" actId="1035"/>
          <ac:spMkLst>
            <pc:docMk/>
            <pc:sldMk cId="2017698475" sldId="2147478792"/>
            <ac:spMk id="39" creationId="{BAE2CA40-0B88-191E-2C43-40731AA996A8}"/>
          </ac:spMkLst>
        </pc:spChg>
        <pc:spChg chg="mod">
          <ac:chgData name="SEIMANDI, Matthieu" userId="a1af33a6-fb38-46b3-9399-8c933e699451" providerId="ADAL" clId="{430C985F-A311-4434-952C-DEB42487B883}" dt="2024-02-15T16:39:26.913" v="5157" actId="1035"/>
          <ac:spMkLst>
            <pc:docMk/>
            <pc:sldMk cId="2017698475" sldId="2147478792"/>
            <ac:spMk id="40" creationId="{E3BA2324-879D-1E36-C5EF-44039E7537D2}"/>
          </ac:spMkLst>
        </pc:spChg>
        <pc:picChg chg="del">
          <ac:chgData name="SEIMANDI, Matthieu" userId="a1af33a6-fb38-46b3-9399-8c933e699451" providerId="ADAL" clId="{430C985F-A311-4434-952C-DEB42487B883}" dt="2024-02-14T17:33:54.748" v="2090" actId="478"/>
          <ac:picMkLst>
            <pc:docMk/>
            <pc:sldMk cId="2017698475" sldId="2147478792"/>
            <ac:picMk id="3" creationId="{2F0CF120-A084-BE83-ED9C-6EDF280A3740}"/>
          </ac:picMkLst>
        </pc:picChg>
        <pc:picChg chg="add mod ord modCrop">
          <ac:chgData name="SEIMANDI, Matthieu" userId="a1af33a6-fb38-46b3-9399-8c933e699451" providerId="ADAL" clId="{430C985F-A311-4434-952C-DEB42487B883}" dt="2024-02-14T17:33:56.874" v="2091" actId="167"/>
          <ac:picMkLst>
            <pc:docMk/>
            <pc:sldMk cId="2017698475" sldId="2147478792"/>
            <ac:picMk id="11" creationId="{6FBA7031-E413-5C65-A39F-1437E1106AF8}"/>
          </ac:picMkLst>
        </pc:picChg>
        <pc:picChg chg="add mod">
          <ac:chgData name="SEIMANDI, Matthieu" userId="a1af33a6-fb38-46b3-9399-8c933e699451" providerId="ADAL" clId="{430C985F-A311-4434-952C-DEB42487B883}" dt="2024-02-14T17:39:30.145" v="2251"/>
          <ac:picMkLst>
            <pc:docMk/>
            <pc:sldMk cId="2017698475" sldId="2147478792"/>
            <ac:picMk id="32" creationId="{66D444BD-77B6-CBF2-7900-BDF09CFC12B3}"/>
          </ac:picMkLst>
        </pc:picChg>
        <pc:cxnChg chg="add del mod">
          <ac:chgData name="SEIMANDI, Matthieu" userId="a1af33a6-fb38-46b3-9399-8c933e699451" providerId="ADAL" clId="{430C985F-A311-4434-952C-DEB42487B883}" dt="2024-02-14T17:39:34.282" v="2252" actId="478"/>
          <ac:cxnSpMkLst>
            <pc:docMk/>
            <pc:sldMk cId="2017698475" sldId="2147478792"/>
            <ac:cxnSpMk id="13" creationId="{9D4E521B-46C9-AAED-60D3-08D0C63E00EB}"/>
          </ac:cxnSpMkLst>
        </pc:cxnChg>
        <pc:cxnChg chg="add mod">
          <ac:chgData name="SEIMANDI, Matthieu" userId="a1af33a6-fb38-46b3-9399-8c933e699451" providerId="ADAL" clId="{430C985F-A311-4434-952C-DEB42487B883}" dt="2024-02-14T17:39:30.145" v="2251"/>
          <ac:cxnSpMkLst>
            <pc:docMk/>
            <pc:sldMk cId="2017698475" sldId="2147478792"/>
            <ac:cxnSpMk id="38" creationId="{D10ABCD0-5E25-EA6F-72D0-EB8953DCEA3F}"/>
          </ac:cxnSpMkLst>
        </pc:cxnChg>
        <pc:cxnChg chg="add mod">
          <ac:chgData name="SEIMANDI, Matthieu" userId="a1af33a6-fb38-46b3-9399-8c933e699451" providerId="ADAL" clId="{430C985F-A311-4434-952C-DEB42487B883}" dt="2024-02-14T17:39:30.145" v="2251"/>
          <ac:cxnSpMkLst>
            <pc:docMk/>
            <pc:sldMk cId="2017698475" sldId="2147478792"/>
            <ac:cxnSpMk id="41" creationId="{7934D464-285A-4296-8F5D-AA3DDC2FEEF0}"/>
          </ac:cxnSpMkLst>
        </pc:cxnChg>
        <pc:cxnChg chg="add mod">
          <ac:chgData name="SEIMANDI, Matthieu" userId="a1af33a6-fb38-46b3-9399-8c933e699451" providerId="ADAL" clId="{430C985F-A311-4434-952C-DEB42487B883}" dt="2024-02-14T17:39:56.473" v="2257" actId="14100"/>
          <ac:cxnSpMkLst>
            <pc:docMk/>
            <pc:sldMk cId="2017698475" sldId="2147478792"/>
            <ac:cxnSpMk id="42" creationId="{F863CBED-A44C-90F5-FFBF-CBBDB64D4EA0}"/>
          </ac:cxnSpMkLst>
        </pc:cxnChg>
        <pc:cxnChg chg="add mod">
          <ac:chgData name="SEIMANDI, Matthieu" userId="a1af33a6-fb38-46b3-9399-8c933e699451" providerId="ADAL" clId="{430C985F-A311-4434-952C-DEB42487B883}" dt="2024-02-15T16:39:26.913" v="5157" actId="1035"/>
          <ac:cxnSpMkLst>
            <pc:docMk/>
            <pc:sldMk cId="2017698475" sldId="2147478792"/>
            <ac:cxnSpMk id="43" creationId="{F7D151B9-37F0-E60E-ABD2-B6C5B5B469A4}"/>
          </ac:cxnSpMkLst>
        </pc:cxnChg>
        <pc:extLst>
          <p:ext xmlns:p="http://schemas.openxmlformats.org/presentationml/2006/main" uri="{D6D511B9-2390-475A-947B-AFAB55BFBCF1}">
            <pc226:cmChg xmlns:pc226="http://schemas.microsoft.com/office/powerpoint/2022/06/main/command" chg="del">
              <pc226:chgData name="SEIMANDI, Matthieu" userId="a1af33a6-fb38-46b3-9399-8c933e699451" providerId="ADAL" clId="{430C985F-A311-4434-952C-DEB42487B883}" dt="2024-02-15T16:15:10.458" v="4988"/>
              <pc2:cmMkLst xmlns:pc2="http://schemas.microsoft.com/office/powerpoint/2019/9/main/command">
                <pc:docMk/>
                <pc:sldMk cId="2017698475" sldId="2147478792"/>
                <pc2:cmMk id="{F639993E-6D7D-4BC1-8C6E-DCB88B40B2CF}"/>
              </pc2:cmMkLst>
            </pc226:cmChg>
          </p:ext>
        </pc:extLst>
      </pc:sldChg>
      <pc:sldChg chg="modSp add mod ord modShow">
        <pc:chgData name="SEIMANDI, Matthieu" userId="a1af33a6-fb38-46b3-9399-8c933e699451" providerId="ADAL" clId="{430C985F-A311-4434-952C-DEB42487B883}" dt="2024-02-20T10:30:06.898" v="5426" actId="14100"/>
        <pc:sldMkLst>
          <pc:docMk/>
          <pc:sldMk cId="1421505589" sldId="2147481372"/>
        </pc:sldMkLst>
        <pc:spChg chg="mod">
          <ac:chgData name="SEIMANDI, Matthieu" userId="a1af33a6-fb38-46b3-9399-8c933e699451" providerId="ADAL" clId="{430C985F-A311-4434-952C-DEB42487B883}" dt="2024-02-20T10:30:06.898" v="5426" actId="14100"/>
          <ac:spMkLst>
            <pc:docMk/>
            <pc:sldMk cId="1421505589" sldId="2147481372"/>
            <ac:spMk id="826" creationId="{A9DF6CE7-0FAB-FADA-DCF9-833F76AA6CAF}"/>
          </ac:spMkLst>
        </pc:spChg>
      </pc:sldChg>
      <pc:sldChg chg="add mod modShow">
        <pc:chgData name="SEIMANDI, Matthieu" userId="a1af33a6-fb38-46b3-9399-8c933e699451" providerId="ADAL" clId="{430C985F-A311-4434-952C-DEB42487B883}" dt="2024-02-15T09:12:30.145" v="2296" actId="729"/>
        <pc:sldMkLst>
          <pc:docMk/>
          <pc:sldMk cId="1626264462" sldId="2147481373"/>
        </pc:sldMkLst>
      </pc:sldChg>
      <pc:sldChg chg="delSp modSp add mod">
        <pc:chgData name="SEIMANDI, Matthieu" userId="a1af33a6-fb38-46b3-9399-8c933e699451" providerId="ADAL" clId="{430C985F-A311-4434-952C-DEB42487B883}" dt="2024-02-15T13:37:01.254" v="4708" actId="1036"/>
        <pc:sldMkLst>
          <pc:docMk/>
          <pc:sldMk cId="2394442523" sldId="2147481374"/>
        </pc:sldMkLst>
        <pc:spChg chg="mod">
          <ac:chgData name="SEIMANDI, Matthieu" userId="a1af33a6-fb38-46b3-9399-8c933e699451" providerId="ADAL" clId="{430C985F-A311-4434-952C-DEB42487B883}" dt="2024-02-15T13:37:01.254" v="4708" actId="1036"/>
          <ac:spMkLst>
            <pc:docMk/>
            <pc:sldMk cId="2394442523" sldId="2147481374"/>
            <ac:spMk id="4" creationId="{F70B5561-A524-30B6-A364-8CAD3C2679F3}"/>
          </ac:spMkLst>
        </pc:spChg>
        <pc:spChg chg="mod ord">
          <ac:chgData name="SEIMANDI, Matthieu" userId="a1af33a6-fb38-46b3-9399-8c933e699451" providerId="ADAL" clId="{430C985F-A311-4434-952C-DEB42487B883}" dt="2024-02-15T13:37:01.254" v="4708" actId="1036"/>
          <ac:spMkLst>
            <pc:docMk/>
            <pc:sldMk cId="2394442523" sldId="2147481374"/>
            <ac:spMk id="5" creationId="{9C71A988-9D8E-3165-10BA-30D975A08C5A}"/>
          </ac:spMkLst>
        </pc:spChg>
        <pc:spChg chg="mod">
          <ac:chgData name="SEIMANDI, Matthieu" userId="a1af33a6-fb38-46b3-9399-8c933e699451" providerId="ADAL" clId="{430C985F-A311-4434-952C-DEB42487B883}" dt="2024-02-15T13:37:01.254" v="4708" actId="1036"/>
          <ac:spMkLst>
            <pc:docMk/>
            <pc:sldMk cId="2394442523" sldId="2147481374"/>
            <ac:spMk id="6" creationId="{ECD049D0-507D-8B90-093E-652C3E9DF002}"/>
          </ac:spMkLst>
        </pc:spChg>
        <pc:spChg chg="mod">
          <ac:chgData name="SEIMANDI, Matthieu" userId="a1af33a6-fb38-46b3-9399-8c933e699451" providerId="ADAL" clId="{430C985F-A311-4434-952C-DEB42487B883}" dt="2024-02-15T13:37:01.254" v="4708" actId="1036"/>
          <ac:spMkLst>
            <pc:docMk/>
            <pc:sldMk cId="2394442523" sldId="2147481374"/>
            <ac:spMk id="8" creationId="{C29418C1-9FB8-8782-AC12-A148EDE176A4}"/>
          </ac:spMkLst>
        </pc:spChg>
        <pc:spChg chg="mod">
          <ac:chgData name="SEIMANDI, Matthieu" userId="a1af33a6-fb38-46b3-9399-8c933e699451" providerId="ADAL" clId="{430C985F-A311-4434-952C-DEB42487B883}" dt="2024-02-15T13:37:01.254" v="4708" actId="1036"/>
          <ac:spMkLst>
            <pc:docMk/>
            <pc:sldMk cId="2394442523" sldId="2147481374"/>
            <ac:spMk id="10" creationId="{0DF75F0C-698E-AFE5-C72D-08EEF5C67A4D}"/>
          </ac:spMkLst>
        </pc:spChg>
        <pc:spChg chg="mod">
          <ac:chgData name="SEIMANDI, Matthieu" userId="a1af33a6-fb38-46b3-9399-8c933e699451" providerId="ADAL" clId="{430C985F-A311-4434-952C-DEB42487B883}" dt="2024-02-15T13:37:01.254" v="4708" actId="1036"/>
          <ac:spMkLst>
            <pc:docMk/>
            <pc:sldMk cId="2394442523" sldId="2147481374"/>
            <ac:spMk id="11" creationId="{0EE19CB1-E5EF-DC39-99AF-836027DBD92D}"/>
          </ac:spMkLst>
        </pc:spChg>
        <pc:spChg chg="mod">
          <ac:chgData name="SEIMANDI, Matthieu" userId="a1af33a6-fb38-46b3-9399-8c933e699451" providerId="ADAL" clId="{430C985F-A311-4434-952C-DEB42487B883}" dt="2024-02-15T13:37:01.254" v="4708" actId="1036"/>
          <ac:spMkLst>
            <pc:docMk/>
            <pc:sldMk cId="2394442523" sldId="2147481374"/>
            <ac:spMk id="14" creationId="{82CE27B6-C744-0E84-8F0A-DC5FFE27E60C}"/>
          </ac:spMkLst>
        </pc:spChg>
        <pc:spChg chg="mod">
          <ac:chgData name="SEIMANDI, Matthieu" userId="a1af33a6-fb38-46b3-9399-8c933e699451" providerId="ADAL" clId="{430C985F-A311-4434-952C-DEB42487B883}" dt="2024-02-15T13:37:01.254" v="4708" actId="1036"/>
          <ac:spMkLst>
            <pc:docMk/>
            <pc:sldMk cId="2394442523" sldId="2147481374"/>
            <ac:spMk id="15" creationId="{DE6DBB30-65D0-EF1E-DE43-FFE9F8F6C96A}"/>
          </ac:spMkLst>
        </pc:spChg>
        <pc:spChg chg="mod">
          <ac:chgData name="SEIMANDI, Matthieu" userId="a1af33a6-fb38-46b3-9399-8c933e699451" providerId="ADAL" clId="{430C985F-A311-4434-952C-DEB42487B883}" dt="2024-02-15T13:37:01.254" v="4708" actId="1036"/>
          <ac:spMkLst>
            <pc:docMk/>
            <pc:sldMk cId="2394442523" sldId="2147481374"/>
            <ac:spMk id="16" creationId="{5B374284-8261-CC16-673E-6F5294D90323}"/>
          </ac:spMkLst>
        </pc:spChg>
        <pc:spChg chg="mod">
          <ac:chgData name="SEIMANDI, Matthieu" userId="a1af33a6-fb38-46b3-9399-8c933e699451" providerId="ADAL" clId="{430C985F-A311-4434-952C-DEB42487B883}" dt="2024-02-15T13:37:01.254" v="4708" actId="1036"/>
          <ac:spMkLst>
            <pc:docMk/>
            <pc:sldMk cId="2394442523" sldId="2147481374"/>
            <ac:spMk id="18" creationId="{CA5198A7-4AA2-36CC-06AB-5CF10CF8B753}"/>
          </ac:spMkLst>
        </pc:spChg>
        <pc:spChg chg="mod">
          <ac:chgData name="SEIMANDI, Matthieu" userId="a1af33a6-fb38-46b3-9399-8c933e699451" providerId="ADAL" clId="{430C985F-A311-4434-952C-DEB42487B883}" dt="2024-02-15T13:37:01.254" v="4708" actId="1036"/>
          <ac:spMkLst>
            <pc:docMk/>
            <pc:sldMk cId="2394442523" sldId="2147481374"/>
            <ac:spMk id="20" creationId="{9D0E2001-4429-5BEC-1D90-4F8A07305BCE}"/>
          </ac:spMkLst>
        </pc:spChg>
        <pc:spChg chg="mod">
          <ac:chgData name="SEIMANDI, Matthieu" userId="a1af33a6-fb38-46b3-9399-8c933e699451" providerId="ADAL" clId="{430C985F-A311-4434-952C-DEB42487B883}" dt="2024-02-15T13:37:01.254" v="4708" actId="1036"/>
          <ac:spMkLst>
            <pc:docMk/>
            <pc:sldMk cId="2394442523" sldId="2147481374"/>
            <ac:spMk id="22" creationId="{AA250B68-AE7D-4641-9E31-3B80F4B4E232}"/>
          </ac:spMkLst>
        </pc:spChg>
        <pc:spChg chg="mod">
          <ac:chgData name="SEIMANDI, Matthieu" userId="a1af33a6-fb38-46b3-9399-8c933e699451" providerId="ADAL" clId="{430C985F-A311-4434-952C-DEB42487B883}" dt="2024-02-15T13:37:01.254" v="4708" actId="1036"/>
          <ac:spMkLst>
            <pc:docMk/>
            <pc:sldMk cId="2394442523" sldId="2147481374"/>
            <ac:spMk id="23" creationId="{C389F49D-D6F8-5409-DABB-F84244D697AA}"/>
          </ac:spMkLst>
        </pc:spChg>
        <pc:spChg chg="mod topLvl">
          <ac:chgData name="SEIMANDI, Matthieu" userId="a1af33a6-fb38-46b3-9399-8c933e699451" providerId="ADAL" clId="{430C985F-A311-4434-952C-DEB42487B883}" dt="2024-02-15T13:37:01.254" v="4708" actId="1036"/>
          <ac:spMkLst>
            <pc:docMk/>
            <pc:sldMk cId="2394442523" sldId="2147481374"/>
            <ac:spMk id="25" creationId="{1F1B31F0-5043-03AA-826C-065EB9ED9F81}"/>
          </ac:spMkLst>
        </pc:spChg>
        <pc:spChg chg="mod topLvl">
          <ac:chgData name="SEIMANDI, Matthieu" userId="a1af33a6-fb38-46b3-9399-8c933e699451" providerId="ADAL" clId="{430C985F-A311-4434-952C-DEB42487B883}" dt="2024-02-15T13:37:01.254" v="4708" actId="1036"/>
          <ac:spMkLst>
            <pc:docMk/>
            <pc:sldMk cId="2394442523" sldId="2147481374"/>
            <ac:spMk id="29" creationId="{0605FAB6-FFB8-EE70-8D59-36ADEE79CFE4}"/>
          </ac:spMkLst>
        </pc:spChg>
        <pc:spChg chg="mod topLvl">
          <ac:chgData name="SEIMANDI, Matthieu" userId="a1af33a6-fb38-46b3-9399-8c933e699451" providerId="ADAL" clId="{430C985F-A311-4434-952C-DEB42487B883}" dt="2024-02-15T13:37:01.254" v="4708" actId="1036"/>
          <ac:spMkLst>
            <pc:docMk/>
            <pc:sldMk cId="2394442523" sldId="2147481374"/>
            <ac:spMk id="30" creationId="{BD9D5BD5-506B-A5B4-7F3E-78904AABCDBB}"/>
          </ac:spMkLst>
        </pc:spChg>
        <pc:spChg chg="mod topLvl">
          <ac:chgData name="SEIMANDI, Matthieu" userId="a1af33a6-fb38-46b3-9399-8c933e699451" providerId="ADAL" clId="{430C985F-A311-4434-952C-DEB42487B883}" dt="2024-02-15T13:37:01.254" v="4708" actId="1036"/>
          <ac:spMkLst>
            <pc:docMk/>
            <pc:sldMk cId="2394442523" sldId="2147481374"/>
            <ac:spMk id="75" creationId="{84136771-B7E3-259D-DB7A-D2F488731447}"/>
          </ac:spMkLst>
        </pc:spChg>
        <pc:spChg chg="mod topLvl">
          <ac:chgData name="SEIMANDI, Matthieu" userId="a1af33a6-fb38-46b3-9399-8c933e699451" providerId="ADAL" clId="{430C985F-A311-4434-952C-DEB42487B883}" dt="2024-02-15T13:37:01.254" v="4708" actId="1036"/>
          <ac:spMkLst>
            <pc:docMk/>
            <pc:sldMk cId="2394442523" sldId="2147481374"/>
            <ac:spMk id="76" creationId="{56C36992-1FC3-C2AC-B2CA-4D0E4677E6E0}"/>
          </ac:spMkLst>
        </pc:spChg>
        <pc:spChg chg="mod ord topLvl">
          <ac:chgData name="SEIMANDI, Matthieu" userId="a1af33a6-fb38-46b3-9399-8c933e699451" providerId="ADAL" clId="{430C985F-A311-4434-952C-DEB42487B883}" dt="2024-02-15T13:37:01.254" v="4708" actId="1036"/>
          <ac:spMkLst>
            <pc:docMk/>
            <pc:sldMk cId="2394442523" sldId="2147481374"/>
            <ac:spMk id="77" creationId="{E98B1718-C9A8-BD35-8171-FB4F1BC833DC}"/>
          </ac:spMkLst>
        </pc:spChg>
        <pc:spChg chg="mod topLvl">
          <ac:chgData name="SEIMANDI, Matthieu" userId="a1af33a6-fb38-46b3-9399-8c933e699451" providerId="ADAL" clId="{430C985F-A311-4434-952C-DEB42487B883}" dt="2024-02-15T13:37:01.254" v="4708" actId="1036"/>
          <ac:spMkLst>
            <pc:docMk/>
            <pc:sldMk cId="2394442523" sldId="2147481374"/>
            <ac:spMk id="78" creationId="{8F045C2A-F415-1F18-96DA-944E0AEC1CC5}"/>
          </ac:spMkLst>
        </pc:spChg>
        <pc:spChg chg="mod topLvl">
          <ac:chgData name="SEIMANDI, Matthieu" userId="a1af33a6-fb38-46b3-9399-8c933e699451" providerId="ADAL" clId="{430C985F-A311-4434-952C-DEB42487B883}" dt="2024-02-15T13:37:01.254" v="4708" actId="1036"/>
          <ac:spMkLst>
            <pc:docMk/>
            <pc:sldMk cId="2394442523" sldId="2147481374"/>
            <ac:spMk id="79" creationId="{E9EBD45F-2873-57E1-14A7-F4C795714377}"/>
          </ac:spMkLst>
        </pc:spChg>
        <pc:spChg chg="mod topLvl">
          <ac:chgData name="SEIMANDI, Matthieu" userId="a1af33a6-fb38-46b3-9399-8c933e699451" providerId="ADAL" clId="{430C985F-A311-4434-952C-DEB42487B883}" dt="2024-02-15T13:37:01.254" v="4708" actId="1036"/>
          <ac:spMkLst>
            <pc:docMk/>
            <pc:sldMk cId="2394442523" sldId="2147481374"/>
            <ac:spMk id="80" creationId="{EECEDC4B-D228-B65A-AC11-F2ED28B9B7BF}"/>
          </ac:spMkLst>
        </pc:spChg>
        <pc:spChg chg="mod ord">
          <ac:chgData name="SEIMANDI, Matthieu" userId="a1af33a6-fb38-46b3-9399-8c933e699451" providerId="ADAL" clId="{430C985F-A311-4434-952C-DEB42487B883}" dt="2024-02-15T13:37:01.254" v="4708" actId="1036"/>
          <ac:spMkLst>
            <pc:docMk/>
            <pc:sldMk cId="2394442523" sldId="2147481374"/>
            <ac:spMk id="81" creationId="{D985C2F9-82FC-413B-EA17-713C2BFDC880}"/>
          </ac:spMkLst>
        </pc:spChg>
        <pc:spChg chg="mod">
          <ac:chgData name="SEIMANDI, Matthieu" userId="a1af33a6-fb38-46b3-9399-8c933e699451" providerId="ADAL" clId="{430C985F-A311-4434-952C-DEB42487B883}" dt="2024-02-15T13:37:01.254" v="4708" actId="1036"/>
          <ac:spMkLst>
            <pc:docMk/>
            <pc:sldMk cId="2394442523" sldId="2147481374"/>
            <ac:spMk id="85" creationId="{3142D735-7D4E-99FB-6898-C38B7712D745}"/>
          </ac:spMkLst>
        </pc:spChg>
        <pc:spChg chg="mod">
          <ac:chgData name="SEIMANDI, Matthieu" userId="a1af33a6-fb38-46b3-9399-8c933e699451" providerId="ADAL" clId="{430C985F-A311-4434-952C-DEB42487B883}" dt="2024-02-15T13:37:01.254" v="4708" actId="1036"/>
          <ac:spMkLst>
            <pc:docMk/>
            <pc:sldMk cId="2394442523" sldId="2147481374"/>
            <ac:spMk id="86" creationId="{D68C3EDE-9B9D-CD40-720C-17ADF53C3D6E}"/>
          </ac:spMkLst>
        </pc:spChg>
        <pc:spChg chg="mod">
          <ac:chgData name="SEIMANDI, Matthieu" userId="a1af33a6-fb38-46b3-9399-8c933e699451" providerId="ADAL" clId="{430C985F-A311-4434-952C-DEB42487B883}" dt="2024-02-15T13:37:01.254" v="4708" actId="1036"/>
          <ac:spMkLst>
            <pc:docMk/>
            <pc:sldMk cId="2394442523" sldId="2147481374"/>
            <ac:spMk id="89" creationId="{55C2A91B-3964-27FA-8E9D-3A72ADB82541}"/>
          </ac:spMkLst>
        </pc:spChg>
        <pc:spChg chg="mod">
          <ac:chgData name="SEIMANDI, Matthieu" userId="a1af33a6-fb38-46b3-9399-8c933e699451" providerId="ADAL" clId="{430C985F-A311-4434-952C-DEB42487B883}" dt="2024-02-15T13:37:01.254" v="4708" actId="1036"/>
          <ac:spMkLst>
            <pc:docMk/>
            <pc:sldMk cId="2394442523" sldId="2147481374"/>
            <ac:spMk id="90" creationId="{F1686B6A-27CF-9C4C-100E-7DEF2A19FADE}"/>
          </ac:spMkLst>
        </pc:spChg>
        <pc:spChg chg="mod">
          <ac:chgData name="SEIMANDI, Matthieu" userId="a1af33a6-fb38-46b3-9399-8c933e699451" providerId="ADAL" clId="{430C985F-A311-4434-952C-DEB42487B883}" dt="2024-02-15T13:37:01.254" v="4708" actId="1036"/>
          <ac:spMkLst>
            <pc:docMk/>
            <pc:sldMk cId="2394442523" sldId="2147481374"/>
            <ac:spMk id="94" creationId="{BACFC22F-AE4D-3ADF-8A96-765C5517348D}"/>
          </ac:spMkLst>
        </pc:spChg>
        <pc:spChg chg="mod">
          <ac:chgData name="SEIMANDI, Matthieu" userId="a1af33a6-fb38-46b3-9399-8c933e699451" providerId="ADAL" clId="{430C985F-A311-4434-952C-DEB42487B883}" dt="2024-02-15T13:37:01.254" v="4708" actId="1036"/>
          <ac:spMkLst>
            <pc:docMk/>
            <pc:sldMk cId="2394442523" sldId="2147481374"/>
            <ac:spMk id="95" creationId="{F36882AD-9693-21C6-0F58-C67972A8CEF5}"/>
          </ac:spMkLst>
        </pc:spChg>
        <pc:spChg chg="mod">
          <ac:chgData name="SEIMANDI, Matthieu" userId="a1af33a6-fb38-46b3-9399-8c933e699451" providerId="ADAL" clId="{430C985F-A311-4434-952C-DEB42487B883}" dt="2024-02-15T13:37:01.254" v="4708" actId="1036"/>
          <ac:spMkLst>
            <pc:docMk/>
            <pc:sldMk cId="2394442523" sldId="2147481374"/>
            <ac:spMk id="100" creationId="{47892657-D8D6-941C-44BC-DED428FB180D}"/>
          </ac:spMkLst>
        </pc:spChg>
        <pc:spChg chg="mod">
          <ac:chgData name="SEIMANDI, Matthieu" userId="a1af33a6-fb38-46b3-9399-8c933e699451" providerId="ADAL" clId="{430C985F-A311-4434-952C-DEB42487B883}" dt="2024-02-15T13:37:01.254" v="4708" actId="1036"/>
          <ac:spMkLst>
            <pc:docMk/>
            <pc:sldMk cId="2394442523" sldId="2147481374"/>
            <ac:spMk id="102" creationId="{66220900-DF34-2D66-F358-B25A06313B0C}"/>
          </ac:spMkLst>
        </pc:spChg>
        <pc:spChg chg="mod">
          <ac:chgData name="SEIMANDI, Matthieu" userId="a1af33a6-fb38-46b3-9399-8c933e699451" providerId="ADAL" clId="{430C985F-A311-4434-952C-DEB42487B883}" dt="2024-02-15T13:37:01.254" v="4708" actId="1036"/>
          <ac:spMkLst>
            <pc:docMk/>
            <pc:sldMk cId="2394442523" sldId="2147481374"/>
            <ac:spMk id="104" creationId="{2E398911-99D3-6EE5-54A4-C5035583225C}"/>
          </ac:spMkLst>
        </pc:spChg>
        <pc:spChg chg="mod">
          <ac:chgData name="SEIMANDI, Matthieu" userId="a1af33a6-fb38-46b3-9399-8c933e699451" providerId="ADAL" clId="{430C985F-A311-4434-952C-DEB42487B883}" dt="2024-02-15T13:37:01.254" v="4708" actId="1036"/>
          <ac:spMkLst>
            <pc:docMk/>
            <pc:sldMk cId="2394442523" sldId="2147481374"/>
            <ac:spMk id="107" creationId="{7EC35E3A-AEDD-55C1-8408-7298D2F1E6BE}"/>
          </ac:spMkLst>
        </pc:spChg>
        <pc:spChg chg="mod">
          <ac:chgData name="SEIMANDI, Matthieu" userId="a1af33a6-fb38-46b3-9399-8c933e699451" providerId="ADAL" clId="{430C985F-A311-4434-952C-DEB42487B883}" dt="2024-02-15T13:37:01.254" v="4708" actId="1036"/>
          <ac:spMkLst>
            <pc:docMk/>
            <pc:sldMk cId="2394442523" sldId="2147481374"/>
            <ac:spMk id="108" creationId="{5816AEE7-378D-7269-C4C2-EF26A117A303}"/>
          </ac:spMkLst>
        </pc:spChg>
        <pc:spChg chg="mod">
          <ac:chgData name="SEIMANDI, Matthieu" userId="a1af33a6-fb38-46b3-9399-8c933e699451" providerId="ADAL" clId="{430C985F-A311-4434-952C-DEB42487B883}" dt="2024-02-15T13:37:01.254" v="4708" actId="1036"/>
          <ac:spMkLst>
            <pc:docMk/>
            <pc:sldMk cId="2394442523" sldId="2147481374"/>
            <ac:spMk id="109" creationId="{98F1D41D-D9A2-0CC3-EE70-77A01AB2F08D}"/>
          </ac:spMkLst>
        </pc:spChg>
        <pc:spChg chg="mod">
          <ac:chgData name="SEIMANDI, Matthieu" userId="a1af33a6-fb38-46b3-9399-8c933e699451" providerId="ADAL" clId="{430C985F-A311-4434-952C-DEB42487B883}" dt="2024-02-15T13:37:01.254" v="4708" actId="1036"/>
          <ac:spMkLst>
            <pc:docMk/>
            <pc:sldMk cId="2394442523" sldId="2147481374"/>
            <ac:spMk id="110" creationId="{0E08C5F2-11BF-6DEA-EAA2-9D161CC8325B}"/>
          </ac:spMkLst>
        </pc:spChg>
        <pc:spChg chg="mod">
          <ac:chgData name="SEIMANDI, Matthieu" userId="a1af33a6-fb38-46b3-9399-8c933e699451" providerId="ADAL" clId="{430C985F-A311-4434-952C-DEB42487B883}" dt="2024-02-15T13:37:01.254" v="4708" actId="1036"/>
          <ac:spMkLst>
            <pc:docMk/>
            <pc:sldMk cId="2394442523" sldId="2147481374"/>
            <ac:spMk id="118" creationId="{EBDDBCDC-D598-48A7-14D0-979BE07CED29}"/>
          </ac:spMkLst>
        </pc:spChg>
        <pc:spChg chg="mod">
          <ac:chgData name="SEIMANDI, Matthieu" userId="a1af33a6-fb38-46b3-9399-8c933e699451" providerId="ADAL" clId="{430C985F-A311-4434-952C-DEB42487B883}" dt="2024-02-15T13:37:01.254" v="4708" actId="1036"/>
          <ac:spMkLst>
            <pc:docMk/>
            <pc:sldMk cId="2394442523" sldId="2147481374"/>
            <ac:spMk id="119" creationId="{A4C03C8E-6CBC-EFC7-6733-3CA76797D56B}"/>
          </ac:spMkLst>
        </pc:spChg>
        <pc:spChg chg="mod">
          <ac:chgData name="SEIMANDI, Matthieu" userId="a1af33a6-fb38-46b3-9399-8c933e699451" providerId="ADAL" clId="{430C985F-A311-4434-952C-DEB42487B883}" dt="2024-02-15T13:37:01.254" v="4708" actId="1036"/>
          <ac:spMkLst>
            <pc:docMk/>
            <pc:sldMk cId="2394442523" sldId="2147481374"/>
            <ac:spMk id="120" creationId="{F70D638F-90EC-F968-0C6B-2AD359C0E5E9}"/>
          </ac:spMkLst>
        </pc:spChg>
        <pc:spChg chg="mod">
          <ac:chgData name="SEIMANDI, Matthieu" userId="a1af33a6-fb38-46b3-9399-8c933e699451" providerId="ADAL" clId="{430C985F-A311-4434-952C-DEB42487B883}" dt="2024-02-15T13:37:01.254" v="4708" actId="1036"/>
          <ac:spMkLst>
            <pc:docMk/>
            <pc:sldMk cId="2394442523" sldId="2147481374"/>
            <ac:spMk id="121" creationId="{2B05709F-6EF3-C7A7-FD7B-13D426E86AE5}"/>
          </ac:spMkLst>
        </pc:spChg>
        <pc:spChg chg="mod topLvl">
          <ac:chgData name="SEIMANDI, Matthieu" userId="a1af33a6-fb38-46b3-9399-8c933e699451" providerId="ADAL" clId="{430C985F-A311-4434-952C-DEB42487B883}" dt="2024-02-15T13:37:01.254" v="4708" actId="1036"/>
          <ac:spMkLst>
            <pc:docMk/>
            <pc:sldMk cId="2394442523" sldId="2147481374"/>
            <ac:spMk id="2048" creationId="{C9862A33-DCD8-DA1E-28C4-1CB9F71E1BCA}"/>
          </ac:spMkLst>
        </pc:spChg>
        <pc:spChg chg="mod topLvl">
          <ac:chgData name="SEIMANDI, Matthieu" userId="a1af33a6-fb38-46b3-9399-8c933e699451" providerId="ADAL" clId="{430C985F-A311-4434-952C-DEB42487B883}" dt="2024-02-15T13:37:01.254" v="4708" actId="1036"/>
          <ac:spMkLst>
            <pc:docMk/>
            <pc:sldMk cId="2394442523" sldId="2147481374"/>
            <ac:spMk id="2051" creationId="{92BED44B-B100-9906-773A-2743C8DEF983}"/>
          </ac:spMkLst>
        </pc:spChg>
        <pc:spChg chg="mod topLvl">
          <ac:chgData name="SEIMANDI, Matthieu" userId="a1af33a6-fb38-46b3-9399-8c933e699451" providerId="ADAL" clId="{430C985F-A311-4434-952C-DEB42487B883}" dt="2024-02-15T13:37:01.254" v="4708" actId="1036"/>
          <ac:spMkLst>
            <pc:docMk/>
            <pc:sldMk cId="2394442523" sldId="2147481374"/>
            <ac:spMk id="2053" creationId="{D6F487D6-9CF1-94E7-0D01-E7604299D6A6}"/>
          </ac:spMkLst>
        </pc:spChg>
        <pc:spChg chg="mod topLvl">
          <ac:chgData name="SEIMANDI, Matthieu" userId="a1af33a6-fb38-46b3-9399-8c933e699451" providerId="ADAL" clId="{430C985F-A311-4434-952C-DEB42487B883}" dt="2024-02-15T13:37:01.254" v="4708" actId="1036"/>
          <ac:spMkLst>
            <pc:docMk/>
            <pc:sldMk cId="2394442523" sldId="2147481374"/>
            <ac:spMk id="2057" creationId="{6B6606BC-26E0-F35D-A7BB-393AB1305C2C}"/>
          </ac:spMkLst>
        </pc:spChg>
        <pc:spChg chg="mod topLvl">
          <ac:chgData name="SEIMANDI, Matthieu" userId="a1af33a6-fb38-46b3-9399-8c933e699451" providerId="ADAL" clId="{430C985F-A311-4434-952C-DEB42487B883}" dt="2024-02-15T13:37:01.254" v="4708" actId="1036"/>
          <ac:spMkLst>
            <pc:docMk/>
            <pc:sldMk cId="2394442523" sldId="2147481374"/>
            <ac:spMk id="2058" creationId="{5D1935B9-AA39-9119-A7BA-5CBCB1A1ABA6}"/>
          </ac:spMkLst>
        </pc:spChg>
        <pc:spChg chg="mod topLvl">
          <ac:chgData name="SEIMANDI, Matthieu" userId="a1af33a6-fb38-46b3-9399-8c933e699451" providerId="ADAL" clId="{430C985F-A311-4434-952C-DEB42487B883}" dt="2024-02-15T13:37:01.254" v="4708" actId="1036"/>
          <ac:spMkLst>
            <pc:docMk/>
            <pc:sldMk cId="2394442523" sldId="2147481374"/>
            <ac:spMk id="2059" creationId="{C9793E28-2181-B7AE-E547-B075E9842213}"/>
          </ac:spMkLst>
        </pc:spChg>
        <pc:spChg chg="mod topLvl">
          <ac:chgData name="SEIMANDI, Matthieu" userId="a1af33a6-fb38-46b3-9399-8c933e699451" providerId="ADAL" clId="{430C985F-A311-4434-952C-DEB42487B883}" dt="2024-02-15T13:37:01.254" v="4708" actId="1036"/>
          <ac:spMkLst>
            <pc:docMk/>
            <pc:sldMk cId="2394442523" sldId="2147481374"/>
            <ac:spMk id="2061" creationId="{5A0E9551-9F04-EB48-5AFC-B69A7F29A868}"/>
          </ac:spMkLst>
        </pc:spChg>
        <pc:spChg chg="mod topLvl">
          <ac:chgData name="SEIMANDI, Matthieu" userId="a1af33a6-fb38-46b3-9399-8c933e699451" providerId="ADAL" clId="{430C985F-A311-4434-952C-DEB42487B883}" dt="2024-02-15T13:37:01.254" v="4708" actId="1036"/>
          <ac:spMkLst>
            <pc:docMk/>
            <pc:sldMk cId="2394442523" sldId="2147481374"/>
            <ac:spMk id="2063" creationId="{9B015EE1-734F-AA5D-4677-934FB2684440}"/>
          </ac:spMkLst>
        </pc:spChg>
        <pc:spChg chg="mod topLvl">
          <ac:chgData name="SEIMANDI, Matthieu" userId="a1af33a6-fb38-46b3-9399-8c933e699451" providerId="ADAL" clId="{430C985F-A311-4434-952C-DEB42487B883}" dt="2024-02-15T13:37:01.254" v="4708" actId="1036"/>
          <ac:spMkLst>
            <pc:docMk/>
            <pc:sldMk cId="2394442523" sldId="2147481374"/>
            <ac:spMk id="2064" creationId="{D45474D7-38AC-DBCD-D362-7B35AFE035BC}"/>
          </ac:spMkLst>
        </pc:spChg>
        <pc:spChg chg="mod topLvl">
          <ac:chgData name="SEIMANDI, Matthieu" userId="a1af33a6-fb38-46b3-9399-8c933e699451" providerId="ADAL" clId="{430C985F-A311-4434-952C-DEB42487B883}" dt="2024-02-15T13:37:01.254" v="4708" actId="1036"/>
          <ac:spMkLst>
            <pc:docMk/>
            <pc:sldMk cId="2394442523" sldId="2147481374"/>
            <ac:spMk id="2065" creationId="{B0104EE1-34E2-BAED-7845-5092C005B7E8}"/>
          </ac:spMkLst>
        </pc:spChg>
        <pc:spChg chg="mod topLvl">
          <ac:chgData name="SEIMANDI, Matthieu" userId="a1af33a6-fb38-46b3-9399-8c933e699451" providerId="ADAL" clId="{430C985F-A311-4434-952C-DEB42487B883}" dt="2024-02-15T13:37:01.254" v="4708" actId="1036"/>
          <ac:spMkLst>
            <pc:docMk/>
            <pc:sldMk cId="2394442523" sldId="2147481374"/>
            <ac:spMk id="2067" creationId="{2AE1086D-08E6-EEE3-5F81-47535154B35E}"/>
          </ac:spMkLst>
        </pc:spChg>
        <pc:spChg chg="mod topLvl">
          <ac:chgData name="SEIMANDI, Matthieu" userId="a1af33a6-fb38-46b3-9399-8c933e699451" providerId="ADAL" clId="{430C985F-A311-4434-952C-DEB42487B883}" dt="2024-02-15T13:37:01.254" v="4708" actId="1036"/>
          <ac:spMkLst>
            <pc:docMk/>
            <pc:sldMk cId="2394442523" sldId="2147481374"/>
            <ac:spMk id="2069" creationId="{F49B4A66-01ED-32FB-F566-E0D865FB98C6}"/>
          </ac:spMkLst>
        </pc:spChg>
        <pc:spChg chg="mod topLvl">
          <ac:chgData name="SEIMANDI, Matthieu" userId="a1af33a6-fb38-46b3-9399-8c933e699451" providerId="ADAL" clId="{430C985F-A311-4434-952C-DEB42487B883}" dt="2024-02-15T13:37:01.254" v="4708" actId="1036"/>
          <ac:spMkLst>
            <pc:docMk/>
            <pc:sldMk cId="2394442523" sldId="2147481374"/>
            <ac:spMk id="2072" creationId="{C3F5A68B-175A-F016-1CAA-D6281BF5DF2F}"/>
          </ac:spMkLst>
        </pc:spChg>
        <pc:spChg chg="mod topLvl">
          <ac:chgData name="SEIMANDI, Matthieu" userId="a1af33a6-fb38-46b3-9399-8c933e699451" providerId="ADAL" clId="{430C985F-A311-4434-952C-DEB42487B883}" dt="2024-02-15T13:37:01.254" v="4708" actId="1036"/>
          <ac:spMkLst>
            <pc:docMk/>
            <pc:sldMk cId="2394442523" sldId="2147481374"/>
            <ac:spMk id="2074" creationId="{9E42CAAE-74B1-1899-43D0-14D887CA369A}"/>
          </ac:spMkLst>
        </pc:spChg>
        <pc:spChg chg="mod topLvl">
          <ac:chgData name="SEIMANDI, Matthieu" userId="a1af33a6-fb38-46b3-9399-8c933e699451" providerId="ADAL" clId="{430C985F-A311-4434-952C-DEB42487B883}" dt="2024-02-15T13:37:01.254" v="4708" actId="1036"/>
          <ac:spMkLst>
            <pc:docMk/>
            <pc:sldMk cId="2394442523" sldId="2147481374"/>
            <ac:spMk id="2075" creationId="{5D048211-BB0D-2ABF-14AE-EF3B71455FE3}"/>
          </ac:spMkLst>
        </pc:spChg>
        <pc:spChg chg="mod topLvl">
          <ac:chgData name="SEIMANDI, Matthieu" userId="a1af33a6-fb38-46b3-9399-8c933e699451" providerId="ADAL" clId="{430C985F-A311-4434-952C-DEB42487B883}" dt="2024-02-15T13:37:01.254" v="4708" actId="1036"/>
          <ac:spMkLst>
            <pc:docMk/>
            <pc:sldMk cId="2394442523" sldId="2147481374"/>
            <ac:spMk id="2078" creationId="{FEC78C6A-5961-68F3-FF1A-C0FED8E85CE6}"/>
          </ac:spMkLst>
        </pc:spChg>
        <pc:spChg chg="mod">
          <ac:chgData name="SEIMANDI, Matthieu" userId="a1af33a6-fb38-46b3-9399-8c933e699451" providerId="ADAL" clId="{430C985F-A311-4434-952C-DEB42487B883}" dt="2024-02-15T13:37:01.254" v="4708" actId="1036"/>
          <ac:spMkLst>
            <pc:docMk/>
            <pc:sldMk cId="2394442523" sldId="2147481374"/>
            <ac:spMk id="2083" creationId="{5DAA30FC-194E-EFE5-57B1-39A978CFE33D}"/>
          </ac:spMkLst>
        </pc:spChg>
        <pc:spChg chg="mod">
          <ac:chgData name="SEIMANDI, Matthieu" userId="a1af33a6-fb38-46b3-9399-8c933e699451" providerId="ADAL" clId="{430C985F-A311-4434-952C-DEB42487B883}" dt="2024-02-15T13:37:01.254" v="4708" actId="1036"/>
          <ac:spMkLst>
            <pc:docMk/>
            <pc:sldMk cId="2394442523" sldId="2147481374"/>
            <ac:spMk id="2089" creationId="{1CD171C1-0146-5296-5286-3E7DB896CCDA}"/>
          </ac:spMkLst>
        </pc:spChg>
        <pc:grpChg chg="del mod">
          <ac:chgData name="SEIMANDI, Matthieu" userId="a1af33a6-fb38-46b3-9399-8c933e699451" providerId="ADAL" clId="{430C985F-A311-4434-952C-DEB42487B883}" dt="2024-02-15T13:32:58.842" v="4396" actId="165"/>
          <ac:grpSpMkLst>
            <pc:docMk/>
            <pc:sldMk cId="2394442523" sldId="2147481374"/>
            <ac:grpSpMk id="12" creationId="{3556C404-0F56-DC11-91E0-D1EA054BD581}"/>
          </ac:grpSpMkLst>
        </pc:grpChg>
        <pc:grpChg chg="mod">
          <ac:chgData name="SEIMANDI, Matthieu" userId="a1af33a6-fb38-46b3-9399-8c933e699451" providerId="ADAL" clId="{430C985F-A311-4434-952C-DEB42487B883}" dt="2024-02-15T13:37:01.254" v="4708" actId="1036"/>
          <ac:grpSpMkLst>
            <pc:docMk/>
            <pc:sldMk cId="2394442523" sldId="2147481374"/>
            <ac:grpSpMk id="69" creationId="{91854A36-A527-11B8-F878-F95B569E242E}"/>
          </ac:grpSpMkLst>
        </pc:grpChg>
        <pc:grpChg chg="mod">
          <ac:chgData name="SEIMANDI, Matthieu" userId="a1af33a6-fb38-46b3-9399-8c933e699451" providerId="ADAL" clId="{430C985F-A311-4434-952C-DEB42487B883}" dt="2024-02-15T13:37:01.254" v="4708" actId="1036"/>
          <ac:grpSpMkLst>
            <pc:docMk/>
            <pc:sldMk cId="2394442523" sldId="2147481374"/>
            <ac:grpSpMk id="82" creationId="{EC5ADE86-01FF-09A5-D283-1AF42108F0F3}"/>
          </ac:grpSpMkLst>
        </pc:grpChg>
        <pc:grpChg chg="mod">
          <ac:chgData name="SEIMANDI, Matthieu" userId="a1af33a6-fb38-46b3-9399-8c933e699451" providerId="ADAL" clId="{430C985F-A311-4434-952C-DEB42487B883}" dt="2024-02-15T13:37:01.254" v="4708" actId="1036"/>
          <ac:grpSpMkLst>
            <pc:docMk/>
            <pc:sldMk cId="2394442523" sldId="2147481374"/>
            <ac:grpSpMk id="96" creationId="{BA474029-DB5C-D889-626F-144685448193}"/>
          </ac:grpSpMkLst>
        </pc:grpChg>
        <pc:grpChg chg="mod">
          <ac:chgData name="SEIMANDI, Matthieu" userId="a1af33a6-fb38-46b3-9399-8c933e699451" providerId="ADAL" clId="{430C985F-A311-4434-952C-DEB42487B883}" dt="2024-02-15T13:37:01.254" v="4708" actId="1036"/>
          <ac:grpSpMkLst>
            <pc:docMk/>
            <pc:sldMk cId="2394442523" sldId="2147481374"/>
            <ac:grpSpMk id="97" creationId="{7CA9C475-2DF4-9AF7-074D-140AE292F43F}"/>
          </ac:grpSpMkLst>
        </pc:grpChg>
        <pc:grpChg chg="mod">
          <ac:chgData name="SEIMANDI, Matthieu" userId="a1af33a6-fb38-46b3-9399-8c933e699451" providerId="ADAL" clId="{430C985F-A311-4434-952C-DEB42487B883}" dt="2024-02-15T13:37:01.254" v="4708" actId="1036"/>
          <ac:grpSpMkLst>
            <pc:docMk/>
            <pc:sldMk cId="2394442523" sldId="2147481374"/>
            <ac:grpSpMk id="98" creationId="{457ADA17-87D4-A48A-B051-0FCC7712C6F8}"/>
          </ac:grpSpMkLst>
        </pc:grpChg>
        <pc:grpChg chg="mod">
          <ac:chgData name="SEIMANDI, Matthieu" userId="a1af33a6-fb38-46b3-9399-8c933e699451" providerId="ADAL" clId="{430C985F-A311-4434-952C-DEB42487B883}" dt="2024-02-15T13:37:01.254" v="4708" actId="1036"/>
          <ac:grpSpMkLst>
            <pc:docMk/>
            <pc:sldMk cId="2394442523" sldId="2147481374"/>
            <ac:grpSpMk id="99" creationId="{78112066-3A59-1942-E821-5274C6CDC183}"/>
          </ac:grpSpMkLst>
        </pc:grpChg>
        <pc:grpChg chg="mod">
          <ac:chgData name="SEIMANDI, Matthieu" userId="a1af33a6-fb38-46b3-9399-8c933e699451" providerId="ADAL" clId="{430C985F-A311-4434-952C-DEB42487B883}" dt="2024-02-15T13:37:01.254" v="4708" actId="1036"/>
          <ac:grpSpMkLst>
            <pc:docMk/>
            <pc:sldMk cId="2394442523" sldId="2147481374"/>
            <ac:grpSpMk id="106" creationId="{854951DD-40ED-6888-4D3A-622271A39E02}"/>
          </ac:grpSpMkLst>
        </pc:grpChg>
        <pc:grpChg chg="del mod topLvl">
          <ac:chgData name="SEIMANDI, Matthieu" userId="a1af33a6-fb38-46b3-9399-8c933e699451" providerId="ADAL" clId="{430C985F-A311-4434-952C-DEB42487B883}" dt="2024-02-15T13:33:03.120" v="4397" actId="165"/>
          <ac:grpSpMkLst>
            <pc:docMk/>
            <pc:sldMk cId="2394442523" sldId="2147481374"/>
            <ac:grpSpMk id="2068" creationId="{9C627F1D-83F3-A11E-51DC-2DFFC0A3F453}"/>
          </ac:grpSpMkLst>
        </pc:grpChg>
        <pc:grpChg chg="del ord">
          <ac:chgData name="SEIMANDI, Matthieu" userId="a1af33a6-fb38-46b3-9399-8c933e699451" providerId="ADAL" clId="{430C985F-A311-4434-952C-DEB42487B883}" dt="2024-02-15T09:14:16.333" v="2336" actId="165"/>
          <ac:grpSpMkLst>
            <pc:docMk/>
            <pc:sldMk cId="2394442523" sldId="2147481374"/>
            <ac:grpSpMk id="2091" creationId="{0ED898D7-CB23-89A0-4489-F359DA860905}"/>
          </ac:grpSpMkLst>
        </pc:grpChg>
        <pc:picChg chg="mod topLvl">
          <ac:chgData name="SEIMANDI, Matthieu" userId="a1af33a6-fb38-46b3-9399-8c933e699451" providerId="ADAL" clId="{430C985F-A311-4434-952C-DEB42487B883}" dt="2024-02-15T13:37:01.254" v="4708" actId="1036"/>
          <ac:picMkLst>
            <pc:docMk/>
            <pc:sldMk cId="2394442523" sldId="2147481374"/>
            <ac:picMk id="26" creationId="{8E50A12C-A160-1702-0F23-15B107217B2F}"/>
          </ac:picMkLst>
        </pc:picChg>
        <pc:picChg chg="mod">
          <ac:chgData name="SEIMANDI, Matthieu" userId="a1af33a6-fb38-46b3-9399-8c933e699451" providerId="ADAL" clId="{430C985F-A311-4434-952C-DEB42487B883}" dt="2024-02-15T13:37:01.254" v="4708" actId="1036"/>
          <ac:picMkLst>
            <pc:docMk/>
            <pc:sldMk cId="2394442523" sldId="2147481374"/>
            <ac:picMk id="65" creationId="{C34F11E0-4114-2FEB-AC60-A21E1ECB9778}"/>
          </ac:picMkLst>
        </pc:picChg>
        <pc:picChg chg="mod">
          <ac:chgData name="SEIMANDI, Matthieu" userId="a1af33a6-fb38-46b3-9399-8c933e699451" providerId="ADAL" clId="{430C985F-A311-4434-952C-DEB42487B883}" dt="2024-02-15T13:37:01.254" v="4708" actId="1036"/>
          <ac:picMkLst>
            <pc:docMk/>
            <pc:sldMk cId="2394442523" sldId="2147481374"/>
            <ac:picMk id="68" creationId="{0A6281D2-6757-E3BB-CB22-976DE83FD16F}"/>
          </ac:picMkLst>
        </pc:picChg>
        <pc:picChg chg="mod">
          <ac:chgData name="SEIMANDI, Matthieu" userId="a1af33a6-fb38-46b3-9399-8c933e699451" providerId="ADAL" clId="{430C985F-A311-4434-952C-DEB42487B883}" dt="2024-02-15T13:37:01.254" v="4708" actId="1036"/>
          <ac:picMkLst>
            <pc:docMk/>
            <pc:sldMk cId="2394442523" sldId="2147481374"/>
            <ac:picMk id="83" creationId="{C2F2F671-9BD9-0C12-E776-E47F25E798B2}"/>
          </ac:picMkLst>
        </pc:picChg>
        <pc:picChg chg="mod">
          <ac:chgData name="SEIMANDI, Matthieu" userId="a1af33a6-fb38-46b3-9399-8c933e699451" providerId="ADAL" clId="{430C985F-A311-4434-952C-DEB42487B883}" dt="2024-02-15T13:37:01.254" v="4708" actId="1036"/>
          <ac:picMkLst>
            <pc:docMk/>
            <pc:sldMk cId="2394442523" sldId="2147481374"/>
            <ac:picMk id="84" creationId="{F2C3D816-611B-51F3-9FEB-DE39FB09FB0E}"/>
          </ac:picMkLst>
        </pc:picChg>
        <pc:picChg chg="mod">
          <ac:chgData name="SEIMANDI, Matthieu" userId="a1af33a6-fb38-46b3-9399-8c933e699451" providerId="ADAL" clId="{430C985F-A311-4434-952C-DEB42487B883}" dt="2024-02-15T13:37:01.254" v="4708" actId="1036"/>
          <ac:picMkLst>
            <pc:docMk/>
            <pc:sldMk cId="2394442523" sldId="2147481374"/>
            <ac:picMk id="91" creationId="{7DBF1DF7-5B95-FBB8-9D42-F1209B93D543}"/>
          </ac:picMkLst>
        </pc:picChg>
        <pc:picChg chg="mod">
          <ac:chgData name="SEIMANDI, Matthieu" userId="a1af33a6-fb38-46b3-9399-8c933e699451" providerId="ADAL" clId="{430C985F-A311-4434-952C-DEB42487B883}" dt="2024-02-15T13:37:01.254" v="4708" actId="1036"/>
          <ac:picMkLst>
            <pc:docMk/>
            <pc:sldMk cId="2394442523" sldId="2147481374"/>
            <ac:picMk id="92" creationId="{7E8B8687-2FD8-7C4D-B1D2-BC9DFB9190F0}"/>
          </ac:picMkLst>
        </pc:picChg>
        <pc:picChg chg="mod">
          <ac:chgData name="SEIMANDI, Matthieu" userId="a1af33a6-fb38-46b3-9399-8c933e699451" providerId="ADAL" clId="{430C985F-A311-4434-952C-DEB42487B883}" dt="2024-02-15T13:37:01.254" v="4708" actId="1036"/>
          <ac:picMkLst>
            <pc:docMk/>
            <pc:sldMk cId="2394442523" sldId="2147481374"/>
            <ac:picMk id="101" creationId="{2A00A5F2-947A-F01C-0209-C75EEB18E925}"/>
          </ac:picMkLst>
        </pc:picChg>
        <pc:picChg chg="mod">
          <ac:chgData name="SEIMANDI, Matthieu" userId="a1af33a6-fb38-46b3-9399-8c933e699451" providerId="ADAL" clId="{430C985F-A311-4434-952C-DEB42487B883}" dt="2024-02-15T13:37:01.254" v="4708" actId="1036"/>
          <ac:picMkLst>
            <pc:docMk/>
            <pc:sldMk cId="2394442523" sldId="2147481374"/>
            <ac:picMk id="103" creationId="{A66576AE-527A-0B04-7669-0ACAB7C4D7A2}"/>
          </ac:picMkLst>
        </pc:picChg>
        <pc:picChg chg="mod">
          <ac:chgData name="SEIMANDI, Matthieu" userId="a1af33a6-fb38-46b3-9399-8c933e699451" providerId="ADAL" clId="{430C985F-A311-4434-952C-DEB42487B883}" dt="2024-02-15T13:37:01.254" v="4708" actId="1036"/>
          <ac:picMkLst>
            <pc:docMk/>
            <pc:sldMk cId="2394442523" sldId="2147481374"/>
            <ac:picMk id="105" creationId="{46E80AFC-FB81-3203-F2A8-8047FA646BD7}"/>
          </ac:picMkLst>
        </pc:picChg>
        <pc:picChg chg="mod">
          <ac:chgData name="SEIMANDI, Matthieu" userId="a1af33a6-fb38-46b3-9399-8c933e699451" providerId="ADAL" clId="{430C985F-A311-4434-952C-DEB42487B883}" dt="2024-02-15T13:37:01.254" v="4708" actId="1036"/>
          <ac:picMkLst>
            <pc:docMk/>
            <pc:sldMk cId="2394442523" sldId="2147481374"/>
            <ac:picMk id="1026" creationId="{7FCCD7E7-94C5-7424-4654-F4744B084186}"/>
          </ac:picMkLst>
        </pc:picChg>
        <pc:picChg chg="mod">
          <ac:chgData name="SEIMANDI, Matthieu" userId="a1af33a6-fb38-46b3-9399-8c933e699451" providerId="ADAL" clId="{430C985F-A311-4434-952C-DEB42487B883}" dt="2024-02-15T13:37:01.254" v="4708" actId="1036"/>
          <ac:picMkLst>
            <pc:docMk/>
            <pc:sldMk cId="2394442523" sldId="2147481374"/>
            <ac:picMk id="2050" creationId="{A5627E49-55A3-32F7-D5C3-5F0E70386C9F}"/>
          </ac:picMkLst>
        </pc:picChg>
        <pc:picChg chg="mod">
          <ac:chgData name="SEIMANDI, Matthieu" userId="a1af33a6-fb38-46b3-9399-8c933e699451" providerId="ADAL" clId="{430C985F-A311-4434-952C-DEB42487B883}" dt="2024-02-15T13:37:01.254" v="4708" actId="1036"/>
          <ac:picMkLst>
            <pc:docMk/>
            <pc:sldMk cId="2394442523" sldId="2147481374"/>
            <ac:picMk id="2052" creationId="{0245EEB7-D6C4-861E-0F35-9F3AB8253664}"/>
          </ac:picMkLst>
        </pc:picChg>
        <pc:picChg chg="mod">
          <ac:chgData name="SEIMANDI, Matthieu" userId="a1af33a6-fb38-46b3-9399-8c933e699451" providerId="ADAL" clId="{430C985F-A311-4434-952C-DEB42487B883}" dt="2024-02-15T13:37:01.254" v="4708" actId="1036"/>
          <ac:picMkLst>
            <pc:docMk/>
            <pc:sldMk cId="2394442523" sldId="2147481374"/>
            <ac:picMk id="2054" creationId="{5C69E161-AE5F-CCCE-FBFB-25E0EA90A86A}"/>
          </ac:picMkLst>
        </pc:picChg>
        <pc:picChg chg="mod topLvl">
          <ac:chgData name="SEIMANDI, Matthieu" userId="a1af33a6-fb38-46b3-9399-8c933e699451" providerId="ADAL" clId="{430C985F-A311-4434-952C-DEB42487B883}" dt="2024-02-15T13:37:01.254" v="4708" actId="1036"/>
          <ac:picMkLst>
            <pc:docMk/>
            <pc:sldMk cId="2394442523" sldId="2147481374"/>
            <ac:picMk id="2060" creationId="{AC386118-06A5-EC5F-81B5-C8196DBAADC3}"/>
          </ac:picMkLst>
        </pc:picChg>
        <pc:picChg chg="mod topLvl">
          <ac:chgData name="SEIMANDI, Matthieu" userId="a1af33a6-fb38-46b3-9399-8c933e699451" providerId="ADAL" clId="{430C985F-A311-4434-952C-DEB42487B883}" dt="2024-02-15T13:37:01.254" v="4708" actId="1036"/>
          <ac:picMkLst>
            <pc:docMk/>
            <pc:sldMk cId="2394442523" sldId="2147481374"/>
            <ac:picMk id="2071" creationId="{4CAA1753-407F-7E22-FB6E-D70EF0A1FA93}"/>
          </ac:picMkLst>
        </pc:picChg>
        <pc:picChg chg="mod topLvl">
          <ac:chgData name="SEIMANDI, Matthieu" userId="a1af33a6-fb38-46b3-9399-8c933e699451" providerId="ADAL" clId="{430C985F-A311-4434-952C-DEB42487B883}" dt="2024-02-15T13:37:01.254" v="4708" actId="1036"/>
          <ac:picMkLst>
            <pc:docMk/>
            <pc:sldMk cId="2394442523" sldId="2147481374"/>
            <ac:picMk id="2080" creationId="{7019E930-F453-1817-E124-BD4F4380911C}"/>
          </ac:picMkLst>
        </pc:picChg>
        <pc:picChg chg="mod topLvl">
          <ac:chgData name="SEIMANDI, Matthieu" userId="a1af33a6-fb38-46b3-9399-8c933e699451" providerId="ADAL" clId="{430C985F-A311-4434-952C-DEB42487B883}" dt="2024-02-15T13:37:01.254" v="4708" actId="1036"/>
          <ac:picMkLst>
            <pc:docMk/>
            <pc:sldMk cId="2394442523" sldId="2147481374"/>
            <ac:picMk id="2081" creationId="{18C530C8-B770-90A6-DA00-BBD05A4191CC}"/>
          </ac:picMkLst>
        </pc:picChg>
        <pc:picChg chg="mod topLvl">
          <ac:chgData name="SEIMANDI, Matthieu" userId="a1af33a6-fb38-46b3-9399-8c933e699451" providerId="ADAL" clId="{430C985F-A311-4434-952C-DEB42487B883}" dt="2024-02-15T13:37:01.254" v="4708" actId="1036"/>
          <ac:picMkLst>
            <pc:docMk/>
            <pc:sldMk cId="2394442523" sldId="2147481374"/>
            <ac:picMk id="2082" creationId="{29BA6209-BD46-8142-D487-2D5C2293A4B6}"/>
          </ac:picMkLst>
        </pc:picChg>
        <pc:cxnChg chg="mod">
          <ac:chgData name="SEIMANDI, Matthieu" userId="a1af33a6-fb38-46b3-9399-8c933e699451" providerId="ADAL" clId="{430C985F-A311-4434-952C-DEB42487B883}" dt="2024-02-15T13:37:01.254" v="4708" actId="1036"/>
          <ac:cxnSpMkLst>
            <pc:docMk/>
            <pc:sldMk cId="2394442523" sldId="2147481374"/>
            <ac:cxnSpMk id="7" creationId="{7E260424-086D-4B43-4BA9-EF76FF1208DB}"/>
          </ac:cxnSpMkLst>
        </pc:cxnChg>
        <pc:cxnChg chg="mod topLvl">
          <ac:chgData name="SEIMANDI, Matthieu" userId="a1af33a6-fb38-46b3-9399-8c933e699451" providerId="ADAL" clId="{430C985F-A311-4434-952C-DEB42487B883}" dt="2024-02-15T13:37:01.254" v="4708" actId="1036"/>
          <ac:cxnSpMkLst>
            <pc:docMk/>
            <pc:sldMk cId="2394442523" sldId="2147481374"/>
            <ac:cxnSpMk id="9" creationId="{1802785F-2D47-124C-A91B-D79488B64B73}"/>
          </ac:cxnSpMkLst>
        </pc:cxnChg>
        <pc:cxnChg chg="mod">
          <ac:chgData name="SEIMANDI, Matthieu" userId="a1af33a6-fb38-46b3-9399-8c933e699451" providerId="ADAL" clId="{430C985F-A311-4434-952C-DEB42487B883}" dt="2024-02-15T13:37:01.254" v="4708" actId="1036"/>
          <ac:cxnSpMkLst>
            <pc:docMk/>
            <pc:sldMk cId="2394442523" sldId="2147481374"/>
            <ac:cxnSpMk id="17" creationId="{F7D1F13A-CC1B-492E-2827-5497D5E2300F}"/>
          </ac:cxnSpMkLst>
        </pc:cxnChg>
        <pc:cxnChg chg="mod">
          <ac:chgData name="SEIMANDI, Matthieu" userId="a1af33a6-fb38-46b3-9399-8c933e699451" providerId="ADAL" clId="{430C985F-A311-4434-952C-DEB42487B883}" dt="2024-02-15T13:37:01.254" v="4708" actId="1036"/>
          <ac:cxnSpMkLst>
            <pc:docMk/>
            <pc:sldMk cId="2394442523" sldId="2147481374"/>
            <ac:cxnSpMk id="19" creationId="{F70B7520-C159-055A-9F0D-1591D1C31C7A}"/>
          </ac:cxnSpMkLst>
        </pc:cxnChg>
        <pc:cxnChg chg="mod topLvl">
          <ac:chgData name="SEIMANDI, Matthieu" userId="a1af33a6-fb38-46b3-9399-8c933e699451" providerId="ADAL" clId="{430C985F-A311-4434-952C-DEB42487B883}" dt="2024-02-15T13:37:01.254" v="4708" actId="1036"/>
          <ac:cxnSpMkLst>
            <pc:docMk/>
            <pc:sldMk cId="2394442523" sldId="2147481374"/>
            <ac:cxnSpMk id="27" creationId="{082E531F-18D8-1473-D59D-514A67B450F2}"/>
          </ac:cxnSpMkLst>
        </pc:cxnChg>
        <pc:cxnChg chg="mod topLvl">
          <ac:chgData name="SEIMANDI, Matthieu" userId="a1af33a6-fb38-46b3-9399-8c933e699451" providerId="ADAL" clId="{430C985F-A311-4434-952C-DEB42487B883}" dt="2024-02-15T13:37:01.254" v="4708" actId="1036"/>
          <ac:cxnSpMkLst>
            <pc:docMk/>
            <pc:sldMk cId="2394442523" sldId="2147481374"/>
            <ac:cxnSpMk id="28" creationId="{A26F968E-3DD7-E8D0-9F3C-88D30540B3BA}"/>
          </ac:cxnSpMkLst>
        </pc:cxnChg>
        <pc:cxnChg chg="mod topLvl">
          <ac:chgData name="SEIMANDI, Matthieu" userId="a1af33a6-fb38-46b3-9399-8c933e699451" providerId="ADAL" clId="{430C985F-A311-4434-952C-DEB42487B883}" dt="2024-02-15T13:37:01.254" v="4708" actId="1036"/>
          <ac:cxnSpMkLst>
            <pc:docMk/>
            <pc:sldMk cId="2394442523" sldId="2147481374"/>
            <ac:cxnSpMk id="31" creationId="{5288487E-9EE4-C4B9-7A5E-A41875C84DF4}"/>
          </ac:cxnSpMkLst>
        </pc:cxnChg>
        <pc:cxnChg chg="mod">
          <ac:chgData name="SEIMANDI, Matthieu" userId="a1af33a6-fb38-46b3-9399-8c933e699451" providerId="ADAL" clId="{430C985F-A311-4434-952C-DEB42487B883}" dt="2024-02-15T13:37:01.254" v="4708" actId="1036"/>
          <ac:cxnSpMkLst>
            <pc:docMk/>
            <pc:sldMk cId="2394442523" sldId="2147481374"/>
            <ac:cxnSpMk id="71" creationId="{C266098C-3731-E490-A3B0-680FAB74E6DC}"/>
          </ac:cxnSpMkLst>
        </pc:cxnChg>
        <pc:cxnChg chg="mod topLvl">
          <ac:chgData name="SEIMANDI, Matthieu" userId="a1af33a6-fb38-46b3-9399-8c933e699451" providerId="ADAL" clId="{430C985F-A311-4434-952C-DEB42487B883}" dt="2024-02-15T13:37:01.254" v="4708" actId="1036"/>
          <ac:cxnSpMkLst>
            <pc:docMk/>
            <pc:sldMk cId="2394442523" sldId="2147481374"/>
            <ac:cxnSpMk id="73" creationId="{1D194E63-F9F8-3BAC-C8F3-EDF749484697}"/>
          </ac:cxnSpMkLst>
        </pc:cxnChg>
        <pc:cxnChg chg="mod">
          <ac:chgData name="SEIMANDI, Matthieu" userId="a1af33a6-fb38-46b3-9399-8c933e699451" providerId="ADAL" clId="{430C985F-A311-4434-952C-DEB42487B883}" dt="2024-02-15T13:37:01.254" v="4708" actId="1036"/>
          <ac:cxnSpMkLst>
            <pc:docMk/>
            <pc:sldMk cId="2394442523" sldId="2147481374"/>
            <ac:cxnSpMk id="87" creationId="{79BEA560-C5DB-38F7-F6DB-285E68BCEE81}"/>
          </ac:cxnSpMkLst>
        </pc:cxnChg>
        <pc:cxnChg chg="mod">
          <ac:chgData name="SEIMANDI, Matthieu" userId="a1af33a6-fb38-46b3-9399-8c933e699451" providerId="ADAL" clId="{430C985F-A311-4434-952C-DEB42487B883}" dt="2024-02-15T13:37:01.254" v="4708" actId="1036"/>
          <ac:cxnSpMkLst>
            <pc:docMk/>
            <pc:sldMk cId="2394442523" sldId="2147481374"/>
            <ac:cxnSpMk id="88" creationId="{EEF9DB1D-0B69-F851-27F3-C4AC6022F704}"/>
          </ac:cxnSpMkLst>
        </pc:cxnChg>
        <pc:cxnChg chg="mod">
          <ac:chgData name="SEIMANDI, Matthieu" userId="a1af33a6-fb38-46b3-9399-8c933e699451" providerId="ADAL" clId="{430C985F-A311-4434-952C-DEB42487B883}" dt="2024-02-15T13:37:01.254" v="4708" actId="1036"/>
          <ac:cxnSpMkLst>
            <pc:docMk/>
            <pc:sldMk cId="2394442523" sldId="2147481374"/>
            <ac:cxnSpMk id="93" creationId="{753D495A-1B07-488C-4F27-D8F55F79E532}"/>
          </ac:cxnSpMkLst>
        </pc:cxnChg>
        <pc:cxnChg chg="mod topLvl">
          <ac:chgData name="SEIMANDI, Matthieu" userId="a1af33a6-fb38-46b3-9399-8c933e699451" providerId="ADAL" clId="{430C985F-A311-4434-952C-DEB42487B883}" dt="2024-02-15T13:37:01.254" v="4708" actId="1036"/>
          <ac:cxnSpMkLst>
            <pc:docMk/>
            <pc:sldMk cId="2394442523" sldId="2147481374"/>
            <ac:cxnSpMk id="2055" creationId="{E4637069-98A5-A474-EE94-80449169743D}"/>
          </ac:cxnSpMkLst>
        </pc:cxnChg>
        <pc:cxnChg chg="mod topLvl">
          <ac:chgData name="SEIMANDI, Matthieu" userId="a1af33a6-fb38-46b3-9399-8c933e699451" providerId="ADAL" clId="{430C985F-A311-4434-952C-DEB42487B883}" dt="2024-02-15T13:37:01.254" v="4708" actId="1036"/>
          <ac:cxnSpMkLst>
            <pc:docMk/>
            <pc:sldMk cId="2394442523" sldId="2147481374"/>
            <ac:cxnSpMk id="2056" creationId="{E596AB43-3280-1311-6D36-681ECFA92625}"/>
          </ac:cxnSpMkLst>
        </pc:cxnChg>
        <pc:cxnChg chg="mod topLvl">
          <ac:chgData name="SEIMANDI, Matthieu" userId="a1af33a6-fb38-46b3-9399-8c933e699451" providerId="ADAL" clId="{430C985F-A311-4434-952C-DEB42487B883}" dt="2024-02-15T13:37:01.254" v="4708" actId="1036"/>
          <ac:cxnSpMkLst>
            <pc:docMk/>
            <pc:sldMk cId="2394442523" sldId="2147481374"/>
            <ac:cxnSpMk id="2062" creationId="{6398F300-C1C6-4729-FD08-5E60DF77B96E}"/>
          </ac:cxnSpMkLst>
        </pc:cxnChg>
        <pc:cxnChg chg="mod topLvl">
          <ac:chgData name="SEIMANDI, Matthieu" userId="a1af33a6-fb38-46b3-9399-8c933e699451" providerId="ADAL" clId="{430C985F-A311-4434-952C-DEB42487B883}" dt="2024-02-15T13:37:01.254" v="4708" actId="1036"/>
          <ac:cxnSpMkLst>
            <pc:docMk/>
            <pc:sldMk cId="2394442523" sldId="2147481374"/>
            <ac:cxnSpMk id="2066" creationId="{D3133F71-6ADE-8E33-5D69-39F16C8C2084}"/>
          </ac:cxnSpMkLst>
        </pc:cxnChg>
        <pc:cxnChg chg="mod topLvl">
          <ac:chgData name="SEIMANDI, Matthieu" userId="a1af33a6-fb38-46b3-9399-8c933e699451" providerId="ADAL" clId="{430C985F-A311-4434-952C-DEB42487B883}" dt="2024-02-15T13:37:01.254" v="4708" actId="1036"/>
          <ac:cxnSpMkLst>
            <pc:docMk/>
            <pc:sldMk cId="2394442523" sldId="2147481374"/>
            <ac:cxnSpMk id="2073" creationId="{3B3F085A-9AE6-ADB3-C997-30D3286BC5AD}"/>
          </ac:cxnSpMkLst>
        </pc:cxnChg>
        <pc:cxnChg chg="mod topLvl">
          <ac:chgData name="SEIMANDI, Matthieu" userId="a1af33a6-fb38-46b3-9399-8c933e699451" providerId="ADAL" clId="{430C985F-A311-4434-952C-DEB42487B883}" dt="2024-02-15T13:37:01.254" v="4708" actId="1036"/>
          <ac:cxnSpMkLst>
            <pc:docMk/>
            <pc:sldMk cId="2394442523" sldId="2147481374"/>
            <ac:cxnSpMk id="2077" creationId="{E6AB2C11-CFE0-282F-9D29-B154B0FE995C}"/>
          </ac:cxnSpMkLst>
        </pc:cxnChg>
        <pc:cxnChg chg="mod topLvl">
          <ac:chgData name="SEIMANDI, Matthieu" userId="a1af33a6-fb38-46b3-9399-8c933e699451" providerId="ADAL" clId="{430C985F-A311-4434-952C-DEB42487B883}" dt="2024-02-15T13:37:01.254" v="4708" actId="1036"/>
          <ac:cxnSpMkLst>
            <pc:docMk/>
            <pc:sldMk cId="2394442523" sldId="2147481374"/>
            <ac:cxnSpMk id="2087" creationId="{4522E2BB-C5B8-464E-96BB-FAF7FA06953A}"/>
          </ac:cxnSpMkLst>
        </pc:cxnChg>
        <pc:cxnChg chg="mod topLvl">
          <ac:chgData name="SEIMANDI, Matthieu" userId="a1af33a6-fb38-46b3-9399-8c933e699451" providerId="ADAL" clId="{430C985F-A311-4434-952C-DEB42487B883}" dt="2024-02-15T13:37:01.254" v="4708" actId="1036"/>
          <ac:cxnSpMkLst>
            <pc:docMk/>
            <pc:sldMk cId="2394442523" sldId="2147481374"/>
            <ac:cxnSpMk id="2088" creationId="{4F168897-1C61-BF02-B026-DBBF267A24AE}"/>
          </ac:cxnSpMkLst>
        </pc:cxnChg>
        <pc:cxnChg chg="mod">
          <ac:chgData name="SEIMANDI, Matthieu" userId="a1af33a6-fb38-46b3-9399-8c933e699451" providerId="ADAL" clId="{430C985F-A311-4434-952C-DEB42487B883}" dt="2024-02-15T13:37:01.254" v="4708" actId="1036"/>
          <ac:cxnSpMkLst>
            <pc:docMk/>
            <pc:sldMk cId="2394442523" sldId="2147481374"/>
            <ac:cxnSpMk id="2094" creationId="{3119C2FD-3D39-814E-4B07-D2B02E284483}"/>
          </ac:cxnSpMkLst>
        </pc:cxnChg>
      </pc:sldChg>
      <pc:sldChg chg="delSp modSp mod">
        <pc:chgData name="SEIMANDI, Matthieu" userId="a1af33a6-fb38-46b3-9399-8c933e699451" providerId="ADAL" clId="{430C985F-A311-4434-952C-DEB42487B883}" dt="2024-02-29T10:17:02.911" v="5441" actId="14100"/>
        <pc:sldMkLst>
          <pc:docMk/>
          <pc:sldMk cId="3240409323" sldId="2147481378"/>
        </pc:sldMkLst>
        <pc:spChg chg="mod">
          <ac:chgData name="SEIMANDI, Matthieu" userId="a1af33a6-fb38-46b3-9399-8c933e699451" providerId="ADAL" clId="{430C985F-A311-4434-952C-DEB42487B883}" dt="2024-02-29T10:16:54.253" v="5439" actId="165"/>
          <ac:spMkLst>
            <pc:docMk/>
            <pc:sldMk cId="3240409323" sldId="2147481378"/>
            <ac:spMk id="15" creationId="{5E6C5390-43A8-4CB0-B612-EDA38A5E4C92}"/>
          </ac:spMkLst>
        </pc:spChg>
        <pc:spChg chg="mod">
          <ac:chgData name="SEIMANDI, Matthieu" userId="a1af33a6-fb38-46b3-9399-8c933e699451" providerId="ADAL" clId="{430C985F-A311-4434-952C-DEB42487B883}" dt="2024-02-29T10:16:54.253" v="5439" actId="165"/>
          <ac:spMkLst>
            <pc:docMk/>
            <pc:sldMk cId="3240409323" sldId="2147481378"/>
            <ac:spMk id="16" creationId="{9BFADDB0-4957-4DF4-B899-0DBE4C0412F0}"/>
          </ac:spMkLst>
        </pc:spChg>
        <pc:spChg chg="mod">
          <ac:chgData name="SEIMANDI, Matthieu" userId="a1af33a6-fb38-46b3-9399-8c933e699451" providerId="ADAL" clId="{430C985F-A311-4434-952C-DEB42487B883}" dt="2024-02-29T10:16:54.253" v="5439" actId="165"/>
          <ac:spMkLst>
            <pc:docMk/>
            <pc:sldMk cId="3240409323" sldId="2147481378"/>
            <ac:spMk id="30" creationId="{721AAE5E-B17C-442B-A509-BE0390C7658B}"/>
          </ac:spMkLst>
        </pc:spChg>
        <pc:spChg chg="mod">
          <ac:chgData name="SEIMANDI, Matthieu" userId="a1af33a6-fb38-46b3-9399-8c933e699451" providerId="ADAL" clId="{430C985F-A311-4434-952C-DEB42487B883}" dt="2024-02-29T10:16:54.253" v="5439" actId="165"/>
          <ac:spMkLst>
            <pc:docMk/>
            <pc:sldMk cId="3240409323" sldId="2147481378"/>
            <ac:spMk id="31" creationId="{23C414D6-88D4-4852-86C5-00D9F8D96263}"/>
          </ac:spMkLst>
        </pc:spChg>
        <pc:spChg chg="mod">
          <ac:chgData name="SEIMANDI, Matthieu" userId="a1af33a6-fb38-46b3-9399-8c933e699451" providerId="ADAL" clId="{430C985F-A311-4434-952C-DEB42487B883}" dt="2024-02-29T10:16:54.253" v="5439" actId="165"/>
          <ac:spMkLst>
            <pc:docMk/>
            <pc:sldMk cId="3240409323" sldId="2147481378"/>
            <ac:spMk id="32" creationId="{8BCAC549-F11F-41AD-9445-3E50E9599FAB}"/>
          </ac:spMkLst>
        </pc:spChg>
        <pc:spChg chg="mod">
          <ac:chgData name="SEIMANDI, Matthieu" userId="a1af33a6-fb38-46b3-9399-8c933e699451" providerId="ADAL" clId="{430C985F-A311-4434-952C-DEB42487B883}" dt="2024-02-29T10:16:54.253" v="5439" actId="165"/>
          <ac:spMkLst>
            <pc:docMk/>
            <pc:sldMk cId="3240409323" sldId="2147481378"/>
            <ac:spMk id="36" creationId="{A7E947A8-DA8A-4EB2-8EDB-B5FD656FAB35}"/>
          </ac:spMkLst>
        </pc:spChg>
        <pc:spChg chg="mod">
          <ac:chgData name="SEIMANDI, Matthieu" userId="a1af33a6-fb38-46b3-9399-8c933e699451" providerId="ADAL" clId="{430C985F-A311-4434-952C-DEB42487B883}" dt="2024-02-29T10:16:54.253" v="5439" actId="165"/>
          <ac:spMkLst>
            <pc:docMk/>
            <pc:sldMk cId="3240409323" sldId="2147481378"/>
            <ac:spMk id="37" creationId="{D3089160-0DC8-4F45-8B56-D104729461D5}"/>
          </ac:spMkLst>
        </pc:spChg>
        <pc:spChg chg="mod">
          <ac:chgData name="SEIMANDI, Matthieu" userId="a1af33a6-fb38-46b3-9399-8c933e699451" providerId="ADAL" clId="{430C985F-A311-4434-952C-DEB42487B883}" dt="2024-02-29T10:16:54.253" v="5439" actId="165"/>
          <ac:spMkLst>
            <pc:docMk/>
            <pc:sldMk cId="3240409323" sldId="2147481378"/>
            <ac:spMk id="38" creationId="{36C2616F-8AC4-481A-82A1-534162F01541}"/>
          </ac:spMkLst>
        </pc:spChg>
        <pc:spChg chg="mod">
          <ac:chgData name="SEIMANDI, Matthieu" userId="a1af33a6-fb38-46b3-9399-8c933e699451" providerId="ADAL" clId="{430C985F-A311-4434-952C-DEB42487B883}" dt="2024-02-29T10:16:54.253" v="5439" actId="165"/>
          <ac:spMkLst>
            <pc:docMk/>
            <pc:sldMk cId="3240409323" sldId="2147481378"/>
            <ac:spMk id="39" creationId="{781C8424-C8B3-45AE-819A-CAFB5BEEFD87}"/>
          </ac:spMkLst>
        </pc:spChg>
        <pc:spChg chg="mod">
          <ac:chgData name="SEIMANDI, Matthieu" userId="a1af33a6-fb38-46b3-9399-8c933e699451" providerId="ADAL" clId="{430C985F-A311-4434-952C-DEB42487B883}" dt="2024-02-29T10:16:54.253" v="5439" actId="165"/>
          <ac:spMkLst>
            <pc:docMk/>
            <pc:sldMk cId="3240409323" sldId="2147481378"/>
            <ac:spMk id="45" creationId="{F408FC67-A24F-47D4-941B-1EB9CBAD83BF}"/>
          </ac:spMkLst>
        </pc:spChg>
        <pc:spChg chg="mod">
          <ac:chgData name="SEIMANDI, Matthieu" userId="a1af33a6-fb38-46b3-9399-8c933e699451" providerId="ADAL" clId="{430C985F-A311-4434-952C-DEB42487B883}" dt="2024-02-29T10:16:54.253" v="5439" actId="165"/>
          <ac:spMkLst>
            <pc:docMk/>
            <pc:sldMk cId="3240409323" sldId="2147481378"/>
            <ac:spMk id="46" creationId="{197056FA-5540-4B79-8C59-FE1ECA93B783}"/>
          </ac:spMkLst>
        </pc:spChg>
        <pc:spChg chg="mod">
          <ac:chgData name="SEIMANDI, Matthieu" userId="a1af33a6-fb38-46b3-9399-8c933e699451" providerId="ADAL" clId="{430C985F-A311-4434-952C-DEB42487B883}" dt="2024-02-29T10:16:54.253" v="5439" actId="165"/>
          <ac:spMkLst>
            <pc:docMk/>
            <pc:sldMk cId="3240409323" sldId="2147481378"/>
            <ac:spMk id="47" creationId="{3920B3C7-7398-4748-82C4-DC29BD597B6E}"/>
          </ac:spMkLst>
        </pc:spChg>
        <pc:spChg chg="mod">
          <ac:chgData name="SEIMANDI, Matthieu" userId="a1af33a6-fb38-46b3-9399-8c933e699451" providerId="ADAL" clId="{430C985F-A311-4434-952C-DEB42487B883}" dt="2024-02-29T10:16:54.253" v="5439" actId="165"/>
          <ac:spMkLst>
            <pc:docMk/>
            <pc:sldMk cId="3240409323" sldId="2147481378"/>
            <ac:spMk id="48" creationId="{70758E8A-BA7C-4E32-B755-D8F429F306D2}"/>
          </ac:spMkLst>
        </pc:spChg>
        <pc:spChg chg="mod">
          <ac:chgData name="SEIMANDI, Matthieu" userId="a1af33a6-fb38-46b3-9399-8c933e699451" providerId="ADAL" clId="{430C985F-A311-4434-952C-DEB42487B883}" dt="2024-02-29T10:16:54.253" v="5439" actId="165"/>
          <ac:spMkLst>
            <pc:docMk/>
            <pc:sldMk cId="3240409323" sldId="2147481378"/>
            <ac:spMk id="51" creationId="{97BE9A86-9D48-43CB-8DC0-1B411EA96617}"/>
          </ac:spMkLst>
        </pc:spChg>
        <pc:spChg chg="mod">
          <ac:chgData name="SEIMANDI, Matthieu" userId="a1af33a6-fb38-46b3-9399-8c933e699451" providerId="ADAL" clId="{430C985F-A311-4434-952C-DEB42487B883}" dt="2024-02-29T10:16:54.253" v="5439" actId="165"/>
          <ac:spMkLst>
            <pc:docMk/>
            <pc:sldMk cId="3240409323" sldId="2147481378"/>
            <ac:spMk id="52" creationId="{A23FC1E1-21AF-4560-BC75-2691EEADAF9C}"/>
          </ac:spMkLst>
        </pc:spChg>
        <pc:spChg chg="mod">
          <ac:chgData name="SEIMANDI, Matthieu" userId="a1af33a6-fb38-46b3-9399-8c933e699451" providerId="ADAL" clId="{430C985F-A311-4434-952C-DEB42487B883}" dt="2024-02-29T10:16:54.253" v="5439" actId="165"/>
          <ac:spMkLst>
            <pc:docMk/>
            <pc:sldMk cId="3240409323" sldId="2147481378"/>
            <ac:spMk id="53" creationId="{DF8458CF-0A65-48A9-BD06-07D26A605B15}"/>
          </ac:spMkLst>
        </pc:spChg>
        <pc:grpChg chg="mod topLvl">
          <ac:chgData name="SEIMANDI, Matthieu" userId="a1af33a6-fb38-46b3-9399-8c933e699451" providerId="ADAL" clId="{430C985F-A311-4434-952C-DEB42487B883}" dt="2024-02-29T10:17:02.911" v="5441" actId="14100"/>
          <ac:grpSpMkLst>
            <pc:docMk/>
            <pc:sldMk cId="3240409323" sldId="2147481378"/>
            <ac:grpSpMk id="27" creationId="{6975B31B-3171-43C5-9BEA-51BE71A26B6A}"/>
          </ac:grpSpMkLst>
        </pc:grpChg>
        <pc:grpChg chg="mod topLvl">
          <ac:chgData name="SEIMANDI, Matthieu" userId="a1af33a6-fb38-46b3-9399-8c933e699451" providerId="ADAL" clId="{430C985F-A311-4434-952C-DEB42487B883}" dt="2024-02-29T10:16:54.253" v="5439" actId="165"/>
          <ac:grpSpMkLst>
            <pc:docMk/>
            <pc:sldMk cId="3240409323" sldId="2147481378"/>
            <ac:grpSpMk id="49" creationId="{43843829-FA57-43DF-8024-27A07F6E9A7E}"/>
          </ac:grpSpMkLst>
        </pc:grpChg>
        <pc:grpChg chg="del mod">
          <ac:chgData name="SEIMANDI, Matthieu" userId="a1af33a6-fb38-46b3-9399-8c933e699451" providerId="ADAL" clId="{430C985F-A311-4434-952C-DEB42487B883}" dt="2024-02-29T10:16:54.253" v="5439" actId="165"/>
          <ac:grpSpMkLst>
            <pc:docMk/>
            <pc:sldMk cId="3240409323" sldId="2147481378"/>
            <ac:grpSpMk id="54" creationId="{8212E60C-3BE4-4CC6-9098-16859D0012E6}"/>
          </ac:grpSpMkLst>
        </pc:grpChg>
        <pc:cxnChg chg="mod">
          <ac:chgData name="SEIMANDI, Matthieu" userId="a1af33a6-fb38-46b3-9399-8c933e699451" providerId="ADAL" clId="{430C985F-A311-4434-952C-DEB42487B883}" dt="2024-02-29T10:16:54.253" v="5439" actId="165"/>
          <ac:cxnSpMkLst>
            <pc:docMk/>
            <pc:sldMk cId="3240409323" sldId="2147481378"/>
            <ac:cxnSpMk id="28" creationId="{EC6FC15E-8460-415C-937E-9BFD241D9404}"/>
          </ac:cxnSpMkLst>
        </pc:cxnChg>
        <pc:cxnChg chg="mod">
          <ac:chgData name="SEIMANDI, Matthieu" userId="a1af33a6-fb38-46b3-9399-8c933e699451" providerId="ADAL" clId="{430C985F-A311-4434-952C-DEB42487B883}" dt="2024-02-29T10:16:54.253" v="5439" actId="165"/>
          <ac:cxnSpMkLst>
            <pc:docMk/>
            <pc:sldMk cId="3240409323" sldId="2147481378"/>
            <ac:cxnSpMk id="29" creationId="{6FB1F865-1352-44A4-A708-1B51D6BAC7BE}"/>
          </ac:cxnSpMkLst>
        </pc:cxnChg>
        <pc:cxnChg chg="mod">
          <ac:chgData name="SEIMANDI, Matthieu" userId="a1af33a6-fb38-46b3-9399-8c933e699451" providerId="ADAL" clId="{430C985F-A311-4434-952C-DEB42487B883}" dt="2024-02-29T10:16:54.253" v="5439" actId="165"/>
          <ac:cxnSpMkLst>
            <pc:docMk/>
            <pc:sldMk cId="3240409323" sldId="2147481378"/>
            <ac:cxnSpMk id="33" creationId="{DC4FB55E-11B6-487F-8EC1-FFEA3D37FF99}"/>
          </ac:cxnSpMkLst>
        </pc:cxnChg>
        <pc:cxnChg chg="mod">
          <ac:chgData name="SEIMANDI, Matthieu" userId="a1af33a6-fb38-46b3-9399-8c933e699451" providerId="ADAL" clId="{430C985F-A311-4434-952C-DEB42487B883}" dt="2024-02-29T10:16:54.253" v="5439" actId="165"/>
          <ac:cxnSpMkLst>
            <pc:docMk/>
            <pc:sldMk cId="3240409323" sldId="2147481378"/>
            <ac:cxnSpMk id="34" creationId="{7C055C46-2B53-4129-9596-EB0004882877}"/>
          </ac:cxnSpMkLst>
        </pc:cxnChg>
      </pc:sldChg>
      <pc:sldChg chg="modSp mod">
        <pc:chgData name="SEIMANDI, Matthieu" userId="a1af33a6-fb38-46b3-9399-8c933e699451" providerId="ADAL" clId="{430C985F-A311-4434-952C-DEB42487B883}" dt="2024-02-29T10:14:10.905" v="5431" actId="179"/>
        <pc:sldMkLst>
          <pc:docMk/>
          <pc:sldMk cId="536213464" sldId="2147481379"/>
        </pc:sldMkLst>
        <pc:spChg chg="mod">
          <ac:chgData name="SEIMANDI, Matthieu" userId="a1af33a6-fb38-46b3-9399-8c933e699451" providerId="ADAL" clId="{430C985F-A311-4434-952C-DEB42487B883}" dt="2024-02-29T10:14:10.905" v="5431" actId="179"/>
          <ac:spMkLst>
            <pc:docMk/>
            <pc:sldMk cId="536213464" sldId="2147481379"/>
            <ac:spMk id="4" creationId="{BD79BD9F-E088-2FA1-D09E-BD83608E3368}"/>
          </ac:spMkLst>
        </pc:spChg>
      </pc:sldChg>
      <pc:sldChg chg="addSp delSp modSp add mod">
        <pc:chgData name="SEIMANDI, Matthieu" userId="a1af33a6-fb38-46b3-9399-8c933e699451" providerId="ADAL" clId="{430C985F-A311-4434-952C-DEB42487B883}" dt="2024-02-19T09:16:27.347" v="5331" actId="1035"/>
        <pc:sldMkLst>
          <pc:docMk/>
          <pc:sldMk cId="2467275502" sldId="2147481381"/>
        </pc:sldMkLst>
        <pc:spChg chg="mod">
          <ac:chgData name="SEIMANDI, Matthieu" userId="a1af33a6-fb38-46b3-9399-8c933e699451" providerId="ADAL" clId="{430C985F-A311-4434-952C-DEB42487B883}" dt="2024-02-15T13:40:40.703" v="4829" actId="20577"/>
          <ac:spMkLst>
            <pc:docMk/>
            <pc:sldMk cId="2467275502" sldId="2147481381"/>
            <ac:spMk id="2" creationId="{A1B6F4D1-0BE8-5451-414B-53ABA0735847}"/>
          </ac:spMkLst>
        </pc:spChg>
        <pc:spChg chg="add mod">
          <ac:chgData name="SEIMANDI, Matthieu" userId="a1af33a6-fb38-46b3-9399-8c933e699451" providerId="ADAL" clId="{430C985F-A311-4434-952C-DEB42487B883}" dt="2024-02-15T11:08:37.130" v="3786" actId="1035"/>
          <ac:spMkLst>
            <pc:docMk/>
            <pc:sldMk cId="2467275502" sldId="2147481381"/>
            <ac:spMk id="3" creationId="{EB6FB96C-0AC0-EBDD-CD9E-2F6D3AD03564}"/>
          </ac:spMkLst>
        </pc:spChg>
        <pc:spChg chg="add mod">
          <ac:chgData name="SEIMANDI, Matthieu" userId="a1af33a6-fb38-46b3-9399-8c933e699451" providerId="ADAL" clId="{430C985F-A311-4434-952C-DEB42487B883}" dt="2024-02-15T11:08:58.216" v="3793" actId="13926"/>
          <ac:spMkLst>
            <pc:docMk/>
            <pc:sldMk cId="2467275502" sldId="2147481381"/>
            <ac:spMk id="12" creationId="{3D63DA7D-0E37-396C-7C65-C27D0B099D58}"/>
          </ac:spMkLst>
        </pc:spChg>
        <pc:spChg chg="add mod">
          <ac:chgData name="SEIMANDI, Matthieu" userId="a1af33a6-fb38-46b3-9399-8c933e699451" providerId="ADAL" clId="{430C985F-A311-4434-952C-DEB42487B883}" dt="2024-02-15T11:09:03.139" v="3794" actId="13926"/>
          <ac:spMkLst>
            <pc:docMk/>
            <pc:sldMk cId="2467275502" sldId="2147481381"/>
            <ac:spMk id="15" creationId="{F58EF526-994F-47AD-F150-BF9B1FBEBA97}"/>
          </ac:spMkLst>
        </pc:spChg>
        <pc:graphicFrameChg chg="add mod modGraphic">
          <ac:chgData name="SEIMANDI, Matthieu" userId="a1af33a6-fb38-46b3-9399-8c933e699451" providerId="ADAL" clId="{430C985F-A311-4434-952C-DEB42487B883}" dt="2024-02-15T13:49:40.167" v="4983"/>
          <ac:graphicFrameMkLst>
            <pc:docMk/>
            <pc:sldMk cId="2467275502" sldId="2147481381"/>
            <ac:graphicFrameMk id="4" creationId="{09F02517-2FF7-6613-2728-0FEF57FC42F7}"/>
          </ac:graphicFrameMkLst>
        </pc:graphicFrameChg>
        <pc:graphicFrameChg chg="mod modGraphic">
          <ac:chgData name="SEIMANDI, Matthieu" userId="a1af33a6-fb38-46b3-9399-8c933e699451" providerId="ADAL" clId="{430C985F-A311-4434-952C-DEB42487B883}" dt="2024-02-15T13:49:37.033" v="4982" actId="14734"/>
          <ac:graphicFrameMkLst>
            <pc:docMk/>
            <pc:sldMk cId="2467275502" sldId="2147481381"/>
            <ac:graphicFrameMk id="6" creationId="{D3241E9E-640C-D1FC-20D7-923C981FA097}"/>
          </ac:graphicFrameMkLst>
        </pc:graphicFrameChg>
        <pc:graphicFrameChg chg="mod modGraphic">
          <ac:chgData name="SEIMANDI, Matthieu" userId="a1af33a6-fb38-46b3-9399-8c933e699451" providerId="ADAL" clId="{430C985F-A311-4434-952C-DEB42487B883}" dt="2024-02-19T09:16:27.347" v="5331" actId="1035"/>
          <ac:graphicFrameMkLst>
            <pc:docMk/>
            <pc:sldMk cId="2467275502" sldId="2147481381"/>
            <ac:graphicFrameMk id="7" creationId="{92C26AF8-2405-9EDB-AF57-1F995BCCE876}"/>
          </ac:graphicFrameMkLst>
        </pc:graphicFrameChg>
        <pc:graphicFrameChg chg="add mod modGraphic">
          <ac:chgData name="SEIMANDI, Matthieu" userId="a1af33a6-fb38-46b3-9399-8c933e699451" providerId="ADAL" clId="{430C985F-A311-4434-952C-DEB42487B883}" dt="2024-02-19T09:16:27.347" v="5331" actId="1035"/>
          <ac:graphicFrameMkLst>
            <pc:docMk/>
            <pc:sldMk cId="2467275502" sldId="2147481381"/>
            <ac:graphicFrameMk id="8" creationId="{FFEB103E-C13F-DAA8-0F7D-3D123E4BF5A8}"/>
          </ac:graphicFrameMkLst>
        </pc:graphicFrameChg>
        <pc:graphicFrameChg chg="del">
          <ac:chgData name="SEIMANDI, Matthieu" userId="a1af33a6-fb38-46b3-9399-8c933e699451" providerId="ADAL" clId="{430C985F-A311-4434-952C-DEB42487B883}" dt="2024-02-15T10:51:40.756" v="3179" actId="478"/>
          <ac:graphicFrameMkLst>
            <pc:docMk/>
            <pc:sldMk cId="2467275502" sldId="2147481381"/>
            <ac:graphicFrameMk id="10" creationId="{FD17E388-F992-20EF-CC2C-DBC9BE5A1DF6}"/>
          </ac:graphicFrameMkLst>
        </pc:graphicFrameChg>
        <pc:graphicFrameChg chg="del">
          <ac:chgData name="SEIMANDI, Matthieu" userId="a1af33a6-fb38-46b3-9399-8c933e699451" providerId="ADAL" clId="{430C985F-A311-4434-952C-DEB42487B883}" dt="2024-02-15T10:51:40.756" v="3179" actId="478"/>
          <ac:graphicFrameMkLst>
            <pc:docMk/>
            <pc:sldMk cId="2467275502" sldId="2147481381"/>
            <ac:graphicFrameMk id="11" creationId="{5881EFAB-1147-F18A-6EB2-5B3658D2AA8F}"/>
          </ac:graphicFrameMkLst>
        </pc:graphicFrameChg>
        <pc:graphicFrameChg chg="add mod modGraphic">
          <ac:chgData name="SEIMANDI, Matthieu" userId="a1af33a6-fb38-46b3-9399-8c933e699451" providerId="ADAL" clId="{430C985F-A311-4434-952C-DEB42487B883}" dt="2024-02-15T13:49:42.225" v="4984"/>
          <ac:graphicFrameMkLst>
            <pc:docMk/>
            <pc:sldMk cId="2467275502" sldId="2147481381"/>
            <ac:graphicFrameMk id="13" creationId="{8C8AC08E-D829-CFD7-76A9-EB5C1EA9DDA1}"/>
          </ac:graphicFrameMkLst>
        </pc:graphicFrameChg>
        <pc:graphicFrameChg chg="add mod modGraphic">
          <ac:chgData name="SEIMANDI, Matthieu" userId="a1af33a6-fb38-46b3-9399-8c933e699451" providerId="ADAL" clId="{430C985F-A311-4434-952C-DEB42487B883}" dt="2024-02-19T09:16:27.347" v="5331" actId="1035"/>
          <ac:graphicFrameMkLst>
            <pc:docMk/>
            <pc:sldMk cId="2467275502" sldId="2147481381"/>
            <ac:graphicFrameMk id="14" creationId="{D8362BF0-94B9-59D0-A294-B7B3E21ABA53}"/>
          </ac:graphicFrameMkLst>
        </pc:graphicFrameChg>
        <pc:picChg chg="del">
          <ac:chgData name="SEIMANDI, Matthieu" userId="a1af33a6-fb38-46b3-9399-8c933e699451" providerId="ADAL" clId="{430C985F-A311-4434-952C-DEB42487B883}" dt="2024-02-15T10:50:08.210" v="3130" actId="478"/>
          <ac:picMkLst>
            <pc:docMk/>
            <pc:sldMk cId="2467275502" sldId="2147481381"/>
            <ac:picMk id="5" creationId="{A138EE98-34F7-346A-8669-A01E0B7F5E45}"/>
          </ac:picMkLst>
        </pc:picChg>
        <pc:picChg chg="del">
          <ac:chgData name="SEIMANDI, Matthieu" userId="a1af33a6-fb38-46b3-9399-8c933e699451" providerId="ADAL" clId="{430C985F-A311-4434-952C-DEB42487B883}" dt="2024-02-15T10:50:08.210" v="3130" actId="478"/>
          <ac:picMkLst>
            <pc:docMk/>
            <pc:sldMk cId="2467275502" sldId="2147481381"/>
            <ac:picMk id="9" creationId="{E184A776-179F-E446-80C1-6A5825B73EB8}"/>
          </ac:picMkLst>
        </pc:picChg>
        <pc:picChg chg="add mod">
          <ac:chgData name="SEIMANDI, Matthieu" userId="a1af33a6-fb38-46b3-9399-8c933e699451" providerId="ADAL" clId="{430C985F-A311-4434-952C-DEB42487B883}" dt="2024-02-15T13:23:23.864" v="4351" actId="1038"/>
          <ac:picMkLst>
            <pc:docMk/>
            <pc:sldMk cId="2467275502" sldId="2147481381"/>
            <ac:picMk id="17" creationId="{DAC251CE-BD65-6BB5-4BE3-C1E2AC16FFF2}"/>
          </ac:picMkLst>
        </pc:picChg>
        <pc:picChg chg="add mod">
          <ac:chgData name="SEIMANDI, Matthieu" userId="a1af33a6-fb38-46b3-9399-8c933e699451" providerId="ADAL" clId="{430C985F-A311-4434-952C-DEB42487B883}" dt="2024-02-15T13:39:25.744" v="4798" actId="1037"/>
          <ac:picMkLst>
            <pc:docMk/>
            <pc:sldMk cId="2467275502" sldId="2147481381"/>
            <ac:picMk id="19" creationId="{CF6C8EA4-B09C-1AB2-44D0-5C9C898FE85D}"/>
          </ac:picMkLst>
        </pc:picChg>
        <pc:picChg chg="add mod">
          <ac:chgData name="SEIMANDI, Matthieu" userId="a1af33a6-fb38-46b3-9399-8c933e699451" providerId="ADAL" clId="{430C985F-A311-4434-952C-DEB42487B883}" dt="2024-02-15T13:42:38.284" v="4832" actId="1076"/>
          <ac:picMkLst>
            <pc:docMk/>
            <pc:sldMk cId="2467275502" sldId="2147481381"/>
            <ac:picMk id="21" creationId="{3AB78BBF-0C77-7A6A-8E57-0B99D06463CC}"/>
          </ac:picMkLst>
        </pc:picChg>
        <pc:picChg chg="add mod">
          <ac:chgData name="SEIMANDI, Matthieu" userId="a1af33a6-fb38-46b3-9399-8c933e699451" providerId="ADAL" clId="{430C985F-A311-4434-952C-DEB42487B883}" dt="2024-02-15T13:42:55.293" v="4836" actId="1076"/>
          <ac:picMkLst>
            <pc:docMk/>
            <pc:sldMk cId="2467275502" sldId="2147481381"/>
            <ac:picMk id="22" creationId="{87898842-5D78-58B2-7F74-ECE5C0E155D1}"/>
          </ac:picMkLst>
        </pc:picChg>
        <pc:picChg chg="del">
          <ac:chgData name="SEIMANDI, Matthieu" userId="a1af33a6-fb38-46b3-9399-8c933e699451" providerId="ADAL" clId="{430C985F-A311-4434-952C-DEB42487B883}" dt="2024-02-15T10:50:08.210" v="3130" actId="478"/>
          <ac:picMkLst>
            <pc:docMk/>
            <pc:sldMk cId="2467275502" sldId="2147481381"/>
            <ac:picMk id="1026" creationId="{8F4A9B91-3213-68F3-DD51-D3BBA5BFAD66}"/>
          </ac:picMkLst>
        </pc:picChg>
        <pc:picChg chg="add mod">
          <ac:chgData name="SEIMANDI, Matthieu" userId="a1af33a6-fb38-46b3-9399-8c933e699451" providerId="ADAL" clId="{430C985F-A311-4434-952C-DEB42487B883}" dt="2024-02-15T11:12:25.414" v="3840" actId="14100"/>
          <ac:picMkLst>
            <pc:docMk/>
            <pc:sldMk cId="2467275502" sldId="2147481381"/>
            <ac:picMk id="2050" creationId="{958849C3-24F7-C1FE-1E4E-34AABA3C4646}"/>
          </ac:picMkLst>
        </pc:picChg>
        <pc:picChg chg="add mod">
          <ac:chgData name="SEIMANDI, Matthieu" userId="a1af33a6-fb38-46b3-9399-8c933e699451" providerId="ADAL" clId="{430C985F-A311-4434-952C-DEB42487B883}" dt="2024-02-15T13:28:41.220" v="4384" actId="12789"/>
          <ac:picMkLst>
            <pc:docMk/>
            <pc:sldMk cId="2467275502" sldId="2147481381"/>
            <ac:picMk id="2052" creationId="{90E5D508-495B-D07F-007C-2F11CB27009F}"/>
          </ac:picMkLst>
        </pc:picChg>
        <pc:picChg chg="add mod">
          <ac:chgData name="SEIMANDI, Matthieu" userId="a1af33a6-fb38-46b3-9399-8c933e699451" providerId="ADAL" clId="{430C985F-A311-4434-952C-DEB42487B883}" dt="2024-02-15T13:28:41.220" v="4384" actId="12789"/>
          <ac:picMkLst>
            <pc:docMk/>
            <pc:sldMk cId="2467275502" sldId="2147481381"/>
            <ac:picMk id="2054" creationId="{940A5AA5-80BA-5A55-0EB1-001F475CF7F2}"/>
          </ac:picMkLst>
        </pc:picChg>
      </pc:sldChg>
      <pc:sldChg chg="addSp delSp modSp mod chgLayout">
        <pc:chgData name="SEIMANDI, Matthieu" userId="a1af33a6-fb38-46b3-9399-8c933e699451" providerId="ADAL" clId="{430C985F-A311-4434-952C-DEB42487B883}" dt="2024-02-15T16:13:34.126" v="4986" actId="478"/>
        <pc:sldMkLst>
          <pc:docMk/>
          <pc:sldMk cId="3698260246" sldId="2147481382"/>
        </pc:sldMkLst>
        <pc:spChg chg="mod ord">
          <ac:chgData name="SEIMANDI, Matthieu" userId="a1af33a6-fb38-46b3-9399-8c933e699451" providerId="ADAL" clId="{430C985F-A311-4434-952C-DEB42487B883}" dt="2024-02-15T16:13:29.222" v="4985" actId="700"/>
          <ac:spMkLst>
            <pc:docMk/>
            <pc:sldMk cId="3698260246" sldId="2147481382"/>
            <ac:spMk id="3" creationId="{0B0CC262-3357-416C-8DBF-45ECC05CCA47}"/>
          </ac:spMkLst>
        </pc:spChg>
        <pc:spChg chg="add del mod ord">
          <ac:chgData name="SEIMANDI, Matthieu" userId="a1af33a6-fb38-46b3-9399-8c933e699451" providerId="ADAL" clId="{430C985F-A311-4434-952C-DEB42487B883}" dt="2024-02-15T16:13:34.126" v="4986" actId="478"/>
          <ac:spMkLst>
            <pc:docMk/>
            <pc:sldMk cId="3698260246" sldId="2147481382"/>
            <ac:spMk id="4" creationId="{28930FD6-6BAA-4474-D471-EB9DF4BFE9DC}"/>
          </ac:spMkLst>
        </pc:spChg>
      </pc:sldChg>
      <pc:sldChg chg="addSp modSp mod">
        <pc:chgData name="SEIMANDI, Matthieu" userId="a1af33a6-fb38-46b3-9399-8c933e699451" providerId="ADAL" clId="{430C985F-A311-4434-952C-DEB42487B883}" dt="2024-02-19T09:23:28.309" v="5351" actId="1076"/>
        <pc:sldMkLst>
          <pc:docMk/>
          <pc:sldMk cId="2343162873" sldId="2147481395"/>
        </pc:sldMkLst>
        <pc:spChg chg="mod">
          <ac:chgData name="SEIMANDI, Matthieu" userId="a1af33a6-fb38-46b3-9399-8c933e699451" providerId="ADAL" clId="{430C985F-A311-4434-952C-DEB42487B883}" dt="2024-02-19T09:22:02.258" v="5334" actId="20577"/>
          <ac:spMkLst>
            <pc:docMk/>
            <pc:sldMk cId="2343162873" sldId="2147481395"/>
            <ac:spMk id="7" creationId="{26EF2914-107A-4255-96D0-EB57A51F375D}"/>
          </ac:spMkLst>
        </pc:spChg>
        <pc:picChg chg="add mod">
          <ac:chgData name="SEIMANDI, Matthieu" userId="a1af33a6-fb38-46b3-9399-8c933e699451" providerId="ADAL" clId="{430C985F-A311-4434-952C-DEB42487B883}" dt="2024-02-19T09:23:12.515" v="5346" actId="1076"/>
          <ac:picMkLst>
            <pc:docMk/>
            <pc:sldMk cId="2343162873" sldId="2147481395"/>
            <ac:picMk id="3" creationId="{C56EDE0A-D3B8-CB0E-EB44-BD47752AF56F}"/>
          </ac:picMkLst>
        </pc:picChg>
        <pc:picChg chg="add mod">
          <ac:chgData name="SEIMANDI, Matthieu" userId="a1af33a6-fb38-46b3-9399-8c933e699451" providerId="ADAL" clId="{430C985F-A311-4434-952C-DEB42487B883}" dt="2024-02-19T09:23:28.309" v="5351" actId="1076"/>
          <ac:picMkLst>
            <pc:docMk/>
            <pc:sldMk cId="2343162873" sldId="2147481395"/>
            <ac:picMk id="4" creationId="{583695C9-6B06-4B19-1A6D-835DDA96ABB2}"/>
          </ac:picMkLst>
        </pc:picChg>
        <pc:picChg chg="mod">
          <ac:chgData name="SEIMANDI, Matthieu" userId="a1af33a6-fb38-46b3-9399-8c933e699451" providerId="ADAL" clId="{430C985F-A311-4434-952C-DEB42487B883}" dt="2024-02-19T09:22:35.181" v="5337" actId="207"/>
          <ac:picMkLst>
            <pc:docMk/>
            <pc:sldMk cId="2343162873" sldId="2147481395"/>
            <ac:picMk id="10" creationId="{6A9E0351-3495-4419-8514-E8214C87ECD4}"/>
          </ac:picMkLst>
        </pc:picChg>
      </pc:sldChg>
      <pc:sldChg chg="addSp modSp mod">
        <pc:chgData name="SEIMANDI, Matthieu" userId="a1af33a6-fb38-46b3-9399-8c933e699451" providerId="ADAL" clId="{430C985F-A311-4434-952C-DEB42487B883}" dt="2024-03-08T09:49:54.835" v="7444" actId="179"/>
        <pc:sldMkLst>
          <pc:docMk/>
          <pc:sldMk cId="2921129530" sldId="2147481396"/>
        </pc:sldMkLst>
        <pc:spChg chg="mod">
          <ac:chgData name="SEIMANDI, Matthieu" userId="a1af33a6-fb38-46b3-9399-8c933e699451" providerId="ADAL" clId="{430C985F-A311-4434-952C-DEB42487B883}" dt="2024-03-08T09:49:54.835" v="7444" actId="179"/>
          <ac:spMkLst>
            <pc:docMk/>
            <pc:sldMk cId="2921129530" sldId="2147481396"/>
            <ac:spMk id="7" creationId="{26EF2914-107A-4255-96D0-EB57A51F375D}"/>
          </ac:spMkLst>
        </pc:spChg>
        <pc:picChg chg="add mod">
          <ac:chgData name="SEIMANDI, Matthieu" userId="a1af33a6-fb38-46b3-9399-8c933e699451" providerId="ADAL" clId="{430C985F-A311-4434-952C-DEB42487B883}" dt="2024-03-08T09:49:49.691" v="7443"/>
          <ac:picMkLst>
            <pc:docMk/>
            <pc:sldMk cId="2921129530" sldId="2147481396"/>
            <ac:picMk id="2" creationId="{AE707957-A9FE-EAB3-D9BC-1C746EA30029}"/>
          </ac:picMkLst>
        </pc:picChg>
        <pc:picChg chg="add mod">
          <ac:chgData name="SEIMANDI, Matthieu" userId="a1af33a6-fb38-46b3-9399-8c933e699451" providerId="ADAL" clId="{430C985F-A311-4434-952C-DEB42487B883}" dt="2024-03-08T09:49:49.691" v="7443"/>
          <ac:picMkLst>
            <pc:docMk/>
            <pc:sldMk cId="2921129530" sldId="2147481396"/>
            <ac:picMk id="3" creationId="{18CA18F9-2BCF-D205-AA64-2F5DF1EC9773}"/>
          </ac:picMkLst>
        </pc:picChg>
      </pc:sldChg>
      <pc:sldChg chg="modSp mod">
        <pc:chgData name="SEIMANDI, Matthieu" userId="a1af33a6-fb38-46b3-9399-8c933e699451" providerId="ADAL" clId="{430C985F-A311-4434-952C-DEB42487B883}" dt="2024-02-19T09:14:03.938" v="5212" actId="20577"/>
        <pc:sldMkLst>
          <pc:docMk/>
          <pc:sldMk cId="332520229" sldId="2147481408"/>
        </pc:sldMkLst>
        <pc:spChg chg="mod">
          <ac:chgData name="SEIMANDI, Matthieu" userId="a1af33a6-fb38-46b3-9399-8c933e699451" providerId="ADAL" clId="{430C985F-A311-4434-952C-DEB42487B883}" dt="2024-02-19T09:14:03.938" v="5212" actId="20577"/>
          <ac:spMkLst>
            <pc:docMk/>
            <pc:sldMk cId="332520229" sldId="2147481408"/>
            <ac:spMk id="13" creationId="{8A087B72-1431-9F94-6268-5AACA0369442}"/>
          </ac:spMkLst>
        </pc:spChg>
      </pc:sldChg>
      <pc:sldChg chg="addSp modSp mod">
        <pc:chgData name="SEIMANDI, Matthieu" userId="a1af33a6-fb38-46b3-9399-8c933e699451" providerId="ADAL" clId="{430C985F-A311-4434-952C-DEB42487B883}" dt="2024-02-19T09:24:39.859" v="5392" actId="404"/>
        <pc:sldMkLst>
          <pc:docMk/>
          <pc:sldMk cId="752513075" sldId="2147481410"/>
        </pc:sldMkLst>
        <pc:spChg chg="add mod">
          <ac:chgData name="SEIMANDI, Matthieu" userId="a1af33a6-fb38-46b3-9399-8c933e699451" providerId="ADAL" clId="{430C985F-A311-4434-952C-DEB42487B883}" dt="2024-02-19T09:24:39.859" v="5392" actId="404"/>
          <ac:spMkLst>
            <pc:docMk/>
            <pc:sldMk cId="752513075" sldId="2147481410"/>
            <ac:spMk id="2" creationId="{4ED8F5DC-8BCB-E742-F89A-74042A74F308}"/>
          </ac:spMkLst>
        </pc:spChg>
      </pc:sldChg>
      <pc:sldChg chg="ord">
        <pc:chgData name="SEIMANDI, Matthieu" userId="a1af33a6-fb38-46b3-9399-8c933e699451" providerId="ADAL" clId="{430C985F-A311-4434-952C-DEB42487B883}" dt="2024-02-20T10:29:36.737" v="5409"/>
        <pc:sldMkLst>
          <pc:docMk/>
          <pc:sldMk cId="2462120984" sldId="2147481413"/>
        </pc:sldMkLst>
      </pc:sldChg>
      <pc:sldChg chg="addSp modSp mod">
        <pc:chgData name="SEIMANDI, Matthieu" userId="a1af33a6-fb38-46b3-9399-8c933e699451" providerId="ADAL" clId="{430C985F-A311-4434-952C-DEB42487B883}" dt="2024-03-04T09:40:51.800" v="7080" actId="14100"/>
        <pc:sldMkLst>
          <pc:docMk/>
          <pc:sldMk cId="1732532695" sldId="2147481416"/>
        </pc:sldMkLst>
        <pc:spChg chg="mod">
          <ac:chgData name="SEIMANDI, Matthieu" userId="a1af33a6-fb38-46b3-9399-8c933e699451" providerId="ADAL" clId="{430C985F-A311-4434-952C-DEB42487B883}" dt="2024-03-04T09:37:29.733" v="6672" actId="20577"/>
          <ac:spMkLst>
            <pc:docMk/>
            <pc:sldMk cId="1732532695" sldId="2147481416"/>
            <ac:spMk id="3" creationId="{C62AE81E-3DD0-C0EF-F08A-1DFA186EBC4E}"/>
          </ac:spMkLst>
        </pc:spChg>
        <pc:spChg chg="add mod">
          <ac:chgData name="SEIMANDI, Matthieu" userId="a1af33a6-fb38-46b3-9399-8c933e699451" providerId="ADAL" clId="{430C985F-A311-4434-952C-DEB42487B883}" dt="2024-03-04T09:40:38.060" v="7077" actId="20577"/>
          <ac:spMkLst>
            <pc:docMk/>
            <pc:sldMk cId="1732532695" sldId="2147481416"/>
            <ac:spMk id="4" creationId="{AF536E5D-7304-B0F9-C375-DF60AFD6165F}"/>
          </ac:spMkLst>
        </pc:spChg>
        <pc:spChg chg="mod">
          <ac:chgData name="SEIMANDI, Matthieu" userId="a1af33a6-fb38-46b3-9399-8c933e699451" providerId="ADAL" clId="{430C985F-A311-4434-952C-DEB42487B883}" dt="2024-03-04T09:40:46.977" v="7078" actId="14100"/>
          <ac:spMkLst>
            <pc:docMk/>
            <pc:sldMk cId="1732532695" sldId="2147481416"/>
            <ac:spMk id="6" creationId="{E56BB84D-BF1A-27BE-70F0-2745B07B07F2}"/>
          </ac:spMkLst>
        </pc:spChg>
        <pc:spChg chg="mod">
          <ac:chgData name="SEIMANDI, Matthieu" userId="a1af33a6-fb38-46b3-9399-8c933e699451" providerId="ADAL" clId="{430C985F-A311-4434-952C-DEB42487B883}" dt="2024-03-04T09:40:49.112" v="7079" actId="14100"/>
          <ac:spMkLst>
            <pc:docMk/>
            <pc:sldMk cId="1732532695" sldId="2147481416"/>
            <ac:spMk id="19" creationId="{17E2CCA3-0364-380E-292A-8F28F0F4ED6E}"/>
          </ac:spMkLst>
        </pc:spChg>
        <pc:spChg chg="mod">
          <ac:chgData name="SEIMANDI, Matthieu" userId="a1af33a6-fb38-46b3-9399-8c933e699451" providerId="ADAL" clId="{430C985F-A311-4434-952C-DEB42487B883}" dt="2024-03-04T09:40:51.800" v="7080" actId="14100"/>
          <ac:spMkLst>
            <pc:docMk/>
            <pc:sldMk cId="1732532695" sldId="2147481416"/>
            <ac:spMk id="20" creationId="{308B57EF-03DE-8087-E687-63733FE4B9D3}"/>
          </ac:spMkLst>
        </pc:spChg>
        <pc:spChg chg="mod">
          <ac:chgData name="SEIMANDI, Matthieu" userId="a1af33a6-fb38-46b3-9399-8c933e699451" providerId="ADAL" clId="{430C985F-A311-4434-952C-DEB42487B883}" dt="2024-03-04T09:37:25.187" v="6671" actId="14100"/>
          <ac:spMkLst>
            <pc:docMk/>
            <pc:sldMk cId="1732532695" sldId="2147481416"/>
            <ac:spMk id="21" creationId="{8E983B6E-F80A-F1ED-886C-7BDDA0817AC7}"/>
          </ac:spMkLst>
        </pc:spChg>
        <pc:spChg chg="mod">
          <ac:chgData name="SEIMANDI, Matthieu" userId="a1af33a6-fb38-46b3-9399-8c933e699451" providerId="ADAL" clId="{430C985F-A311-4434-952C-DEB42487B883}" dt="2024-03-04T09:37:11.220" v="6668" actId="14100"/>
          <ac:spMkLst>
            <pc:docMk/>
            <pc:sldMk cId="1732532695" sldId="2147481416"/>
            <ac:spMk id="1027" creationId="{F20AD3C4-69DC-32E7-514E-12D54DA4A423}"/>
          </ac:spMkLst>
        </pc:spChg>
        <pc:spChg chg="mod">
          <ac:chgData name="SEIMANDI, Matthieu" userId="a1af33a6-fb38-46b3-9399-8c933e699451" providerId="ADAL" clId="{430C985F-A311-4434-952C-DEB42487B883}" dt="2024-03-04T09:37:20.407" v="6670" actId="14100"/>
          <ac:spMkLst>
            <pc:docMk/>
            <pc:sldMk cId="1732532695" sldId="2147481416"/>
            <ac:spMk id="1035" creationId="{3B68DC65-CEC0-1942-DFBD-4856D7EEBCAB}"/>
          </ac:spMkLst>
        </pc:spChg>
        <pc:spChg chg="mod">
          <ac:chgData name="SEIMANDI, Matthieu" userId="a1af33a6-fb38-46b3-9399-8c933e699451" providerId="ADAL" clId="{430C985F-A311-4434-952C-DEB42487B883}" dt="2024-03-04T09:37:03.819" v="6666" actId="1035"/>
          <ac:spMkLst>
            <pc:docMk/>
            <pc:sldMk cId="1732532695" sldId="2147481416"/>
            <ac:spMk id="1043" creationId="{29BACFF1-CA0E-38D6-4B7D-361E074A5A54}"/>
          </ac:spMkLst>
        </pc:spChg>
        <pc:picChg chg="mod">
          <ac:chgData name="SEIMANDI, Matthieu" userId="a1af33a6-fb38-46b3-9399-8c933e699451" providerId="ADAL" clId="{430C985F-A311-4434-952C-DEB42487B883}" dt="2024-03-04T09:37:03.819" v="6666" actId="1035"/>
          <ac:picMkLst>
            <pc:docMk/>
            <pc:sldMk cId="1732532695" sldId="2147481416"/>
            <ac:picMk id="1040" creationId="{5D573DEC-CE0D-9A23-415C-F1CB91338FBC}"/>
          </ac:picMkLst>
        </pc:picChg>
        <pc:picChg chg="mod">
          <ac:chgData name="SEIMANDI, Matthieu" userId="a1af33a6-fb38-46b3-9399-8c933e699451" providerId="ADAL" clId="{430C985F-A311-4434-952C-DEB42487B883}" dt="2024-03-04T09:37:03.819" v="6666" actId="1035"/>
          <ac:picMkLst>
            <pc:docMk/>
            <pc:sldMk cId="1732532695" sldId="2147481416"/>
            <ac:picMk id="1042" creationId="{694D956B-00C1-8B83-B199-F018F81C17D6}"/>
          </ac:picMkLst>
        </pc:picChg>
        <pc:picChg chg="mod">
          <ac:chgData name="SEIMANDI, Matthieu" userId="a1af33a6-fb38-46b3-9399-8c933e699451" providerId="ADAL" clId="{430C985F-A311-4434-952C-DEB42487B883}" dt="2024-03-04T09:37:03.819" v="6666" actId="1035"/>
          <ac:picMkLst>
            <pc:docMk/>
            <pc:sldMk cId="1732532695" sldId="2147481416"/>
            <ac:picMk id="1044" creationId="{01A3656B-7B4E-8D36-C9B6-6E5B14D03298}"/>
          </ac:picMkLst>
        </pc:picChg>
        <pc:cxnChg chg="mod">
          <ac:chgData name="SEIMANDI, Matthieu" userId="a1af33a6-fb38-46b3-9399-8c933e699451" providerId="ADAL" clId="{430C985F-A311-4434-952C-DEB42487B883}" dt="2024-03-04T09:37:09.042" v="6667" actId="14100"/>
          <ac:cxnSpMkLst>
            <pc:docMk/>
            <pc:sldMk cId="1732532695" sldId="2147481416"/>
            <ac:cxnSpMk id="1025" creationId="{58E21308-D16C-28CE-2624-8A0B5D1CE1B2}"/>
          </ac:cxnSpMkLst>
        </pc:cxnChg>
        <pc:cxnChg chg="mod">
          <ac:chgData name="SEIMANDI, Matthieu" userId="a1af33a6-fb38-46b3-9399-8c933e699451" providerId="ADAL" clId="{430C985F-A311-4434-952C-DEB42487B883}" dt="2024-03-04T09:37:03.819" v="6666" actId="1035"/>
          <ac:cxnSpMkLst>
            <pc:docMk/>
            <pc:sldMk cId="1732532695" sldId="2147481416"/>
            <ac:cxnSpMk id="1029" creationId="{0700A912-0E0E-F2CA-6AA3-C3AF51420626}"/>
          </ac:cxnSpMkLst>
        </pc:cxnChg>
        <pc:cxnChg chg="mod">
          <ac:chgData name="SEIMANDI, Matthieu" userId="a1af33a6-fb38-46b3-9399-8c933e699451" providerId="ADAL" clId="{430C985F-A311-4434-952C-DEB42487B883}" dt="2024-03-04T09:37:03.819" v="6666" actId="1035"/>
          <ac:cxnSpMkLst>
            <pc:docMk/>
            <pc:sldMk cId="1732532695" sldId="2147481416"/>
            <ac:cxnSpMk id="1046" creationId="{E2D46BF3-22B7-07F5-12CC-6ECF7960E3C7}"/>
          </ac:cxnSpMkLst>
        </pc:cxnChg>
      </pc:sldChg>
      <pc:sldChg chg="addSp modSp">
        <pc:chgData name="SEIMANDI, Matthieu" userId="a1af33a6-fb38-46b3-9399-8c933e699451" providerId="ADAL" clId="{430C985F-A311-4434-952C-DEB42487B883}" dt="2024-03-04T09:41:22.281" v="7089" actId="1076"/>
        <pc:sldMkLst>
          <pc:docMk/>
          <pc:sldMk cId="3824454684" sldId="2147481417"/>
        </pc:sldMkLst>
        <pc:picChg chg="add mod">
          <ac:chgData name="SEIMANDI, Matthieu" userId="a1af33a6-fb38-46b3-9399-8c933e699451" providerId="ADAL" clId="{430C985F-A311-4434-952C-DEB42487B883}" dt="2024-03-04T09:41:22.281" v="7089" actId="1076"/>
          <ac:picMkLst>
            <pc:docMk/>
            <pc:sldMk cId="3824454684" sldId="2147481417"/>
            <ac:picMk id="4" creationId="{CB857379-99EF-755D-0C7D-B85070B7AA94}"/>
          </ac:picMkLst>
        </pc:picChg>
      </pc:sldChg>
      <pc:sldChg chg="addSp delSp modSp mod ord">
        <pc:chgData name="SEIMANDI, Matthieu" userId="a1af33a6-fb38-46b3-9399-8c933e699451" providerId="ADAL" clId="{430C985F-A311-4434-952C-DEB42487B883}" dt="2024-03-04T09:57:37.754" v="7389"/>
        <pc:sldMkLst>
          <pc:docMk/>
          <pc:sldMk cId="857632846" sldId="2147481424"/>
        </pc:sldMkLst>
        <pc:spChg chg="add mod">
          <ac:chgData name="SEIMANDI, Matthieu" userId="a1af33a6-fb38-46b3-9399-8c933e699451" providerId="ADAL" clId="{430C985F-A311-4434-952C-DEB42487B883}" dt="2024-03-04T09:45:18.530" v="7207"/>
          <ac:spMkLst>
            <pc:docMk/>
            <pc:sldMk cId="857632846" sldId="2147481424"/>
            <ac:spMk id="2" creationId="{AD452A55-7632-4D92-AC43-9B7CF3AFA5FC}"/>
          </ac:spMkLst>
        </pc:spChg>
        <pc:spChg chg="add mod">
          <ac:chgData name="SEIMANDI, Matthieu" userId="a1af33a6-fb38-46b3-9399-8c933e699451" providerId="ADAL" clId="{430C985F-A311-4434-952C-DEB42487B883}" dt="2024-03-04T09:45:18.530" v="7207"/>
          <ac:spMkLst>
            <pc:docMk/>
            <pc:sldMk cId="857632846" sldId="2147481424"/>
            <ac:spMk id="3" creationId="{8313B2AC-9154-7515-0F3E-2BBFC35CB185}"/>
          </ac:spMkLst>
        </pc:spChg>
        <pc:spChg chg="add mod">
          <ac:chgData name="SEIMANDI, Matthieu" userId="a1af33a6-fb38-46b3-9399-8c933e699451" providerId="ADAL" clId="{430C985F-A311-4434-952C-DEB42487B883}" dt="2024-03-04T09:45:18.530" v="7207"/>
          <ac:spMkLst>
            <pc:docMk/>
            <pc:sldMk cId="857632846" sldId="2147481424"/>
            <ac:spMk id="4" creationId="{E46E68A7-06AE-A9D0-1A91-211F313A8ABB}"/>
          </ac:spMkLst>
        </pc:spChg>
        <pc:spChg chg="add mod">
          <ac:chgData name="SEIMANDI, Matthieu" userId="a1af33a6-fb38-46b3-9399-8c933e699451" providerId="ADAL" clId="{430C985F-A311-4434-952C-DEB42487B883}" dt="2024-03-04T09:45:18.530" v="7207"/>
          <ac:spMkLst>
            <pc:docMk/>
            <pc:sldMk cId="857632846" sldId="2147481424"/>
            <ac:spMk id="5" creationId="{7D021454-D0D8-91C1-3DB1-6F8D17B319CC}"/>
          </ac:spMkLst>
        </pc:spChg>
        <pc:spChg chg="mod">
          <ac:chgData name="SEIMANDI, Matthieu" userId="a1af33a6-fb38-46b3-9399-8c933e699451" providerId="ADAL" clId="{430C985F-A311-4434-952C-DEB42487B883}" dt="2024-03-04T09:46:27.727" v="7258" actId="14100"/>
          <ac:spMkLst>
            <pc:docMk/>
            <pc:sldMk cId="857632846" sldId="2147481424"/>
            <ac:spMk id="8" creationId="{A8741D12-6817-404C-B9DE-65BA88D46907}"/>
          </ac:spMkLst>
        </pc:spChg>
        <pc:spChg chg="add mod ord">
          <ac:chgData name="SEIMANDI, Matthieu" userId="a1af33a6-fb38-46b3-9399-8c933e699451" providerId="ADAL" clId="{430C985F-A311-4434-952C-DEB42487B883}" dt="2024-03-04T09:57:26.155" v="7388" actId="207"/>
          <ac:spMkLst>
            <pc:docMk/>
            <pc:sldMk cId="857632846" sldId="2147481424"/>
            <ac:spMk id="9" creationId="{FF74E903-BA35-62F7-8FD5-0AFF312FC9F0}"/>
          </ac:spMkLst>
        </pc:spChg>
        <pc:spChg chg="mod">
          <ac:chgData name="SEIMANDI, Matthieu" userId="a1af33a6-fb38-46b3-9399-8c933e699451" providerId="ADAL" clId="{430C985F-A311-4434-952C-DEB42487B883}" dt="2024-03-04T09:57:37.754" v="7389"/>
          <ac:spMkLst>
            <pc:docMk/>
            <pc:sldMk cId="857632846" sldId="2147481424"/>
            <ac:spMk id="11" creationId="{5448EEBE-89DF-87F9-9ADE-0FB1895E6728}"/>
          </ac:spMkLst>
        </pc:spChg>
        <pc:spChg chg="mod">
          <ac:chgData name="SEIMANDI, Matthieu" userId="a1af33a6-fb38-46b3-9399-8c933e699451" providerId="ADAL" clId="{430C985F-A311-4434-952C-DEB42487B883}" dt="2024-03-04T09:57:37.754" v="7389"/>
          <ac:spMkLst>
            <pc:docMk/>
            <pc:sldMk cId="857632846" sldId="2147481424"/>
            <ac:spMk id="12" creationId="{CAC6FAD1-B8B2-0F56-A887-5785106AF9CD}"/>
          </ac:spMkLst>
        </pc:spChg>
        <pc:grpChg chg="add mod">
          <ac:chgData name="SEIMANDI, Matthieu" userId="a1af33a6-fb38-46b3-9399-8c933e699451" providerId="ADAL" clId="{430C985F-A311-4434-952C-DEB42487B883}" dt="2024-03-04T09:57:37.754" v="7389"/>
          <ac:grpSpMkLst>
            <pc:docMk/>
            <pc:sldMk cId="857632846" sldId="2147481424"/>
            <ac:grpSpMk id="10" creationId="{3196C966-DA79-A8ED-4820-2D77EF84D6E6}"/>
          </ac:grpSpMkLst>
        </pc:grpChg>
        <pc:picChg chg="add mod">
          <ac:chgData name="SEIMANDI, Matthieu" userId="a1af33a6-fb38-46b3-9399-8c933e699451" providerId="ADAL" clId="{430C985F-A311-4434-952C-DEB42487B883}" dt="2024-03-04T09:46:10.496" v="7210" actId="1076"/>
          <ac:picMkLst>
            <pc:docMk/>
            <pc:sldMk cId="857632846" sldId="2147481424"/>
            <ac:picMk id="6" creationId="{C57ECFB5-A792-054F-4E96-F7BDABF0D79E}"/>
          </ac:picMkLst>
        </pc:picChg>
        <pc:picChg chg="add del mod">
          <ac:chgData name="SEIMANDI, Matthieu" userId="a1af33a6-fb38-46b3-9399-8c933e699451" providerId="ADAL" clId="{430C985F-A311-4434-952C-DEB42487B883}" dt="2024-03-04T09:46:33.901" v="7259" actId="478"/>
          <ac:picMkLst>
            <pc:docMk/>
            <pc:sldMk cId="857632846" sldId="2147481424"/>
            <ac:picMk id="7" creationId="{D96EDCBE-C8A9-BC98-D2EF-8BE56145BF3B}"/>
          </ac:picMkLst>
        </pc:picChg>
        <pc:picChg chg="add mod">
          <ac:chgData name="SEIMANDI, Matthieu" userId="a1af33a6-fb38-46b3-9399-8c933e699451" providerId="ADAL" clId="{430C985F-A311-4434-952C-DEB42487B883}" dt="2024-03-04T09:57:37.754" v="7389"/>
          <ac:picMkLst>
            <pc:docMk/>
            <pc:sldMk cId="857632846" sldId="2147481424"/>
            <ac:picMk id="13" creationId="{0E65EA3A-FF5C-D627-6C62-65326BB997C2}"/>
          </ac:picMkLst>
        </pc:picChg>
        <pc:picChg chg="add mod">
          <ac:chgData name="SEIMANDI, Matthieu" userId="a1af33a6-fb38-46b3-9399-8c933e699451" providerId="ADAL" clId="{430C985F-A311-4434-952C-DEB42487B883}" dt="2024-03-04T09:57:19.919" v="7359" actId="167"/>
          <ac:picMkLst>
            <pc:docMk/>
            <pc:sldMk cId="857632846" sldId="2147481424"/>
            <ac:picMk id="1026" creationId="{871E1C7F-BFAE-13C1-AC78-3B72E648E71B}"/>
          </ac:picMkLst>
        </pc:picChg>
        <pc:picChg chg="del">
          <ac:chgData name="SEIMANDI, Matthieu" userId="a1af33a6-fb38-46b3-9399-8c933e699451" providerId="ADAL" clId="{430C985F-A311-4434-952C-DEB42487B883}" dt="2024-03-04T09:56:54.041" v="7346" actId="478"/>
          <ac:picMkLst>
            <pc:docMk/>
            <pc:sldMk cId="857632846" sldId="2147481424"/>
            <ac:picMk id="6146" creationId="{C079166E-73C2-BF08-FE09-DA918FCC593E}"/>
          </ac:picMkLst>
        </pc:picChg>
      </pc:sldChg>
      <pc:sldChg chg="addSp delSp modSp mod">
        <pc:chgData name="SEIMANDI, Matthieu" userId="a1af33a6-fb38-46b3-9399-8c933e699451" providerId="ADAL" clId="{430C985F-A311-4434-952C-DEB42487B883}" dt="2024-03-04T10:01:40.163" v="7414" actId="167"/>
        <pc:sldMkLst>
          <pc:docMk/>
          <pc:sldMk cId="3743531163" sldId="2147481425"/>
        </pc:sldMkLst>
        <pc:spChg chg="add mod">
          <ac:chgData name="SEIMANDI, Matthieu" userId="a1af33a6-fb38-46b3-9399-8c933e699451" providerId="ADAL" clId="{430C985F-A311-4434-952C-DEB42487B883}" dt="2024-03-04T09:45:37.600" v="7208"/>
          <ac:spMkLst>
            <pc:docMk/>
            <pc:sldMk cId="3743531163" sldId="2147481425"/>
            <ac:spMk id="2" creationId="{DCE89C7F-E0CD-3F6E-5125-C368AE19FC36}"/>
          </ac:spMkLst>
        </pc:spChg>
        <pc:spChg chg="add mod">
          <ac:chgData name="SEIMANDI, Matthieu" userId="a1af33a6-fb38-46b3-9399-8c933e699451" providerId="ADAL" clId="{430C985F-A311-4434-952C-DEB42487B883}" dt="2024-03-04T09:45:37.600" v="7208"/>
          <ac:spMkLst>
            <pc:docMk/>
            <pc:sldMk cId="3743531163" sldId="2147481425"/>
            <ac:spMk id="3" creationId="{D26911AA-57A1-742E-266C-D4451B65FA59}"/>
          </ac:spMkLst>
        </pc:spChg>
        <pc:spChg chg="add mod">
          <ac:chgData name="SEIMANDI, Matthieu" userId="a1af33a6-fb38-46b3-9399-8c933e699451" providerId="ADAL" clId="{430C985F-A311-4434-952C-DEB42487B883}" dt="2024-03-04T09:45:37.600" v="7208"/>
          <ac:spMkLst>
            <pc:docMk/>
            <pc:sldMk cId="3743531163" sldId="2147481425"/>
            <ac:spMk id="4" creationId="{9114A4AC-6703-3D75-AF3B-C05864F149AC}"/>
          </ac:spMkLst>
        </pc:spChg>
        <pc:spChg chg="add mod">
          <ac:chgData name="SEIMANDI, Matthieu" userId="a1af33a6-fb38-46b3-9399-8c933e699451" providerId="ADAL" clId="{430C985F-A311-4434-952C-DEB42487B883}" dt="2024-03-04T09:45:37.600" v="7208"/>
          <ac:spMkLst>
            <pc:docMk/>
            <pc:sldMk cId="3743531163" sldId="2147481425"/>
            <ac:spMk id="5" creationId="{9F916157-E4AA-16D8-3E29-24132243ACC9}"/>
          </ac:spMkLst>
        </pc:spChg>
        <pc:spChg chg="add del mod">
          <ac:chgData name="SEIMANDI, Matthieu" userId="a1af33a6-fb38-46b3-9399-8c933e699451" providerId="ADAL" clId="{430C985F-A311-4434-952C-DEB42487B883}" dt="2024-03-04T09:57:52.204" v="7390" actId="478"/>
          <ac:spMkLst>
            <pc:docMk/>
            <pc:sldMk cId="3743531163" sldId="2147481425"/>
            <ac:spMk id="7" creationId="{14EEA4C0-ECF8-8949-322A-F82C32EAD432}"/>
          </ac:spMkLst>
        </pc:spChg>
        <pc:spChg chg="del">
          <ac:chgData name="SEIMANDI, Matthieu" userId="a1af33a6-fb38-46b3-9399-8c933e699451" providerId="ADAL" clId="{430C985F-A311-4434-952C-DEB42487B883}" dt="2024-03-04T09:46:42.237" v="7262" actId="478"/>
          <ac:spMkLst>
            <pc:docMk/>
            <pc:sldMk cId="3743531163" sldId="2147481425"/>
            <ac:spMk id="8" creationId="{A8741D12-6817-404C-B9DE-65BA88D46907}"/>
          </ac:spMkLst>
        </pc:spChg>
        <pc:spChg chg="add mod">
          <ac:chgData name="SEIMANDI, Matthieu" userId="a1af33a6-fb38-46b3-9399-8c933e699451" providerId="ADAL" clId="{430C985F-A311-4434-952C-DEB42487B883}" dt="2024-03-04T09:46:42.682" v="7263"/>
          <ac:spMkLst>
            <pc:docMk/>
            <pc:sldMk cId="3743531163" sldId="2147481425"/>
            <ac:spMk id="9" creationId="{27457EE5-E390-79A1-7DFE-0CFA9D2B7EB6}"/>
          </ac:spMkLst>
        </pc:spChg>
        <pc:spChg chg="add mod ord">
          <ac:chgData name="SEIMANDI, Matthieu" userId="a1af33a6-fb38-46b3-9399-8c933e699451" providerId="ADAL" clId="{430C985F-A311-4434-952C-DEB42487B883}" dt="2024-03-04T10:01:38.304" v="7413" actId="167"/>
          <ac:spMkLst>
            <pc:docMk/>
            <pc:sldMk cId="3743531163" sldId="2147481425"/>
            <ac:spMk id="11" creationId="{B892C281-C13A-3C66-AD74-0B668E6384FA}"/>
          </ac:spMkLst>
        </pc:spChg>
        <pc:spChg chg="mod">
          <ac:chgData name="SEIMANDI, Matthieu" userId="a1af33a6-fb38-46b3-9399-8c933e699451" providerId="ADAL" clId="{430C985F-A311-4434-952C-DEB42487B883}" dt="2024-03-04T10:01:34.187" v="7412"/>
          <ac:spMkLst>
            <pc:docMk/>
            <pc:sldMk cId="3743531163" sldId="2147481425"/>
            <ac:spMk id="13" creationId="{1894A620-8894-C888-9A86-C5F1278B1837}"/>
          </ac:spMkLst>
        </pc:spChg>
        <pc:spChg chg="mod">
          <ac:chgData name="SEIMANDI, Matthieu" userId="a1af33a6-fb38-46b3-9399-8c933e699451" providerId="ADAL" clId="{430C985F-A311-4434-952C-DEB42487B883}" dt="2024-03-04T10:01:34.187" v="7412"/>
          <ac:spMkLst>
            <pc:docMk/>
            <pc:sldMk cId="3743531163" sldId="2147481425"/>
            <ac:spMk id="14" creationId="{A6337B3D-70D2-66CD-A1D3-94A8B2EC59C7}"/>
          </ac:spMkLst>
        </pc:spChg>
        <pc:grpChg chg="add mod ord">
          <ac:chgData name="SEIMANDI, Matthieu" userId="a1af33a6-fb38-46b3-9399-8c933e699451" providerId="ADAL" clId="{430C985F-A311-4434-952C-DEB42487B883}" dt="2024-03-04T10:01:38.304" v="7413" actId="167"/>
          <ac:grpSpMkLst>
            <pc:docMk/>
            <pc:sldMk cId="3743531163" sldId="2147481425"/>
            <ac:grpSpMk id="12" creationId="{9B5F4ED9-C629-5B9E-F757-59DB090356D7}"/>
          </ac:grpSpMkLst>
        </pc:grpChg>
        <pc:picChg chg="add mod">
          <ac:chgData name="SEIMANDI, Matthieu" userId="a1af33a6-fb38-46b3-9399-8c933e699451" providerId="ADAL" clId="{430C985F-A311-4434-952C-DEB42487B883}" dt="2024-03-04T09:46:53.711" v="7332" actId="1037"/>
          <ac:picMkLst>
            <pc:docMk/>
            <pc:sldMk cId="3743531163" sldId="2147481425"/>
            <ac:picMk id="10" creationId="{07026F95-BDAA-7632-57BF-5A309B7B621D}"/>
          </ac:picMkLst>
        </pc:picChg>
        <pc:picChg chg="add mod ord">
          <ac:chgData name="SEIMANDI, Matthieu" userId="a1af33a6-fb38-46b3-9399-8c933e699451" providerId="ADAL" clId="{430C985F-A311-4434-952C-DEB42487B883}" dt="2024-03-04T10:01:38.304" v="7413" actId="167"/>
          <ac:picMkLst>
            <pc:docMk/>
            <pc:sldMk cId="3743531163" sldId="2147481425"/>
            <ac:picMk id="15" creationId="{DFC4B890-706E-E376-045F-21797B0EE4FC}"/>
          </ac:picMkLst>
        </pc:picChg>
        <pc:picChg chg="add mod">
          <ac:chgData name="SEIMANDI, Matthieu" userId="a1af33a6-fb38-46b3-9399-8c933e699451" providerId="ADAL" clId="{430C985F-A311-4434-952C-DEB42487B883}" dt="2024-03-04T10:01:40.163" v="7414" actId="167"/>
          <ac:picMkLst>
            <pc:docMk/>
            <pc:sldMk cId="3743531163" sldId="2147481425"/>
            <ac:picMk id="2050" creationId="{F1E0ECED-C47C-F7B9-930A-AB23BE86E3E5}"/>
          </ac:picMkLst>
        </pc:picChg>
        <pc:picChg chg="del">
          <ac:chgData name="SEIMANDI, Matthieu" userId="a1af33a6-fb38-46b3-9399-8c933e699451" providerId="ADAL" clId="{430C985F-A311-4434-952C-DEB42487B883}" dt="2024-03-04T09:58:18.249" v="7391" actId="478"/>
          <ac:picMkLst>
            <pc:docMk/>
            <pc:sldMk cId="3743531163" sldId="2147481425"/>
            <ac:picMk id="6146" creationId="{C079166E-73C2-BF08-FE09-DA918FCC593E}"/>
          </ac:picMkLst>
        </pc:picChg>
      </pc:sldChg>
      <pc:sldChg chg="modSp mod">
        <pc:chgData name="SEIMANDI, Matthieu" userId="a1af33a6-fb38-46b3-9399-8c933e699451" providerId="ADAL" clId="{430C985F-A311-4434-952C-DEB42487B883}" dt="2024-03-12T12:53:50.853" v="7585" actId="1036"/>
        <pc:sldMkLst>
          <pc:docMk/>
          <pc:sldMk cId="436686117" sldId="2147481433"/>
        </pc:sldMkLst>
        <pc:spChg chg="mod">
          <ac:chgData name="SEIMANDI, Matthieu" userId="a1af33a6-fb38-46b3-9399-8c933e699451" providerId="ADAL" clId="{430C985F-A311-4434-952C-DEB42487B883}" dt="2024-03-12T12:53:50.853" v="7585" actId="1036"/>
          <ac:spMkLst>
            <pc:docMk/>
            <pc:sldMk cId="436686117" sldId="2147481433"/>
            <ac:spMk id="3" creationId="{FCE54E78-32FB-3780-7072-EBE7A21DCDFF}"/>
          </ac:spMkLst>
        </pc:spChg>
        <pc:spChg chg="mod">
          <ac:chgData name="SEIMANDI, Matthieu" userId="a1af33a6-fb38-46b3-9399-8c933e699451" providerId="ADAL" clId="{430C985F-A311-4434-952C-DEB42487B883}" dt="2024-03-12T12:53:50.853" v="7585" actId="1036"/>
          <ac:spMkLst>
            <pc:docMk/>
            <pc:sldMk cId="436686117" sldId="2147481433"/>
            <ac:spMk id="6" creationId="{8CEC6A37-DEA8-BB0B-FE43-6A55747C34D6}"/>
          </ac:spMkLst>
        </pc:spChg>
        <pc:spChg chg="mod">
          <ac:chgData name="SEIMANDI, Matthieu" userId="a1af33a6-fb38-46b3-9399-8c933e699451" providerId="ADAL" clId="{430C985F-A311-4434-952C-DEB42487B883}" dt="2024-03-12T12:53:50.853" v="7585" actId="1036"/>
          <ac:spMkLst>
            <pc:docMk/>
            <pc:sldMk cId="436686117" sldId="2147481433"/>
            <ac:spMk id="8" creationId="{B87A26A2-86A6-6C94-BA50-A5728B0285B2}"/>
          </ac:spMkLst>
        </pc:spChg>
        <pc:spChg chg="mod">
          <ac:chgData name="SEIMANDI, Matthieu" userId="a1af33a6-fb38-46b3-9399-8c933e699451" providerId="ADAL" clId="{430C985F-A311-4434-952C-DEB42487B883}" dt="2024-03-12T12:53:50.853" v="7585" actId="1036"/>
          <ac:spMkLst>
            <pc:docMk/>
            <pc:sldMk cId="436686117" sldId="2147481433"/>
            <ac:spMk id="9" creationId="{9728AC0B-0743-CE9F-5AEE-0D6F342211B1}"/>
          </ac:spMkLst>
        </pc:spChg>
        <pc:spChg chg="mod">
          <ac:chgData name="SEIMANDI, Matthieu" userId="a1af33a6-fb38-46b3-9399-8c933e699451" providerId="ADAL" clId="{430C985F-A311-4434-952C-DEB42487B883}" dt="2024-03-12T12:53:50.853" v="7585" actId="1036"/>
          <ac:spMkLst>
            <pc:docMk/>
            <pc:sldMk cId="436686117" sldId="2147481433"/>
            <ac:spMk id="11" creationId="{D688E535-89A5-1C5E-ED91-E836198687DA}"/>
          </ac:spMkLst>
        </pc:spChg>
        <pc:spChg chg="mod">
          <ac:chgData name="SEIMANDI, Matthieu" userId="a1af33a6-fb38-46b3-9399-8c933e699451" providerId="ADAL" clId="{430C985F-A311-4434-952C-DEB42487B883}" dt="2024-03-12T12:53:50.853" v="7585" actId="1036"/>
          <ac:spMkLst>
            <pc:docMk/>
            <pc:sldMk cId="436686117" sldId="2147481433"/>
            <ac:spMk id="12" creationId="{D709C43B-4C5C-9ED9-7358-F94CA376D468}"/>
          </ac:spMkLst>
        </pc:spChg>
        <pc:spChg chg="mod">
          <ac:chgData name="SEIMANDI, Matthieu" userId="a1af33a6-fb38-46b3-9399-8c933e699451" providerId="ADAL" clId="{430C985F-A311-4434-952C-DEB42487B883}" dt="2024-03-12T12:53:50.853" v="7585" actId="1036"/>
          <ac:spMkLst>
            <pc:docMk/>
            <pc:sldMk cId="436686117" sldId="2147481433"/>
            <ac:spMk id="13" creationId="{FC18329E-A472-A39B-AB79-F3DEC175E4E0}"/>
          </ac:spMkLst>
        </pc:spChg>
        <pc:spChg chg="mod">
          <ac:chgData name="SEIMANDI, Matthieu" userId="a1af33a6-fb38-46b3-9399-8c933e699451" providerId="ADAL" clId="{430C985F-A311-4434-952C-DEB42487B883}" dt="2024-03-12T12:53:50.853" v="7585" actId="1036"/>
          <ac:spMkLst>
            <pc:docMk/>
            <pc:sldMk cId="436686117" sldId="2147481433"/>
            <ac:spMk id="14" creationId="{D42F0508-7BD1-6EF3-1D64-668517C0152B}"/>
          </ac:spMkLst>
        </pc:spChg>
        <pc:spChg chg="mod">
          <ac:chgData name="SEIMANDI, Matthieu" userId="a1af33a6-fb38-46b3-9399-8c933e699451" providerId="ADAL" clId="{430C985F-A311-4434-952C-DEB42487B883}" dt="2024-03-12T12:53:50.853" v="7585" actId="1036"/>
          <ac:spMkLst>
            <pc:docMk/>
            <pc:sldMk cId="436686117" sldId="2147481433"/>
            <ac:spMk id="18" creationId="{684D87A3-9941-4DCA-9A6C-A951AE27A4A2}"/>
          </ac:spMkLst>
        </pc:spChg>
        <pc:spChg chg="mod">
          <ac:chgData name="SEIMANDI, Matthieu" userId="a1af33a6-fb38-46b3-9399-8c933e699451" providerId="ADAL" clId="{430C985F-A311-4434-952C-DEB42487B883}" dt="2024-03-12T12:53:50.853" v="7585" actId="1036"/>
          <ac:spMkLst>
            <pc:docMk/>
            <pc:sldMk cId="436686117" sldId="2147481433"/>
            <ac:spMk id="19" creationId="{83139EE0-2A9C-35A2-A03A-CD90625EED8B}"/>
          </ac:spMkLst>
        </pc:spChg>
        <pc:spChg chg="mod">
          <ac:chgData name="SEIMANDI, Matthieu" userId="a1af33a6-fb38-46b3-9399-8c933e699451" providerId="ADAL" clId="{430C985F-A311-4434-952C-DEB42487B883}" dt="2024-03-12T12:53:50.853" v="7585" actId="1036"/>
          <ac:spMkLst>
            <pc:docMk/>
            <pc:sldMk cId="436686117" sldId="2147481433"/>
            <ac:spMk id="20" creationId="{F1B68105-98BE-6FA9-99CD-0C8EF8EE82D1}"/>
          </ac:spMkLst>
        </pc:spChg>
        <pc:spChg chg="mod">
          <ac:chgData name="SEIMANDI, Matthieu" userId="a1af33a6-fb38-46b3-9399-8c933e699451" providerId="ADAL" clId="{430C985F-A311-4434-952C-DEB42487B883}" dt="2024-03-12T12:53:50.853" v="7585" actId="1036"/>
          <ac:spMkLst>
            <pc:docMk/>
            <pc:sldMk cId="436686117" sldId="2147481433"/>
            <ac:spMk id="54" creationId="{73589B68-C667-6EE7-AC17-00A7DFDFE1FA}"/>
          </ac:spMkLst>
        </pc:spChg>
        <pc:spChg chg="mod">
          <ac:chgData name="SEIMANDI, Matthieu" userId="a1af33a6-fb38-46b3-9399-8c933e699451" providerId="ADAL" clId="{430C985F-A311-4434-952C-DEB42487B883}" dt="2024-03-12T12:53:50.853" v="7585" actId="1036"/>
          <ac:spMkLst>
            <pc:docMk/>
            <pc:sldMk cId="436686117" sldId="2147481433"/>
            <ac:spMk id="89" creationId="{5418B780-1F1C-D9D8-EBCC-D6DBF73B70C3}"/>
          </ac:spMkLst>
        </pc:spChg>
        <pc:spChg chg="mod">
          <ac:chgData name="SEIMANDI, Matthieu" userId="a1af33a6-fb38-46b3-9399-8c933e699451" providerId="ADAL" clId="{430C985F-A311-4434-952C-DEB42487B883}" dt="2024-03-12T12:53:50.853" v="7585" actId="1036"/>
          <ac:spMkLst>
            <pc:docMk/>
            <pc:sldMk cId="436686117" sldId="2147481433"/>
            <ac:spMk id="90" creationId="{9248DFD5-F676-B148-5264-74114F613CB7}"/>
          </ac:spMkLst>
        </pc:spChg>
        <pc:spChg chg="mod">
          <ac:chgData name="SEIMANDI, Matthieu" userId="a1af33a6-fb38-46b3-9399-8c933e699451" providerId="ADAL" clId="{430C985F-A311-4434-952C-DEB42487B883}" dt="2024-03-12T12:53:50.853" v="7585" actId="1036"/>
          <ac:spMkLst>
            <pc:docMk/>
            <pc:sldMk cId="436686117" sldId="2147481433"/>
            <ac:spMk id="92" creationId="{25133C55-334C-9E50-26D2-490EE7F304D3}"/>
          </ac:spMkLst>
        </pc:spChg>
        <pc:spChg chg="mod">
          <ac:chgData name="SEIMANDI, Matthieu" userId="a1af33a6-fb38-46b3-9399-8c933e699451" providerId="ADAL" clId="{430C985F-A311-4434-952C-DEB42487B883}" dt="2024-03-12T12:53:50.853" v="7585" actId="1036"/>
          <ac:spMkLst>
            <pc:docMk/>
            <pc:sldMk cId="436686117" sldId="2147481433"/>
            <ac:spMk id="94" creationId="{617ED4F4-D089-6EED-3269-180E436F9EF8}"/>
          </ac:spMkLst>
        </pc:spChg>
        <pc:spChg chg="mod">
          <ac:chgData name="SEIMANDI, Matthieu" userId="a1af33a6-fb38-46b3-9399-8c933e699451" providerId="ADAL" clId="{430C985F-A311-4434-952C-DEB42487B883}" dt="2024-03-12T12:53:50.853" v="7585" actId="1036"/>
          <ac:spMkLst>
            <pc:docMk/>
            <pc:sldMk cId="436686117" sldId="2147481433"/>
            <ac:spMk id="96" creationId="{92BCA199-AAF0-9AB1-7711-D244FC98F49C}"/>
          </ac:spMkLst>
        </pc:spChg>
        <pc:spChg chg="mod">
          <ac:chgData name="SEIMANDI, Matthieu" userId="a1af33a6-fb38-46b3-9399-8c933e699451" providerId="ADAL" clId="{430C985F-A311-4434-952C-DEB42487B883}" dt="2024-03-12T12:53:50.853" v="7585" actId="1036"/>
          <ac:spMkLst>
            <pc:docMk/>
            <pc:sldMk cId="436686117" sldId="2147481433"/>
            <ac:spMk id="98" creationId="{86C8ED8B-5F09-04E6-FE83-A9BDFA12F6E6}"/>
          </ac:spMkLst>
        </pc:spChg>
        <pc:spChg chg="mod">
          <ac:chgData name="SEIMANDI, Matthieu" userId="a1af33a6-fb38-46b3-9399-8c933e699451" providerId="ADAL" clId="{430C985F-A311-4434-952C-DEB42487B883}" dt="2024-03-12T12:53:50.853" v="7585" actId="1036"/>
          <ac:spMkLst>
            <pc:docMk/>
            <pc:sldMk cId="436686117" sldId="2147481433"/>
            <ac:spMk id="224" creationId="{F1187C47-DAD7-82C2-22BC-783F6516101C}"/>
          </ac:spMkLst>
        </pc:spChg>
        <pc:spChg chg="mod">
          <ac:chgData name="SEIMANDI, Matthieu" userId="a1af33a6-fb38-46b3-9399-8c933e699451" providerId="ADAL" clId="{430C985F-A311-4434-952C-DEB42487B883}" dt="2024-03-12T12:53:50.853" v="7585" actId="1036"/>
          <ac:spMkLst>
            <pc:docMk/>
            <pc:sldMk cId="436686117" sldId="2147481433"/>
            <ac:spMk id="225" creationId="{0601B8AC-17E1-DC5A-6739-95B896A78405}"/>
          </ac:spMkLst>
        </pc:spChg>
        <pc:spChg chg="mod">
          <ac:chgData name="SEIMANDI, Matthieu" userId="a1af33a6-fb38-46b3-9399-8c933e699451" providerId="ADAL" clId="{430C985F-A311-4434-952C-DEB42487B883}" dt="2024-03-12T12:53:50.853" v="7585" actId="1036"/>
          <ac:spMkLst>
            <pc:docMk/>
            <pc:sldMk cId="436686117" sldId="2147481433"/>
            <ac:spMk id="226" creationId="{309D26D7-308D-33C3-62A8-606D7BCC83B3}"/>
          </ac:spMkLst>
        </pc:spChg>
        <pc:spChg chg="mod">
          <ac:chgData name="SEIMANDI, Matthieu" userId="a1af33a6-fb38-46b3-9399-8c933e699451" providerId="ADAL" clId="{430C985F-A311-4434-952C-DEB42487B883}" dt="2024-03-12T12:53:50.853" v="7585" actId="1036"/>
          <ac:spMkLst>
            <pc:docMk/>
            <pc:sldMk cId="436686117" sldId="2147481433"/>
            <ac:spMk id="227" creationId="{7A253671-51F4-40B3-C158-57E425CB0943}"/>
          </ac:spMkLst>
        </pc:spChg>
        <pc:spChg chg="mod">
          <ac:chgData name="SEIMANDI, Matthieu" userId="a1af33a6-fb38-46b3-9399-8c933e699451" providerId="ADAL" clId="{430C985F-A311-4434-952C-DEB42487B883}" dt="2024-03-12T12:53:50.853" v="7585" actId="1036"/>
          <ac:spMkLst>
            <pc:docMk/>
            <pc:sldMk cId="436686117" sldId="2147481433"/>
            <ac:spMk id="237" creationId="{693AA1B0-C96A-AC6D-B0A9-D41F8499D158}"/>
          </ac:spMkLst>
        </pc:spChg>
        <pc:spChg chg="mod">
          <ac:chgData name="SEIMANDI, Matthieu" userId="a1af33a6-fb38-46b3-9399-8c933e699451" providerId="ADAL" clId="{430C985F-A311-4434-952C-DEB42487B883}" dt="2024-03-12T12:53:50.853" v="7585" actId="1036"/>
          <ac:spMkLst>
            <pc:docMk/>
            <pc:sldMk cId="436686117" sldId="2147481433"/>
            <ac:spMk id="239" creationId="{9B441DB9-6998-DAAF-CCEC-1A79EAB912EE}"/>
          </ac:spMkLst>
        </pc:spChg>
        <pc:spChg chg="mod">
          <ac:chgData name="SEIMANDI, Matthieu" userId="a1af33a6-fb38-46b3-9399-8c933e699451" providerId="ADAL" clId="{430C985F-A311-4434-952C-DEB42487B883}" dt="2024-03-12T12:53:50.853" v="7585" actId="1036"/>
          <ac:spMkLst>
            <pc:docMk/>
            <pc:sldMk cId="436686117" sldId="2147481433"/>
            <ac:spMk id="241" creationId="{47B3EA9B-7B91-05FE-CDF9-5526955B5757}"/>
          </ac:spMkLst>
        </pc:spChg>
        <pc:spChg chg="mod">
          <ac:chgData name="SEIMANDI, Matthieu" userId="a1af33a6-fb38-46b3-9399-8c933e699451" providerId="ADAL" clId="{430C985F-A311-4434-952C-DEB42487B883}" dt="2024-03-12T12:53:50.853" v="7585" actId="1036"/>
          <ac:spMkLst>
            <pc:docMk/>
            <pc:sldMk cId="436686117" sldId="2147481433"/>
            <ac:spMk id="243" creationId="{9E0024CD-1E56-0285-2C34-98F2760F633D}"/>
          </ac:spMkLst>
        </pc:spChg>
        <pc:spChg chg="mod">
          <ac:chgData name="SEIMANDI, Matthieu" userId="a1af33a6-fb38-46b3-9399-8c933e699451" providerId="ADAL" clId="{430C985F-A311-4434-952C-DEB42487B883}" dt="2024-03-12T12:53:50.853" v="7585" actId="1036"/>
          <ac:spMkLst>
            <pc:docMk/>
            <pc:sldMk cId="436686117" sldId="2147481433"/>
            <ac:spMk id="244" creationId="{4B9B82F6-82FE-21E7-880F-5E792FBAFD96}"/>
          </ac:spMkLst>
        </pc:spChg>
        <pc:spChg chg="mod">
          <ac:chgData name="SEIMANDI, Matthieu" userId="a1af33a6-fb38-46b3-9399-8c933e699451" providerId="ADAL" clId="{430C985F-A311-4434-952C-DEB42487B883}" dt="2024-03-12T12:53:50.853" v="7585" actId="1036"/>
          <ac:spMkLst>
            <pc:docMk/>
            <pc:sldMk cId="436686117" sldId="2147481433"/>
            <ac:spMk id="246" creationId="{6ECDDAD0-C05E-A397-5142-FFEB7E60ACE6}"/>
          </ac:spMkLst>
        </pc:spChg>
        <pc:grpChg chg="mod">
          <ac:chgData name="SEIMANDI, Matthieu" userId="a1af33a6-fb38-46b3-9399-8c933e699451" providerId="ADAL" clId="{430C985F-A311-4434-952C-DEB42487B883}" dt="2024-03-12T12:53:50.853" v="7585" actId="1036"/>
          <ac:grpSpMkLst>
            <pc:docMk/>
            <pc:sldMk cId="436686117" sldId="2147481433"/>
            <ac:grpSpMk id="228" creationId="{2FDE02F9-BEEB-8E75-1A93-1A5820A118BE}"/>
          </ac:grpSpMkLst>
        </pc:grpChg>
        <pc:grpChg chg="mod">
          <ac:chgData name="SEIMANDI, Matthieu" userId="a1af33a6-fb38-46b3-9399-8c933e699451" providerId="ADAL" clId="{430C985F-A311-4434-952C-DEB42487B883}" dt="2024-03-12T12:53:50.853" v="7585" actId="1036"/>
          <ac:grpSpMkLst>
            <pc:docMk/>
            <pc:sldMk cId="436686117" sldId="2147481433"/>
            <ac:grpSpMk id="231" creationId="{5902CCF6-F4D0-FE3C-A9F0-5F70FC90CEBE}"/>
          </ac:grpSpMkLst>
        </pc:grpChg>
        <pc:grpChg chg="mod">
          <ac:chgData name="SEIMANDI, Matthieu" userId="a1af33a6-fb38-46b3-9399-8c933e699451" providerId="ADAL" clId="{430C985F-A311-4434-952C-DEB42487B883}" dt="2024-03-12T12:53:50.853" v="7585" actId="1036"/>
          <ac:grpSpMkLst>
            <pc:docMk/>
            <pc:sldMk cId="436686117" sldId="2147481433"/>
            <ac:grpSpMk id="234" creationId="{C2364D57-4BE5-668B-9292-66628D81B44C}"/>
          </ac:grpSpMkLst>
        </pc:grpChg>
        <pc:picChg chg="mod">
          <ac:chgData name="SEIMANDI, Matthieu" userId="a1af33a6-fb38-46b3-9399-8c933e699451" providerId="ADAL" clId="{430C985F-A311-4434-952C-DEB42487B883}" dt="2024-03-12T12:53:50.853" v="7585" actId="1036"/>
          <ac:picMkLst>
            <pc:docMk/>
            <pc:sldMk cId="436686117" sldId="2147481433"/>
            <ac:picMk id="55" creationId="{2DC0262A-27EC-DF99-830F-42F78DB00953}"/>
          </ac:picMkLst>
        </pc:picChg>
        <pc:picChg chg="mod">
          <ac:chgData name="SEIMANDI, Matthieu" userId="a1af33a6-fb38-46b3-9399-8c933e699451" providerId="ADAL" clId="{430C985F-A311-4434-952C-DEB42487B883}" dt="2024-03-12T12:53:50.853" v="7585" actId="1036"/>
          <ac:picMkLst>
            <pc:docMk/>
            <pc:sldMk cId="436686117" sldId="2147481433"/>
            <ac:picMk id="91" creationId="{8D843AC9-6000-1208-97AA-40A503DFAB01}"/>
          </ac:picMkLst>
        </pc:picChg>
        <pc:picChg chg="mod">
          <ac:chgData name="SEIMANDI, Matthieu" userId="a1af33a6-fb38-46b3-9399-8c933e699451" providerId="ADAL" clId="{430C985F-A311-4434-952C-DEB42487B883}" dt="2024-03-12T12:53:50.853" v="7585" actId="1036"/>
          <ac:picMkLst>
            <pc:docMk/>
            <pc:sldMk cId="436686117" sldId="2147481433"/>
            <ac:picMk id="93" creationId="{BADA5282-A331-488E-B27F-58EE116C8D05}"/>
          </ac:picMkLst>
        </pc:picChg>
        <pc:picChg chg="mod">
          <ac:chgData name="SEIMANDI, Matthieu" userId="a1af33a6-fb38-46b3-9399-8c933e699451" providerId="ADAL" clId="{430C985F-A311-4434-952C-DEB42487B883}" dt="2024-03-12T12:53:50.853" v="7585" actId="1036"/>
          <ac:picMkLst>
            <pc:docMk/>
            <pc:sldMk cId="436686117" sldId="2147481433"/>
            <ac:picMk id="95" creationId="{A3264259-66C3-A858-9760-E80E12D5E6A3}"/>
          </ac:picMkLst>
        </pc:picChg>
        <pc:picChg chg="mod">
          <ac:chgData name="SEIMANDI, Matthieu" userId="a1af33a6-fb38-46b3-9399-8c933e699451" providerId="ADAL" clId="{430C985F-A311-4434-952C-DEB42487B883}" dt="2024-03-12T12:53:50.853" v="7585" actId="1036"/>
          <ac:picMkLst>
            <pc:docMk/>
            <pc:sldMk cId="436686117" sldId="2147481433"/>
            <ac:picMk id="238" creationId="{C1867E89-045D-B592-A5AB-864D2AB38AE6}"/>
          </ac:picMkLst>
        </pc:picChg>
        <pc:picChg chg="mod">
          <ac:chgData name="SEIMANDI, Matthieu" userId="a1af33a6-fb38-46b3-9399-8c933e699451" providerId="ADAL" clId="{430C985F-A311-4434-952C-DEB42487B883}" dt="2024-03-12T12:53:50.853" v="7585" actId="1036"/>
          <ac:picMkLst>
            <pc:docMk/>
            <pc:sldMk cId="436686117" sldId="2147481433"/>
            <ac:picMk id="240" creationId="{5F05E2E8-6596-99D6-73A3-F7403F9BA7D9}"/>
          </ac:picMkLst>
        </pc:picChg>
        <pc:picChg chg="mod">
          <ac:chgData name="SEIMANDI, Matthieu" userId="a1af33a6-fb38-46b3-9399-8c933e699451" providerId="ADAL" clId="{430C985F-A311-4434-952C-DEB42487B883}" dt="2024-03-12T12:53:50.853" v="7585" actId="1036"/>
          <ac:picMkLst>
            <pc:docMk/>
            <pc:sldMk cId="436686117" sldId="2147481433"/>
            <ac:picMk id="242" creationId="{F1C7E549-EF44-F7CB-8EB9-D57879062BD8}"/>
          </ac:picMkLst>
        </pc:picChg>
        <pc:picChg chg="mod">
          <ac:chgData name="SEIMANDI, Matthieu" userId="a1af33a6-fb38-46b3-9399-8c933e699451" providerId="ADAL" clId="{430C985F-A311-4434-952C-DEB42487B883}" dt="2024-03-12T12:53:50.853" v="7585" actId="1036"/>
          <ac:picMkLst>
            <pc:docMk/>
            <pc:sldMk cId="436686117" sldId="2147481433"/>
            <ac:picMk id="245" creationId="{F24A20AE-E59A-EF31-9A82-3733D27A49A4}"/>
          </ac:picMkLst>
        </pc:picChg>
        <pc:picChg chg="mod">
          <ac:chgData name="SEIMANDI, Matthieu" userId="a1af33a6-fb38-46b3-9399-8c933e699451" providerId="ADAL" clId="{430C985F-A311-4434-952C-DEB42487B883}" dt="2024-03-12T12:53:50.853" v="7585" actId="1036"/>
          <ac:picMkLst>
            <pc:docMk/>
            <pc:sldMk cId="436686117" sldId="2147481433"/>
            <ac:picMk id="247" creationId="{1FC271B4-98A8-6218-0281-17235F17AF17}"/>
          </ac:picMkLst>
        </pc:picChg>
        <pc:cxnChg chg="mod">
          <ac:chgData name="SEIMANDI, Matthieu" userId="a1af33a6-fb38-46b3-9399-8c933e699451" providerId="ADAL" clId="{430C985F-A311-4434-952C-DEB42487B883}" dt="2024-03-12T12:53:50.853" v="7585" actId="1036"/>
          <ac:cxnSpMkLst>
            <pc:docMk/>
            <pc:sldMk cId="436686117" sldId="2147481433"/>
            <ac:cxnSpMk id="2" creationId="{09A13806-D407-C593-DAE0-6DE7BD5D9120}"/>
          </ac:cxnSpMkLst>
        </pc:cxnChg>
        <pc:cxnChg chg="mod">
          <ac:chgData name="SEIMANDI, Matthieu" userId="a1af33a6-fb38-46b3-9399-8c933e699451" providerId="ADAL" clId="{430C985F-A311-4434-952C-DEB42487B883}" dt="2024-03-12T12:53:50.853" v="7585" actId="1036"/>
          <ac:cxnSpMkLst>
            <pc:docMk/>
            <pc:sldMk cId="436686117" sldId="2147481433"/>
            <ac:cxnSpMk id="4" creationId="{844F19DC-5097-7766-1433-5E4C604F5EB7}"/>
          </ac:cxnSpMkLst>
        </pc:cxnChg>
        <pc:cxnChg chg="mod">
          <ac:chgData name="SEIMANDI, Matthieu" userId="a1af33a6-fb38-46b3-9399-8c933e699451" providerId="ADAL" clId="{430C985F-A311-4434-952C-DEB42487B883}" dt="2024-03-12T12:53:50.853" v="7585" actId="1036"/>
          <ac:cxnSpMkLst>
            <pc:docMk/>
            <pc:sldMk cId="436686117" sldId="2147481433"/>
            <ac:cxnSpMk id="97" creationId="{A3409BDE-DB59-22D6-C837-4437B318CAAB}"/>
          </ac:cxnSpMkLst>
        </pc:cxnChg>
      </pc:sldChg>
      <pc:sldChg chg="addSp modSp">
        <pc:chgData name="SEIMANDI, Matthieu" userId="a1af33a6-fb38-46b3-9399-8c933e699451" providerId="ADAL" clId="{430C985F-A311-4434-952C-DEB42487B883}" dt="2024-03-12T09:18:06.260" v="7546"/>
        <pc:sldMkLst>
          <pc:docMk/>
          <pc:sldMk cId="2410083233" sldId="2147481435"/>
        </pc:sldMkLst>
        <pc:spChg chg="mod">
          <ac:chgData name="SEIMANDI, Matthieu" userId="a1af33a6-fb38-46b3-9399-8c933e699451" providerId="ADAL" clId="{430C985F-A311-4434-952C-DEB42487B883}" dt="2024-03-12T09:18:06.260" v="7546"/>
          <ac:spMkLst>
            <pc:docMk/>
            <pc:sldMk cId="2410083233" sldId="2147481435"/>
            <ac:spMk id="3" creationId="{A3BB5557-17BD-195D-3113-0A1E2B9DAABB}"/>
          </ac:spMkLst>
        </pc:spChg>
        <pc:spChg chg="mod">
          <ac:chgData name="SEIMANDI, Matthieu" userId="a1af33a6-fb38-46b3-9399-8c933e699451" providerId="ADAL" clId="{430C985F-A311-4434-952C-DEB42487B883}" dt="2024-03-12T09:18:06.260" v="7546"/>
          <ac:spMkLst>
            <pc:docMk/>
            <pc:sldMk cId="2410083233" sldId="2147481435"/>
            <ac:spMk id="4" creationId="{64D1A9B8-E3FB-6611-5E4B-E05C12144522}"/>
          </ac:spMkLst>
        </pc:spChg>
        <pc:grpChg chg="add mod">
          <ac:chgData name="SEIMANDI, Matthieu" userId="a1af33a6-fb38-46b3-9399-8c933e699451" providerId="ADAL" clId="{430C985F-A311-4434-952C-DEB42487B883}" dt="2024-03-12T09:18:06.260" v="7546"/>
          <ac:grpSpMkLst>
            <pc:docMk/>
            <pc:sldMk cId="2410083233" sldId="2147481435"/>
            <ac:grpSpMk id="2" creationId="{EABA83E9-755F-AD98-CE18-ED4048A62917}"/>
          </ac:grpSpMkLst>
        </pc:grpChg>
        <pc:picChg chg="add mod">
          <ac:chgData name="SEIMANDI, Matthieu" userId="a1af33a6-fb38-46b3-9399-8c933e699451" providerId="ADAL" clId="{430C985F-A311-4434-952C-DEB42487B883}" dt="2024-03-12T09:18:06.260" v="7546"/>
          <ac:picMkLst>
            <pc:docMk/>
            <pc:sldMk cId="2410083233" sldId="2147481435"/>
            <ac:picMk id="5" creationId="{D45BB759-1BC4-574A-539A-4C68467FD7E9}"/>
          </ac:picMkLst>
        </pc:picChg>
        <pc:picChg chg="mod">
          <ac:chgData name="SEIMANDI, Matthieu" userId="a1af33a6-fb38-46b3-9399-8c933e699451" providerId="ADAL" clId="{430C985F-A311-4434-952C-DEB42487B883}" dt="2024-03-12T09:17:47.580" v="7543" actId="732"/>
          <ac:picMkLst>
            <pc:docMk/>
            <pc:sldMk cId="2410083233" sldId="2147481435"/>
            <ac:picMk id="1028" creationId="{B42DBE0C-9272-48F2-1D9C-6275D3A35B4B}"/>
          </ac:picMkLst>
        </pc:picChg>
      </pc:sldChg>
      <pc:sldChg chg="addSp modSp">
        <pc:chgData name="SEIMANDI, Matthieu" userId="a1af33a6-fb38-46b3-9399-8c933e699451" providerId="ADAL" clId="{430C985F-A311-4434-952C-DEB42487B883}" dt="2024-03-12T09:18:10.512" v="7547"/>
        <pc:sldMkLst>
          <pc:docMk/>
          <pc:sldMk cId="2390705556" sldId="2147481436"/>
        </pc:sldMkLst>
        <pc:spChg chg="mod">
          <ac:chgData name="SEIMANDI, Matthieu" userId="a1af33a6-fb38-46b3-9399-8c933e699451" providerId="ADAL" clId="{430C985F-A311-4434-952C-DEB42487B883}" dt="2024-03-12T09:18:10.512" v="7547"/>
          <ac:spMkLst>
            <pc:docMk/>
            <pc:sldMk cId="2390705556" sldId="2147481436"/>
            <ac:spMk id="3" creationId="{66EB361E-1966-344B-BB4D-1D59ACCB9353}"/>
          </ac:spMkLst>
        </pc:spChg>
        <pc:spChg chg="mod">
          <ac:chgData name="SEIMANDI, Matthieu" userId="a1af33a6-fb38-46b3-9399-8c933e699451" providerId="ADAL" clId="{430C985F-A311-4434-952C-DEB42487B883}" dt="2024-03-12T09:18:10.512" v="7547"/>
          <ac:spMkLst>
            <pc:docMk/>
            <pc:sldMk cId="2390705556" sldId="2147481436"/>
            <ac:spMk id="4" creationId="{C28A9B44-E04C-E0AB-4733-B13F97C329CA}"/>
          </ac:spMkLst>
        </pc:spChg>
        <pc:grpChg chg="add mod">
          <ac:chgData name="SEIMANDI, Matthieu" userId="a1af33a6-fb38-46b3-9399-8c933e699451" providerId="ADAL" clId="{430C985F-A311-4434-952C-DEB42487B883}" dt="2024-03-12T09:18:10.512" v="7547"/>
          <ac:grpSpMkLst>
            <pc:docMk/>
            <pc:sldMk cId="2390705556" sldId="2147481436"/>
            <ac:grpSpMk id="2" creationId="{9FBA2AAC-E738-4945-9B0D-CBAC352FE939}"/>
          </ac:grpSpMkLst>
        </pc:grpChg>
        <pc:picChg chg="add mod">
          <ac:chgData name="SEIMANDI, Matthieu" userId="a1af33a6-fb38-46b3-9399-8c933e699451" providerId="ADAL" clId="{430C985F-A311-4434-952C-DEB42487B883}" dt="2024-03-12T09:18:10.512" v="7547"/>
          <ac:picMkLst>
            <pc:docMk/>
            <pc:sldMk cId="2390705556" sldId="2147481436"/>
            <ac:picMk id="5" creationId="{BC5EE233-5F94-D7E1-1EB7-2E66F9B0D275}"/>
          </ac:picMkLst>
        </pc:picChg>
      </pc:sldChg>
      <pc:sldChg chg="del">
        <pc:chgData name="SEIMANDI, Matthieu" userId="a1af33a6-fb38-46b3-9399-8c933e699451" providerId="ADAL" clId="{430C985F-A311-4434-952C-DEB42487B883}" dt="2024-03-11T10:49:39.960" v="7515" actId="47"/>
        <pc:sldMkLst>
          <pc:docMk/>
          <pc:sldMk cId="665817789" sldId="2147481448"/>
        </pc:sldMkLst>
      </pc:sldChg>
      <pc:sldChg chg="addSp delSp modSp mod modCm">
        <pc:chgData name="SEIMANDI, Matthieu" userId="a1af33a6-fb38-46b3-9399-8c933e699451" providerId="ADAL" clId="{430C985F-A311-4434-952C-DEB42487B883}" dt="2024-03-03T18:26:20.915" v="6634" actId="20577"/>
        <pc:sldMkLst>
          <pc:docMk/>
          <pc:sldMk cId="1228357790" sldId="2147481451"/>
        </pc:sldMkLst>
        <pc:spChg chg="add del">
          <ac:chgData name="SEIMANDI, Matthieu" userId="a1af33a6-fb38-46b3-9399-8c933e699451" providerId="ADAL" clId="{430C985F-A311-4434-952C-DEB42487B883}" dt="2024-02-29T10:18:13.063" v="5443" actId="478"/>
          <ac:spMkLst>
            <pc:docMk/>
            <pc:sldMk cId="1228357790" sldId="2147481451"/>
            <ac:spMk id="2" creationId="{CE1BFB20-76B0-3EB2-5C12-4503BCB7322E}"/>
          </ac:spMkLst>
        </pc:spChg>
        <pc:spChg chg="add del mod">
          <ac:chgData name="SEIMANDI, Matthieu" userId="a1af33a6-fb38-46b3-9399-8c933e699451" providerId="ADAL" clId="{430C985F-A311-4434-952C-DEB42487B883}" dt="2024-02-29T14:58:56.634" v="6407" actId="478"/>
          <ac:spMkLst>
            <pc:docMk/>
            <pc:sldMk cId="1228357790" sldId="2147481451"/>
            <ac:spMk id="3" creationId="{BF5DEE56-E862-414D-03B0-07C43D10D811}"/>
          </ac:spMkLst>
        </pc:spChg>
        <pc:graphicFrameChg chg="mod modGraphic">
          <ac:chgData name="SEIMANDI, Matthieu" userId="a1af33a6-fb38-46b3-9399-8c933e699451" providerId="ADAL" clId="{430C985F-A311-4434-952C-DEB42487B883}" dt="2024-03-03T18:26:20.915" v="6634" actId="20577"/>
          <ac:graphicFrameMkLst>
            <pc:docMk/>
            <pc:sldMk cId="1228357790" sldId="2147481451"/>
            <ac:graphicFrameMk id="4" creationId="{868DAC96-CB41-D4D4-D037-AA7301259B0A}"/>
          </ac:graphicFrameMkLst>
        </pc:graphicFrameChg>
        <pc:picChg chg="add mod">
          <ac:chgData name="SEIMANDI, Matthieu" userId="a1af33a6-fb38-46b3-9399-8c933e699451" providerId="ADAL" clId="{430C985F-A311-4434-952C-DEB42487B883}" dt="2024-02-29T14:57:24.053" v="6383" actId="554"/>
          <ac:picMkLst>
            <pc:docMk/>
            <pc:sldMk cId="1228357790" sldId="2147481451"/>
            <ac:picMk id="6" creationId="{72849DC2-CFE2-0A98-040D-FAC2A5B90FD9}"/>
          </ac:picMkLst>
        </pc:picChg>
        <pc:picChg chg="add mod">
          <ac:chgData name="SEIMANDI, Matthieu" userId="a1af33a6-fb38-46b3-9399-8c933e699451" providerId="ADAL" clId="{430C985F-A311-4434-952C-DEB42487B883}" dt="2024-02-29T14:57:24.053" v="6383" actId="554"/>
          <ac:picMkLst>
            <pc:docMk/>
            <pc:sldMk cId="1228357790" sldId="2147481451"/>
            <ac:picMk id="8" creationId="{6572ED70-55A4-6F03-084D-819F653A7777}"/>
          </ac:picMkLst>
        </pc:picChg>
        <pc:extLst>
          <p:ext xmlns:p="http://schemas.openxmlformats.org/presentationml/2006/main" uri="{D6D511B9-2390-475A-947B-AFAB55BFBCF1}">
            <pc226:cmChg xmlns:pc226="http://schemas.microsoft.com/office/powerpoint/2022/06/main/command" chg="">
              <pc226:chgData name="SEIMANDI, Matthieu" userId="a1af33a6-fb38-46b3-9399-8c933e699451" providerId="ADAL" clId="{430C985F-A311-4434-952C-DEB42487B883}" dt="2024-02-29T10:21:42.688" v="5727"/>
              <pc2:cmMkLst xmlns:pc2="http://schemas.microsoft.com/office/powerpoint/2019/9/main/command">
                <pc:docMk/>
                <pc:sldMk cId="1228357790" sldId="2147481451"/>
                <pc2:cmMk id="{B3FA9268-7F7F-46B3-98D8-6CAAF98A05D1}"/>
              </pc2:cmMkLst>
              <pc226:cmRplyChg chg="add">
                <pc226:chgData name="SEIMANDI, Matthieu" userId="a1af33a6-fb38-46b3-9399-8c933e699451" providerId="ADAL" clId="{430C985F-A311-4434-952C-DEB42487B883}" dt="2024-02-29T10:21:42.688" v="5727"/>
                <pc2:cmRplyMkLst xmlns:pc2="http://schemas.microsoft.com/office/powerpoint/2019/9/main/command">
                  <pc:docMk/>
                  <pc:sldMk cId="1228357790" sldId="2147481451"/>
                  <pc2:cmMk id="{B3FA9268-7F7F-46B3-98D8-6CAAF98A05D1}"/>
                  <pc2:cmRplyMk id="{10FD7FFA-0BBB-47EA-8B4D-5CB096A0E384}"/>
                </pc2:cmRplyMkLst>
              </pc226:cmRplyChg>
            </pc226:cmChg>
          </p:ext>
        </pc:extLst>
      </pc:sldChg>
      <pc:sldChg chg="mod modShow">
        <pc:chgData name="SEIMANDI, Matthieu" userId="a1af33a6-fb38-46b3-9399-8c933e699451" providerId="ADAL" clId="{430C985F-A311-4434-952C-DEB42487B883}" dt="2024-03-26T13:03:59.911" v="8430" actId="729"/>
        <pc:sldMkLst>
          <pc:docMk/>
          <pc:sldMk cId="3743689127" sldId="2147481452"/>
        </pc:sldMkLst>
      </pc:sldChg>
      <pc:sldChg chg="modSp add mod">
        <pc:chgData name="SEIMANDI, Matthieu" userId="a1af33a6-fb38-46b3-9399-8c933e699451" providerId="ADAL" clId="{430C985F-A311-4434-952C-DEB42487B883}" dt="2024-03-11T10:49:35.473" v="7514" actId="12"/>
        <pc:sldMkLst>
          <pc:docMk/>
          <pc:sldMk cId="1734010563" sldId="2147481464"/>
        </pc:sldMkLst>
        <pc:graphicFrameChg chg="mod modGraphic">
          <ac:chgData name="SEIMANDI, Matthieu" userId="a1af33a6-fb38-46b3-9399-8c933e699451" providerId="ADAL" clId="{430C985F-A311-4434-952C-DEB42487B883}" dt="2024-03-11T10:49:35.473" v="7514" actId="12"/>
          <ac:graphicFrameMkLst>
            <pc:docMk/>
            <pc:sldMk cId="1734010563" sldId="2147481464"/>
            <ac:graphicFrameMk id="4" creationId="{868DAC96-CB41-D4D4-D037-AA7301259B0A}"/>
          </ac:graphicFrameMkLst>
        </pc:graphicFrameChg>
      </pc:sldChg>
      <pc:sldChg chg="add del">
        <pc:chgData name="SEIMANDI, Matthieu" userId="a1af33a6-fb38-46b3-9399-8c933e699451" providerId="ADAL" clId="{430C985F-A311-4434-952C-DEB42487B883}" dt="2024-03-08T09:50:00.020" v="7445" actId="47"/>
        <pc:sldMkLst>
          <pc:docMk/>
          <pc:sldMk cId="3476515536" sldId="2147481464"/>
        </pc:sldMkLst>
      </pc:sldChg>
      <pc:sldChg chg="modSp add mod">
        <pc:chgData name="SEIMANDI, Matthieu" userId="a1af33a6-fb38-46b3-9399-8c933e699451" providerId="ADAL" clId="{430C985F-A311-4434-952C-DEB42487B883}" dt="2024-03-11T10:51:11.362" v="7532" actId="20577"/>
        <pc:sldMkLst>
          <pc:docMk/>
          <pc:sldMk cId="2329875973" sldId="2147481465"/>
        </pc:sldMkLst>
        <pc:graphicFrameChg chg="modGraphic">
          <ac:chgData name="SEIMANDI, Matthieu" userId="a1af33a6-fb38-46b3-9399-8c933e699451" providerId="ADAL" clId="{430C985F-A311-4434-952C-DEB42487B883}" dt="2024-03-11T10:51:11.362" v="7532" actId="20577"/>
          <ac:graphicFrameMkLst>
            <pc:docMk/>
            <pc:sldMk cId="2329875973" sldId="2147481465"/>
            <ac:graphicFrameMk id="4" creationId="{868DAC96-CB41-D4D4-D037-AA7301259B0A}"/>
          </ac:graphicFrameMkLst>
        </pc:graphicFrameChg>
      </pc:sldChg>
      <pc:sldChg chg="addSp delSp modSp new mod modClrScheme modShow chgLayout">
        <pc:chgData name="SEIMANDI, Matthieu" userId="a1af33a6-fb38-46b3-9399-8c933e699451" providerId="ADAL" clId="{430C985F-A311-4434-952C-DEB42487B883}" dt="2024-03-15T14:38:21.250" v="8429" actId="1036"/>
        <pc:sldMkLst>
          <pc:docMk/>
          <pc:sldMk cId="2675261718" sldId="2147481467"/>
        </pc:sldMkLst>
        <pc:spChg chg="add del mod">
          <ac:chgData name="SEIMANDI, Matthieu" userId="a1af33a6-fb38-46b3-9399-8c933e699451" providerId="ADAL" clId="{430C985F-A311-4434-952C-DEB42487B883}" dt="2024-03-15T14:07:34.298" v="7745" actId="478"/>
          <ac:spMkLst>
            <pc:docMk/>
            <pc:sldMk cId="2675261718" sldId="2147481467"/>
            <ac:spMk id="2" creationId="{D59691EC-CD2A-87E9-9F78-D1F24BD7D67B}"/>
          </ac:spMkLst>
        </pc:spChg>
        <pc:spChg chg="add mod">
          <ac:chgData name="SEIMANDI, Matthieu" userId="a1af33a6-fb38-46b3-9399-8c933e699451" providerId="ADAL" clId="{430C985F-A311-4434-952C-DEB42487B883}" dt="2024-03-15T14:20:36.915" v="8358" actId="164"/>
          <ac:spMkLst>
            <pc:docMk/>
            <pc:sldMk cId="2675261718" sldId="2147481467"/>
            <ac:spMk id="3" creationId="{14726F4D-900E-4031-A338-41A2242D40E2}"/>
          </ac:spMkLst>
        </pc:spChg>
        <pc:spChg chg="add mod">
          <ac:chgData name="SEIMANDI, Matthieu" userId="a1af33a6-fb38-46b3-9399-8c933e699451" providerId="ADAL" clId="{430C985F-A311-4434-952C-DEB42487B883}" dt="2024-03-15T14:20:36.915" v="8358" actId="164"/>
          <ac:spMkLst>
            <pc:docMk/>
            <pc:sldMk cId="2675261718" sldId="2147481467"/>
            <ac:spMk id="15" creationId="{CDF63ED5-D918-8506-F4A4-A658D077F9EE}"/>
          </ac:spMkLst>
        </pc:spChg>
        <pc:spChg chg="add mod">
          <ac:chgData name="SEIMANDI, Matthieu" userId="a1af33a6-fb38-46b3-9399-8c933e699451" providerId="ADAL" clId="{430C985F-A311-4434-952C-DEB42487B883}" dt="2024-03-15T14:20:36.915" v="8358" actId="164"/>
          <ac:spMkLst>
            <pc:docMk/>
            <pc:sldMk cId="2675261718" sldId="2147481467"/>
            <ac:spMk id="16" creationId="{93293806-1899-815D-22B2-EA7D9A22EFBC}"/>
          </ac:spMkLst>
        </pc:spChg>
        <pc:spChg chg="add mod">
          <ac:chgData name="SEIMANDI, Matthieu" userId="a1af33a6-fb38-46b3-9399-8c933e699451" providerId="ADAL" clId="{430C985F-A311-4434-952C-DEB42487B883}" dt="2024-03-15T14:20:36.915" v="8358" actId="164"/>
          <ac:spMkLst>
            <pc:docMk/>
            <pc:sldMk cId="2675261718" sldId="2147481467"/>
            <ac:spMk id="17" creationId="{8EA963AD-4D8F-5546-F9C4-EBB7A930F339}"/>
          </ac:spMkLst>
        </pc:spChg>
        <pc:spChg chg="add mod">
          <ac:chgData name="SEIMANDI, Matthieu" userId="a1af33a6-fb38-46b3-9399-8c933e699451" providerId="ADAL" clId="{430C985F-A311-4434-952C-DEB42487B883}" dt="2024-03-15T14:20:36.915" v="8358" actId="164"/>
          <ac:spMkLst>
            <pc:docMk/>
            <pc:sldMk cId="2675261718" sldId="2147481467"/>
            <ac:spMk id="18" creationId="{DF530203-A48F-FE91-09A1-72B680966CCB}"/>
          </ac:spMkLst>
        </pc:spChg>
        <pc:spChg chg="add mod">
          <ac:chgData name="SEIMANDI, Matthieu" userId="a1af33a6-fb38-46b3-9399-8c933e699451" providerId="ADAL" clId="{430C985F-A311-4434-952C-DEB42487B883}" dt="2024-03-15T14:20:36.915" v="8358" actId="164"/>
          <ac:spMkLst>
            <pc:docMk/>
            <pc:sldMk cId="2675261718" sldId="2147481467"/>
            <ac:spMk id="19" creationId="{3DAD96B7-EE8A-CA2A-2220-3BEBA6B71772}"/>
          </ac:spMkLst>
        </pc:spChg>
        <pc:spChg chg="add mod">
          <ac:chgData name="SEIMANDI, Matthieu" userId="a1af33a6-fb38-46b3-9399-8c933e699451" providerId="ADAL" clId="{430C985F-A311-4434-952C-DEB42487B883}" dt="2024-03-15T14:20:36.915" v="8358" actId="164"/>
          <ac:spMkLst>
            <pc:docMk/>
            <pc:sldMk cId="2675261718" sldId="2147481467"/>
            <ac:spMk id="20" creationId="{25A51DFC-8341-0823-AE1E-8495AFC13A9A}"/>
          </ac:spMkLst>
        </pc:spChg>
        <pc:spChg chg="add mod">
          <ac:chgData name="SEIMANDI, Matthieu" userId="a1af33a6-fb38-46b3-9399-8c933e699451" providerId="ADAL" clId="{430C985F-A311-4434-952C-DEB42487B883}" dt="2024-03-15T14:20:36.915" v="8358" actId="164"/>
          <ac:spMkLst>
            <pc:docMk/>
            <pc:sldMk cId="2675261718" sldId="2147481467"/>
            <ac:spMk id="21" creationId="{F6293224-297D-657C-918B-D0308E43AA33}"/>
          </ac:spMkLst>
        </pc:spChg>
        <pc:spChg chg="add mod">
          <ac:chgData name="SEIMANDI, Matthieu" userId="a1af33a6-fb38-46b3-9399-8c933e699451" providerId="ADAL" clId="{430C985F-A311-4434-952C-DEB42487B883}" dt="2024-03-15T14:20:36.915" v="8358" actId="164"/>
          <ac:spMkLst>
            <pc:docMk/>
            <pc:sldMk cId="2675261718" sldId="2147481467"/>
            <ac:spMk id="22" creationId="{F38BD5A0-5D18-B73A-F5FC-6321BFAB3843}"/>
          </ac:spMkLst>
        </pc:spChg>
        <pc:spChg chg="add mod">
          <ac:chgData name="SEIMANDI, Matthieu" userId="a1af33a6-fb38-46b3-9399-8c933e699451" providerId="ADAL" clId="{430C985F-A311-4434-952C-DEB42487B883}" dt="2024-03-15T14:20:36.915" v="8358" actId="164"/>
          <ac:spMkLst>
            <pc:docMk/>
            <pc:sldMk cId="2675261718" sldId="2147481467"/>
            <ac:spMk id="23" creationId="{6728DF27-BB45-835B-C79B-CDCD4E62BA43}"/>
          </ac:spMkLst>
        </pc:spChg>
        <pc:spChg chg="add mod">
          <ac:chgData name="SEIMANDI, Matthieu" userId="a1af33a6-fb38-46b3-9399-8c933e699451" providerId="ADAL" clId="{430C985F-A311-4434-952C-DEB42487B883}" dt="2024-03-15T14:20:36.915" v="8358" actId="164"/>
          <ac:spMkLst>
            <pc:docMk/>
            <pc:sldMk cId="2675261718" sldId="2147481467"/>
            <ac:spMk id="24" creationId="{F23B0139-C32C-B6C8-BB73-5E3F6065BC8B}"/>
          </ac:spMkLst>
        </pc:spChg>
        <pc:spChg chg="add mod">
          <ac:chgData name="SEIMANDI, Matthieu" userId="a1af33a6-fb38-46b3-9399-8c933e699451" providerId="ADAL" clId="{430C985F-A311-4434-952C-DEB42487B883}" dt="2024-03-15T14:21:20.251" v="8384" actId="465"/>
          <ac:spMkLst>
            <pc:docMk/>
            <pc:sldMk cId="2675261718" sldId="2147481467"/>
            <ac:spMk id="25" creationId="{A0F5B498-403C-C03D-7301-8D06BAFCB605}"/>
          </ac:spMkLst>
        </pc:spChg>
        <pc:spChg chg="add mod">
          <ac:chgData name="SEIMANDI, Matthieu" userId="a1af33a6-fb38-46b3-9399-8c933e699451" providerId="ADAL" clId="{430C985F-A311-4434-952C-DEB42487B883}" dt="2024-03-15T14:21:15.691" v="8383" actId="465"/>
          <ac:spMkLst>
            <pc:docMk/>
            <pc:sldMk cId="2675261718" sldId="2147481467"/>
            <ac:spMk id="26" creationId="{22770731-B8A7-6388-F9D1-2BFC1324A993}"/>
          </ac:spMkLst>
        </pc:spChg>
        <pc:spChg chg="add mod">
          <ac:chgData name="SEIMANDI, Matthieu" userId="a1af33a6-fb38-46b3-9399-8c933e699451" providerId="ADAL" clId="{430C985F-A311-4434-952C-DEB42487B883}" dt="2024-03-15T14:20:36.915" v="8358" actId="164"/>
          <ac:spMkLst>
            <pc:docMk/>
            <pc:sldMk cId="2675261718" sldId="2147481467"/>
            <ac:spMk id="27" creationId="{0F9C9B71-42A4-500B-2DB9-819C46CD41A7}"/>
          </ac:spMkLst>
        </pc:spChg>
        <pc:spChg chg="add mod">
          <ac:chgData name="SEIMANDI, Matthieu" userId="a1af33a6-fb38-46b3-9399-8c933e699451" providerId="ADAL" clId="{430C985F-A311-4434-952C-DEB42487B883}" dt="2024-03-15T14:20:36.915" v="8358" actId="164"/>
          <ac:spMkLst>
            <pc:docMk/>
            <pc:sldMk cId="2675261718" sldId="2147481467"/>
            <ac:spMk id="28" creationId="{C4C9BE90-D1AB-4AB9-737C-D0FAE4F09C3C}"/>
          </ac:spMkLst>
        </pc:spChg>
        <pc:spChg chg="add mod">
          <ac:chgData name="SEIMANDI, Matthieu" userId="a1af33a6-fb38-46b3-9399-8c933e699451" providerId="ADAL" clId="{430C985F-A311-4434-952C-DEB42487B883}" dt="2024-03-15T14:21:03.821" v="8374" actId="1036"/>
          <ac:spMkLst>
            <pc:docMk/>
            <pc:sldMk cId="2675261718" sldId="2147481467"/>
            <ac:spMk id="29" creationId="{283DCB52-019E-F533-1C02-C6CF6146E99C}"/>
          </ac:spMkLst>
        </pc:spChg>
        <pc:spChg chg="add mod">
          <ac:chgData name="SEIMANDI, Matthieu" userId="a1af33a6-fb38-46b3-9399-8c933e699451" providerId="ADAL" clId="{430C985F-A311-4434-952C-DEB42487B883}" dt="2024-03-15T14:21:03.821" v="8374" actId="1036"/>
          <ac:spMkLst>
            <pc:docMk/>
            <pc:sldMk cId="2675261718" sldId="2147481467"/>
            <ac:spMk id="30" creationId="{B7BA3610-D5C2-BE4B-88FA-3100A7A1CCFF}"/>
          </ac:spMkLst>
        </pc:spChg>
        <pc:spChg chg="add mod">
          <ac:chgData name="SEIMANDI, Matthieu" userId="a1af33a6-fb38-46b3-9399-8c933e699451" providerId="ADAL" clId="{430C985F-A311-4434-952C-DEB42487B883}" dt="2024-03-15T14:20:36.915" v="8358" actId="164"/>
          <ac:spMkLst>
            <pc:docMk/>
            <pc:sldMk cId="2675261718" sldId="2147481467"/>
            <ac:spMk id="31" creationId="{92F25489-16CE-9423-92A9-EB5CFBBFBBA6}"/>
          </ac:spMkLst>
        </pc:spChg>
        <pc:spChg chg="add mod">
          <ac:chgData name="SEIMANDI, Matthieu" userId="a1af33a6-fb38-46b3-9399-8c933e699451" providerId="ADAL" clId="{430C985F-A311-4434-952C-DEB42487B883}" dt="2024-03-15T14:20:36.915" v="8358" actId="164"/>
          <ac:spMkLst>
            <pc:docMk/>
            <pc:sldMk cId="2675261718" sldId="2147481467"/>
            <ac:spMk id="32" creationId="{2DD45586-740A-3D55-80A2-9A974DFB2B2C}"/>
          </ac:spMkLst>
        </pc:spChg>
        <pc:spChg chg="add mod">
          <ac:chgData name="SEIMANDI, Matthieu" userId="a1af33a6-fb38-46b3-9399-8c933e699451" providerId="ADAL" clId="{430C985F-A311-4434-952C-DEB42487B883}" dt="2024-03-15T14:20:36.915" v="8358" actId="164"/>
          <ac:spMkLst>
            <pc:docMk/>
            <pc:sldMk cId="2675261718" sldId="2147481467"/>
            <ac:spMk id="33" creationId="{A25D6C26-CC1C-9759-AB18-F7E4D793E169}"/>
          </ac:spMkLst>
        </pc:spChg>
        <pc:spChg chg="add mod">
          <ac:chgData name="SEIMANDI, Matthieu" userId="a1af33a6-fb38-46b3-9399-8c933e699451" providerId="ADAL" clId="{430C985F-A311-4434-952C-DEB42487B883}" dt="2024-03-15T14:20:36.915" v="8358" actId="164"/>
          <ac:spMkLst>
            <pc:docMk/>
            <pc:sldMk cId="2675261718" sldId="2147481467"/>
            <ac:spMk id="34" creationId="{D62084B9-9B11-4205-06D3-C038F29368C6}"/>
          </ac:spMkLst>
        </pc:spChg>
        <pc:spChg chg="add mod">
          <ac:chgData name="SEIMANDI, Matthieu" userId="a1af33a6-fb38-46b3-9399-8c933e699451" providerId="ADAL" clId="{430C985F-A311-4434-952C-DEB42487B883}" dt="2024-03-15T14:20:36.915" v="8358" actId="164"/>
          <ac:spMkLst>
            <pc:docMk/>
            <pc:sldMk cId="2675261718" sldId="2147481467"/>
            <ac:spMk id="35" creationId="{B74E8D22-3C6A-0EF2-8598-BC96ED864830}"/>
          </ac:spMkLst>
        </pc:spChg>
        <pc:spChg chg="add mod">
          <ac:chgData name="SEIMANDI, Matthieu" userId="a1af33a6-fb38-46b3-9399-8c933e699451" providerId="ADAL" clId="{430C985F-A311-4434-952C-DEB42487B883}" dt="2024-03-15T14:20:36.915" v="8358" actId="164"/>
          <ac:spMkLst>
            <pc:docMk/>
            <pc:sldMk cId="2675261718" sldId="2147481467"/>
            <ac:spMk id="36" creationId="{84B2B7B0-F35E-028F-7515-BBD1A5D338DB}"/>
          </ac:spMkLst>
        </pc:spChg>
        <pc:spChg chg="add mod">
          <ac:chgData name="SEIMANDI, Matthieu" userId="a1af33a6-fb38-46b3-9399-8c933e699451" providerId="ADAL" clId="{430C985F-A311-4434-952C-DEB42487B883}" dt="2024-03-15T14:20:36.915" v="8358" actId="164"/>
          <ac:spMkLst>
            <pc:docMk/>
            <pc:sldMk cId="2675261718" sldId="2147481467"/>
            <ac:spMk id="37" creationId="{C2B5E3B8-739F-82DD-D660-90E1C81C3179}"/>
          </ac:spMkLst>
        </pc:spChg>
        <pc:spChg chg="add mod">
          <ac:chgData name="SEIMANDI, Matthieu" userId="a1af33a6-fb38-46b3-9399-8c933e699451" providerId="ADAL" clId="{430C985F-A311-4434-952C-DEB42487B883}" dt="2024-03-15T14:20:36.915" v="8358" actId="164"/>
          <ac:spMkLst>
            <pc:docMk/>
            <pc:sldMk cId="2675261718" sldId="2147481467"/>
            <ac:spMk id="38" creationId="{5BFC55E0-1362-7D68-88A6-2BA69B8C6045}"/>
          </ac:spMkLst>
        </pc:spChg>
        <pc:spChg chg="add mod ord">
          <ac:chgData name="SEIMANDI, Matthieu" userId="a1af33a6-fb38-46b3-9399-8c933e699451" providerId="ADAL" clId="{430C985F-A311-4434-952C-DEB42487B883}" dt="2024-03-15T14:38:14.157" v="8407" actId="20577"/>
          <ac:spMkLst>
            <pc:docMk/>
            <pc:sldMk cId="2675261718" sldId="2147481467"/>
            <ac:spMk id="40" creationId="{4CC06783-29CA-DA32-0DD0-2797DD7D917D}"/>
          </ac:spMkLst>
        </pc:spChg>
        <pc:grpChg chg="add mod">
          <ac:chgData name="SEIMANDI, Matthieu" userId="a1af33a6-fb38-46b3-9399-8c933e699451" providerId="ADAL" clId="{430C985F-A311-4434-952C-DEB42487B883}" dt="2024-03-15T14:38:21.250" v="8429" actId="1036"/>
          <ac:grpSpMkLst>
            <pc:docMk/>
            <pc:sldMk cId="2675261718" sldId="2147481467"/>
            <ac:grpSpMk id="39" creationId="{BFDDFA94-4602-FFF5-32FF-6C5EB6E32179}"/>
          </ac:grpSpMkLst>
        </pc:grpChg>
        <pc:cxnChg chg="add mod">
          <ac:chgData name="SEIMANDI, Matthieu" userId="a1af33a6-fb38-46b3-9399-8c933e699451" providerId="ADAL" clId="{430C985F-A311-4434-952C-DEB42487B883}" dt="2024-03-15T14:20:36.915" v="8358" actId="164"/>
          <ac:cxnSpMkLst>
            <pc:docMk/>
            <pc:sldMk cId="2675261718" sldId="2147481467"/>
            <ac:cxnSpMk id="5" creationId="{EA502556-D31F-A455-D6C8-08D1C814B6E5}"/>
          </ac:cxnSpMkLst>
        </pc:cxnChg>
        <pc:cxnChg chg="add mod">
          <ac:chgData name="SEIMANDI, Matthieu" userId="a1af33a6-fb38-46b3-9399-8c933e699451" providerId="ADAL" clId="{430C985F-A311-4434-952C-DEB42487B883}" dt="2024-03-15T14:20:36.915" v="8358" actId="164"/>
          <ac:cxnSpMkLst>
            <pc:docMk/>
            <pc:sldMk cId="2675261718" sldId="2147481467"/>
            <ac:cxnSpMk id="6" creationId="{3D523EB6-EAF2-A086-E6C6-7EC97F288471}"/>
          </ac:cxnSpMkLst>
        </pc:cxnChg>
        <pc:cxnChg chg="add mod">
          <ac:chgData name="SEIMANDI, Matthieu" userId="a1af33a6-fb38-46b3-9399-8c933e699451" providerId="ADAL" clId="{430C985F-A311-4434-952C-DEB42487B883}" dt="2024-03-15T14:20:50.158" v="8365" actId="1036"/>
          <ac:cxnSpMkLst>
            <pc:docMk/>
            <pc:sldMk cId="2675261718" sldId="2147481467"/>
            <ac:cxnSpMk id="7" creationId="{F53567B9-7AE5-85E7-6F51-BC3DA4058E67}"/>
          </ac:cxnSpMkLst>
        </pc:cxnChg>
        <pc:cxnChg chg="add mod">
          <ac:chgData name="SEIMANDI, Matthieu" userId="a1af33a6-fb38-46b3-9399-8c933e699451" providerId="ADAL" clId="{430C985F-A311-4434-952C-DEB42487B883}" dt="2024-03-15T14:20:54.374" v="8368" actId="1035"/>
          <ac:cxnSpMkLst>
            <pc:docMk/>
            <pc:sldMk cId="2675261718" sldId="2147481467"/>
            <ac:cxnSpMk id="10" creationId="{B2C2ABD5-3058-B689-2275-0FF039AD46D7}"/>
          </ac:cxnSpMkLst>
        </pc:cxnChg>
        <pc:cxnChg chg="add mod">
          <ac:chgData name="SEIMANDI, Matthieu" userId="a1af33a6-fb38-46b3-9399-8c933e699451" providerId="ADAL" clId="{430C985F-A311-4434-952C-DEB42487B883}" dt="2024-03-15T14:20:36.915" v="8358" actId="164"/>
          <ac:cxnSpMkLst>
            <pc:docMk/>
            <pc:sldMk cId="2675261718" sldId="2147481467"/>
            <ac:cxnSpMk id="12" creationId="{90DB351C-4525-2EC7-C974-DC5018E726A1}"/>
          </ac:cxnSpMkLst>
        </pc:cxnChg>
        <pc:cxnChg chg="add mod">
          <ac:chgData name="SEIMANDI, Matthieu" userId="a1af33a6-fb38-46b3-9399-8c933e699451" providerId="ADAL" clId="{430C985F-A311-4434-952C-DEB42487B883}" dt="2024-03-15T14:20:36.915" v="8358" actId="164"/>
          <ac:cxnSpMkLst>
            <pc:docMk/>
            <pc:sldMk cId="2675261718" sldId="2147481467"/>
            <ac:cxnSpMk id="13" creationId="{0650E700-61EF-D393-D088-F4E385B9BB66}"/>
          </ac:cxnSpMkLst>
        </pc:cxnChg>
      </pc:sldChg>
      <pc:sldMasterChg chg="addSp delSp modSp mod modSldLayout sldLayoutOrd">
        <pc:chgData name="SEIMANDI, Matthieu" userId="a1af33a6-fb38-46b3-9399-8c933e699451" providerId="ADAL" clId="{430C985F-A311-4434-952C-DEB42487B883}" dt="2024-03-12T09:18:00.734" v="7545" actId="1076"/>
        <pc:sldMasterMkLst>
          <pc:docMk/>
          <pc:sldMasterMk cId="3148905397" sldId="2147483899"/>
        </pc:sldMasterMkLst>
        <pc:spChg chg="mod">
          <ac:chgData name="SEIMANDI, Matthieu" userId="a1af33a6-fb38-46b3-9399-8c933e699451" providerId="ADAL" clId="{430C985F-A311-4434-952C-DEB42487B883}" dt="2024-02-13T10:20:26.384" v="1" actId="3064"/>
          <ac:spMkLst>
            <pc:docMk/>
            <pc:sldMasterMk cId="3148905397" sldId="2147483899"/>
            <ac:spMk id="9" creationId="{00000000-0000-0000-0000-000000000000}"/>
          </ac:spMkLst>
        </pc:spChg>
        <pc:grpChg chg="mod">
          <ac:chgData name="SEIMANDI, Matthieu" userId="a1af33a6-fb38-46b3-9399-8c933e699451" providerId="ADAL" clId="{430C985F-A311-4434-952C-DEB42487B883}" dt="2024-03-12T09:18:00.734" v="7545" actId="1076"/>
          <ac:grpSpMkLst>
            <pc:docMk/>
            <pc:sldMasterMk cId="3148905397" sldId="2147483899"/>
            <ac:grpSpMk id="3" creationId="{7D254FA0-1CD0-4186-9223-F354145FAE6C}"/>
          </ac:grpSpMkLst>
        </pc:grpChg>
        <pc:grpChg chg="mod">
          <ac:chgData name="SEIMANDI, Matthieu" userId="a1af33a6-fb38-46b3-9399-8c933e699451" providerId="ADAL" clId="{430C985F-A311-4434-952C-DEB42487B883}" dt="2024-02-14T16:51:26.474" v="1648" actId="1037"/>
          <ac:grpSpMkLst>
            <pc:docMk/>
            <pc:sldMasterMk cId="3148905397" sldId="2147483899"/>
            <ac:grpSpMk id="94" creationId="{11A3E882-4152-49CC-A658-0BA2BD4CCF4E}"/>
          </ac:grpSpMkLst>
        </pc:grpChg>
        <pc:picChg chg="add del mod">
          <ac:chgData name="SEIMANDI, Matthieu" userId="a1af33a6-fb38-46b3-9399-8c933e699451" providerId="ADAL" clId="{430C985F-A311-4434-952C-DEB42487B883}" dt="2024-02-14T16:51:10.735" v="1639" actId="478"/>
          <ac:picMkLst>
            <pc:docMk/>
            <pc:sldMasterMk cId="3148905397" sldId="2147483899"/>
            <ac:picMk id="2" creationId="{3A7B1964-365F-D06E-80BC-14A77F463FCB}"/>
          </ac:picMkLst>
        </pc:picChg>
        <pc:picChg chg="add mod modCrop">
          <ac:chgData name="SEIMANDI, Matthieu" userId="a1af33a6-fb38-46b3-9399-8c933e699451" providerId="ADAL" clId="{430C985F-A311-4434-952C-DEB42487B883}" dt="2024-02-14T16:51:28.569" v="1651" actId="14100"/>
          <ac:picMkLst>
            <pc:docMk/>
            <pc:sldMasterMk cId="3148905397" sldId="2147483899"/>
            <ac:picMk id="5" creationId="{A76EBBFF-6670-4290-DA89-07B76858DC0E}"/>
          </ac:picMkLst>
        </pc:picChg>
        <pc:picChg chg="mod">
          <ac:chgData name="SEIMANDI, Matthieu" userId="a1af33a6-fb38-46b3-9399-8c933e699451" providerId="ADAL" clId="{430C985F-A311-4434-952C-DEB42487B883}" dt="2024-02-14T16:50:21.465" v="1626" actId="1038"/>
          <ac:picMkLst>
            <pc:docMk/>
            <pc:sldMasterMk cId="3148905397" sldId="2147483899"/>
            <ac:picMk id="64" creationId="{7908F816-BEAB-4325-95BA-088659D52F3C}"/>
          </ac:picMkLst>
        </pc:picChg>
        <pc:sldLayoutChg chg="delSp modSp mod">
          <pc:chgData name="SEIMANDI, Matthieu" userId="a1af33a6-fb38-46b3-9399-8c933e699451" providerId="ADAL" clId="{430C985F-A311-4434-952C-DEB42487B883}" dt="2024-02-15T10:55:32.098" v="3346" actId="1036"/>
          <pc:sldLayoutMkLst>
            <pc:docMk/>
            <pc:sldMasterMk cId="3148905397" sldId="2147483899"/>
            <pc:sldLayoutMk cId="1562321918" sldId="2147484262"/>
          </pc:sldLayoutMkLst>
          <pc:spChg chg="mod">
            <ac:chgData name="SEIMANDI, Matthieu" userId="a1af33a6-fb38-46b3-9399-8c933e699451" providerId="ADAL" clId="{430C985F-A311-4434-952C-DEB42487B883}" dt="2024-02-15T10:55:32.098" v="3346" actId="1036"/>
            <ac:spMkLst>
              <pc:docMk/>
              <pc:sldMasterMk cId="3148905397" sldId="2147483899"/>
              <pc:sldLayoutMk cId="1562321918" sldId="2147484262"/>
              <ac:spMk id="2" creationId="{00000000-0000-0000-0000-000000000000}"/>
            </ac:spMkLst>
          </pc:spChg>
          <pc:grpChg chg="del">
            <ac:chgData name="SEIMANDI, Matthieu" userId="a1af33a6-fb38-46b3-9399-8c933e699451" providerId="ADAL" clId="{430C985F-A311-4434-952C-DEB42487B883}" dt="2024-02-15T09:13:22.909" v="2331" actId="478"/>
            <ac:grpSpMkLst>
              <pc:docMk/>
              <pc:sldMasterMk cId="3148905397" sldId="2147483899"/>
              <pc:sldLayoutMk cId="1562321918" sldId="2147484262"/>
              <ac:grpSpMk id="6" creationId="{DF38CD4F-1948-4203-ACCF-EFE372C5F3AE}"/>
            </ac:grpSpMkLst>
          </pc:grpChg>
        </pc:sldLayoutChg>
        <pc:sldLayoutChg chg="ord">
          <pc:chgData name="SEIMANDI, Matthieu" userId="a1af33a6-fb38-46b3-9399-8c933e699451" providerId="ADAL" clId="{430C985F-A311-4434-952C-DEB42487B883}" dt="2024-02-15T10:55:16.400" v="3331" actId="20578"/>
          <pc:sldLayoutMkLst>
            <pc:docMk/>
            <pc:sldMasterMk cId="3148905397" sldId="2147483899"/>
            <pc:sldLayoutMk cId="1635656793" sldId="2147484263"/>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1" y="0"/>
            <a:ext cx="2945659" cy="498056"/>
          </a:xfrm>
          <a:prstGeom prst="rect">
            <a:avLst/>
          </a:prstGeom>
        </p:spPr>
        <p:txBody>
          <a:bodyPr vert="horz" lIns="91433" tIns="45717" rIns="91433" bIns="45717"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50444" y="0"/>
            <a:ext cx="2945659" cy="498056"/>
          </a:xfrm>
          <a:prstGeom prst="rect">
            <a:avLst/>
          </a:prstGeom>
        </p:spPr>
        <p:txBody>
          <a:bodyPr vert="horz" lIns="91433" tIns="45717" rIns="91433" bIns="45717" rtlCol="0"/>
          <a:lstStyle>
            <a:lvl1pPr algn="r">
              <a:defRPr sz="1200"/>
            </a:lvl1pPr>
          </a:lstStyle>
          <a:p>
            <a:fld id="{86C988DC-9DE3-4390-97AB-D61B85DACE57}" type="datetimeFigureOut">
              <a:rPr lang="pt-PT" sz="900"/>
              <a:pPr/>
              <a:t>31/05/2024</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1" y="9428584"/>
            <a:ext cx="2945659" cy="498055"/>
          </a:xfrm>
          <a:prstGeom prst="rect">
            <a:avLst/>
          </a:prstGeom>
        </p:spPr>
        <p:txBody>
          <a:bodyPr vert="horz" lIns="91433" tIns="45717" rIns="91433" bIns="45717"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50444" y="9428584"/>
            <a:ext cx="2945659" cy="498055"/>
          </a:xfrm>
          <a:prstGeom prst="rect">
            <a:avLst/>
          </a:prstGeom>
        </p:spPr>
        <p:txBody>
          <a:bodyPr vert="horz" lIns="91433" tIns="45717" rIns="91433" bIns="45717" rtlCol="0" anchor="b"/>
          <a:lstStyle>
            <a:lvl1pPr algn="r">
              <a:defRPr sz="1200"/>
            </a:lvl1pPr>
          </a:lstStyle>
          <a:p>
            <a:fld id="{2F190BF9-40D8-49B5-87EF-599BB2C7EE93}" type="slidenum">
              <a:rPr lang="pt-PT" sz="900"/>
              <a:pPr/>
              <a:t>‹N°›</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1" y="0"/>
            <a:ext cx="2945659" cy="498056"/>
          </a:xfrm>
          <a:prstGeom prst="rect">
            <a:avLst/>
          </a:prstGeom>
        </p:spPr>
        <p:txBody>
          <a:bodyPr vert="horz" lIns="91433" tIns="45717" rIns="91433" bIns="45717" rtlCol="0"/>
          <a:lstStyle>
            <a:lvl1pPr algn="l">
              <a:defRPr sz="900"/>
            </a:lvl1pPr>
          </a:lstStyle>
          <a:p>
            <a:endParaRPr lang="pt-BR"/>
          </a:p>
        </p:txBody>
      </p:sp>
      <p:sp>
        <p:nvSpPr>
          <p:cNvPr id="3" name="Marcador de Posição da Data 2"/>
          <p:cNvSpPr>
            <a:spLocks noGrp="1"/>
          </p:cNvSpPr>
          <p:nvPr>
            <p:ph type="dt" idx="1"/>
          </p:nvPr>
        </p:nvSpPr>
        <p:spPr>
          <a:xfrm>
            <a:off x="3850444" y="0"/>
            <a:ext cx="2945659" cy="498056"/>
          </a:xfrm>
          <a:prstGeom prst="rect">
            <a:avLst/>
          </a:prstGeom>
        </p:spPr>
        <p:txBody>
          <a:bodyPr vert="horz" lIns="91433" tIns="45717" rIns="91433" bIns="45717" rtlCol="0"/>
          <a:lstStyle>
            <a:lvl1pPr algn="r">
              <a:defRPr sz="900"/>
            </a:lvl1pPr>
          </a:lstStyle>
          <a:p>
            <a:fld id="{0835B8F7-DAC4-4931-8AED-4356A8B2FD64}" type="datetimeFigureOut">
              <a:rPr lang="pt-BR" smtClean="0"/>
              <a:pPr/>
              <a:t>31/05/2024</a:t>
            </a:fld>
            <a:endParaRPr lang="pt-BR"/>
          </a:p>
        </p:txBody>
      </p:sp>
      <p:sp>
        <p:nvSpPr>
          <p:cNvPr id="4" name="Marcador de Posição da Imagem do Diapositivo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33" tIns="45717" rIns="91433" bIns="45717" rtlCol="0" anchor="ctr"/>
          <a:lstStyle/>
          <a:p>
            <a:endParaRPr lang="pt-BR"/>
          </a:p>
        </p:txBody>
      </p:sp>
      <p:sp>
        <p:nvSpPr>
          <p:cNvPr id="5" name="Marcador de Posição de Notas 4"/>
          <p:cNvSpPr>
            <a:spLocks noGrp="1"/>
          </p:cNvSpPr>
          <p:nvPr>
            <p:ph type="body" sz="quarter" idx="3"/>
          </p:nvPr>
        </p:nvSpPr>
        <p:spPr>
          <a:xfrm>
            <a:off x="679768" y="4777194"/>
            <a:ext cx="5438140" cy="3908614"/>
          </a:xfrm>
          <a:prstGeom prst="rect">
            <a:avLst/>
          </a:prstGeom>
        </p:spPr>
        <p:txBody>
          <a:bodyPr vert="horz" lIns="91433" tIns="45717" rIns="91433" bIns="45717" rtlCol="0"/>
          <a:lstStyle/>
          <a:p>
            <a:pPr lvl="0"/>
            <a:r>
              <a:rPr lang="pt-PT"/>
              <a:t>Insert comments</a:t>
            </a:r>
            <a:endParaRPr lang="pt-BR"/>
          </a:p>
        </p:txBody>
      </p:sp>
      <p:sp>
        <p:nvSpPr>
          <p:cNvPr id="6" name="Marcador de Posição do Rodapé 5"/>
          <p:cNvSpPr>
            <a:spLocks noGrp="1"/>
          </p:cNvSpPr>
          <p:nvPr>
            <p:ph type="ftr" sz="quarter" idx="4"/>
          </p:nvPr>
        </p:nvSpPr>
        <p:spPr>
          <a:xfrm>
            <a:off x="1" y="9428584"/>
            <a:ext cx="2945659" cy="498055"/>
          </a:xfrm>
          <a:prstGeom prst="rect">
            <a:avLst/>
          </a:prstGeom>
        </p:spPr>
        <p:txBody>
          <a:bodyPr vert="horz" lIns="91433" tIns="45717" rIns="91433" bIns="45717"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50444" y="9428584"/>
            <a:ext cx="2945659" cy="498055"/>
          </a:xfrm>
          <a:prstGeom prst="rect">
            <a:avLst/>
          </a:prstGeom>
        </p:spPr>
        <p:txBody>
          <a:bodyPr vert="horz" lIns="91433" tIns="45717" rIns="91433" bIns="45717" rtlCol="0" anchor="b"/>
          <a:lstStyle>
            <a:lvl1pPr algn="r">
              <a:defRPr sz="900"/>
            </a:lvl1pPr>
          </a:lstStyle>
          <a:p>
            <a:fld id="{C0696B5C-12A0-4042-B4D0-BD3B9A4F58C6}" type="slidenum">
              <a:rPr lang="pt-BR" smtClean="0"/>
              <a:pPr/>
              <a:t>‹N°›</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C0696B5C-12A0-4042-B4D0-BD3B9A4F58C6}" type="slidenum">
              <a:rPr lang="fr-FR" smtClean="0"/>
              <a:pPr/>
              <a:t>1</a:t>
            </a:fld>
            <a:endParaRPr lang="fr-FR"/>
          </a:p>
        </p:txBody>
      </p:sp>
    </p:spTree>
    <p:extLst>
      <p:ext uri="{BB962C8B-B14F-4D97-AF65-F5344CB8AC3E}">
        <p14:creationId xmlns:p14="http://schemas.microsoft.com/office/powerpoint/2010/main" val="174581999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7488" y="812800"/>
            <a:ext cx="7124700" cy="4008438"/>
          </a:xfrm>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816A84-495E-4FBA-BA57-7E52498A6AA2}"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8955483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pPr defTabSz="914330">
              <a:defRPr/>
            </a:pPr>
            <a:fld id="{C0696B5C-12A0-4042-B4D0-BD3B9A4F58C6}" type="slidenum">
              <a:rPr lang="fr-FR" sz="1200">
                <a:solidFill>
                  <a:prstClr val="black"/>
                </a:solidFill>
                <a:latin typeface="Calibri" panose="020F0502020204030204"/>
              </a:rPr>
              <a:pPr defTabSz="914330">
                <a:defRPr/>
              </a:pPr>
              <a:t>21</a:t>
            </a:fld>
            <a:endParaRPr lang="fr-FR" sz="1200">
              <a:solidFill>
                <a:prstClr val="black"/>
              </a:solidFill>
              <a:latin typeface="Calibri" panose="020F0502020204030204"/>
            </a:endParaRPr>
          </a:p>
        </p:txBody>
      </p:sp>
    </p:spTree>
    <p:extLst>
      <p:ext uri="{BB962C8B-B14F-4D97-AF65-F5344CB8AC3E}">
        <p14:creationId xmlns:p14="http://schemas.microsoft.com/office/powerpoint/2010/main" val="5479720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a:t>19 leviers </a:t>
            </a:r>
          </a:p>
          <a:p>
            <a:pPr marL="171450" indent="-171450">
              <a:buFontTx/>
              <a:buChar char="-"/>
            </a:pPr>
            <a:r>
              <a:rPr lang="en-US"/>
              <a:t>A </a:t>
            </a:r>
            <a:r>
              <a:rPr lang="en-US" err="1"/>
              <a:t>l’aise</a:t>
            </a:r>
            <a:r>
              <a:rPr lang="en-US"/>
              <a:t> avec la formulation des leviers ? A </a:t>
            </a:r>
            <a:r>
              <a:rPr lang="en-US" err="1"/>
              <a:t>l’aise</a:t>
            </a:r>
            <a:r>
              <a:rPr lang="en-US"/>
              <a:t> avec </a:t>
            </a:r>
            <a:r>
              <a:rPr lang="en-US" err="1"/>
              <a:t>tous</a:t>
            </a:r>
            <a:r>
              <a:rPr lang="en-US"/>
              <a:t> les leviers ? Est-</a:t>
            </a:r>
            <a:r>
              <a:rPr lang="en-US" err="1"/>
              <a:t>ce</a:t>
            </a:r>
            <a:r>
              <a:rPr lang="en-US"/>
              <a:t> </a:t>
            </a:r>
            <a:r>
              <a:rPr lang="en-US" err="1"/>
              <a:t>clair</a:t>
            </a:r>
            <a:r>
              <a:rPr lang="en-US"/>
              <a:t> ?</a:t>
            </a:r>
          </a:p>
          <a:p>
            <a:pPr marL="171450" indent="-171450">
              <a:buFontTx/>
              <a:buChar char="-"/>
            </a:pPr>
            <a:endParaRPr lang="fr-FR"/>
          </a:p>
        </p:txBody>
      </p:sp>
      <p:sp>
        <p:nvSpPr>
          <p:cNvPr id="4" name="Slide Number Placeholder 3"/>
          <p:cNvSpPr>
            <a:spLocks noGrp="1"/>
          </p:cNvSpPr>
          <p:nvPr>
            <p:ph type="sldNum" sz="quarter" idx="5"/>
          </p:nvPr>
        </p:nvSpPr>
        <p:spPr/>
        <p:txBody>
          <a:bodyPr/>
          <a:lstStyle/>
          <a:p>
            <a:fld id="{FB92111B-7EE1-4485-A6EA-B8CABF2ADC29}" type="slidenum">
              <a:rPr lang="fr-FR" smtClean="0"/>
              <a:t>22</a:t>
            </a:fld>
            <a:endParaRPr lang="fr-FR"/>
          </a:p>
        </p:txBody>
      </p:sp>
    </p:spTree>
    <p:extLst>
      <p:ext uri="{BB962C8B-B14F-4D97-AF65-F5344CB8AC3E}">
        <p14:creationId xmlns:p14="http://schemas.microsoft.com/office/powerpoint/2010/main" val="41198392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pPr marL="0" marR="0" lvl="0" indent="0" algn="r" defTabSz="914330" rtl="0" eaLnBrk="1" fontAlgn="auto" latinLnBrk="0" hangingPunct="1">
              <a:lnSpc>
                <a:spcPct val="100000"/>
              </a:lnSpc>
              <a:spcBef>
                <a:spcPts val="0"/>
              </a:spcBef>
              <a:spcAft>
                <a:spcPts val="0"/>
              </a:spcAft>
              <a:buClrTx/>
              <a:buSzTx/>
              <a:buFontTx/>
              <a:buNone/>
              <a:tabLst/>
              <a:defRPr/>
            </a:pPr>
            <a:fld id="{C0696B5C-12A0-4042-B4D0-BD3B9A4F58C6}" type="slidenum">
              <a:rPr kumimoji="0" lang="fr-FR"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330" rtl="0" eaLnBrk="1" fontAlgn="auto" latinLnBrk="0" hangingPunct="1">
                <a:lnSpc>
                  <a:spcPct val="100000"/>
                </a:lnSpc>
                <a:spcBef>
                  <a:spcPts val="0"/>
                </a:spcBef>
                <a:spcAft>
                  <a:spcPts val="0"/>
                </a:spcAft>
                <a:buClrTx/>
                <a:buSzTx/>
                <a:buFontTx/>
                <a:buNone/>
                <a:tabLst/>
                <a:defRPr/>
              </a:pPr>
              <a:t>24</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4514108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pPr marL="0" marR="0" lvl="0" indent="0" algn="r" defTabSz="914330" rtl="0" eaLnBrk="1" fontAlgn="auto" latinLnBrk="0" hangingPunct="1">
              <a:lnSpc>
                <a:spcPct val="100000"/>
              </a:lnSpc>
              <a:spcBef>
                <a:spcPts val="0"/>
              </a:spcBef>
              <a:spcAft>
                <a:spcPts val="0"/>
              </a:spcAft>
              <a:buClrTx/>
              <a:buSzTx/>
              <a:buFontTx/>
              <a:buNone/>
              <a:tabLst/>
              <a:defRPr/>
            </a:pPr>
            <a:fld id="{C0696B5C-12A0-4042-B4D0-BD3B9A4F58C6}" type="slidenum">
              <a:rPr kumimoji="0" lang="fr-FR"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330" rtl="0" eaLnBrk="1" fontAlgn="auto" latinLnBrk="0" hangingPunct="1">
                <a:lnSpc>
                  <a:spcPct val="100000"/>
                </a:lnSpc>
                <a:spcBef>
                  <a:spcPts val="0"/>
                </a:spcBef>
                <a:spcAft>
                  <a:spcPts val="0"/>
                </a:spcAft>
                <a:buClrTx/>
                <a:buSzTx/>
                <a:buFontTx/>
                <a:buNone/>
                <a:tabLst/>
                <a:defRPr/>
              </a:pPr>
              <a:t>25</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1082958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5"/>
          </p:nvPr>
        </p:nvSpPr>
        <p:spPr/>
        <p:txBody>
          <a:bodyPr/>
          <a:lstStyle/>
          <a:p>
            <a:fld id="{C0696B5C-12A0-4042-B4D0-BD3B9A4F58C6}" type="slidenum">
              <a:rPr lang="pt-BR" smtClean="0"/>
              <a:pPr/>
              <a:t>27</a:t>
            </a:fld>
            <a:endParaRPr lang="pt-BR"/>
          </a:p>
        </p:txBody>
      </p:sp>
    </p:spTree>
    <p:extLst>
      <p:ext uri="{BB962C8B-B14F-4D97-AF65-F5344CB8AC3E}">
        <p14:creationId xmlns:p14="http://schemas.microsoft.com/office/powerpoint/2010/main" val="85049448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612" indent="-174612">
              <a:spcBef>
                <a:spcPct val="20000"/>
              </a:spcBef>
              <a:buClr>
                <a:srgbClr val="1F497D"/>
              </a:buClr>
              <a:buFont typeface="Wingdings" panose="05000000000000000000" pitchFamily="2" charset="2"/>
              <a:buChar char="§"/>
            </a:pPr>
            <a:r>
              <a:rPr lang="fr-FR">
                <a:solidFill>
                  <a:prstClr val="black"/>
                </a:solidFill>
              </a:rPr>
              <a:t>Qu’est-ce que la VA / NVA pour vous ?</a:t>
            </a:r>
          </a:p>
          <a:p>
            <a:pPr marL="174612" indent="-174612">
              <a:spcBef>
                <a:spcPct val="20000"/>
              </a:spcBef>
              <a:buClr>
                <a:srgbClr val="1F497D"/>
              </a:buClr>
              <a:buFont typeface="Wingdings" panose="05000000000000000000" pitchFamily="2" charset="2"/>
              <a:buChar char="§"/>
            </a:pPr>
            <a:r>
              <a:rPr lang="fr-FR" err="1">
                <a:solidFill>
                  <a:prstClr val="black"/>
                </a:solidFill>
              </a:rPr>
              <a:t>Kahoot</a:t>
            </a:r>
            <a:endParaRPr lang="fr-FR">
              <a:solidFill>
                <a:prstClr val="black"/>
              </a:solidFill>
            </a:endParaRPr>
          </a:p>
          <a:p>
            <a:pPr marL="174612" indent="-174612">
              <a:spcBef>
                <a:spcPct val="20000"/>
              </a:spcBef>
              <a:buClr>
                <a:srgbClr val="1F497D"/>
              </a:buClr>
              <a:buFont typeface="Wingdings" panose="05000000000000000000" pitchFamily="2" charset="2"/>
              <a:buChar char="§"/>
            </a:pPr>
            <a:r>
              <a:rPr lang="fr-FR">
                <a:solidFill>
                  <a:prstClr val="black"/>
                </a:solidFill>
              </a:rPr>
              <a:t>Quels sont selon les gaspillages que l’on peut observer ? Il y en a 8</a:t>
            </a:r>
          </a:p>
          <a:p>
            <a:pPr marL="174612" indent="-174612">
              <a:spcBef>
                <a:spcPct val="20000"/>
              </a:spcBef>
              <a:buClr>
                <a:srgbClr val="1F497D"/>
              </a:buClr>
              <a:buFont typeface="Wingdings" panose="05000000000000000000" pitchFamily="2" charset="2"/>
              <a:buChar char="§"/>
            </a:pPr>
            <a:r>
              <a:rPr lang="fr-FR">
                <a:solidFill>
                  <a:prstClr val="black"/>
                </a:solidFill>
              </a:rPr>
              <a:t>A l’oral, parler de l’exemple des divorces</a:t>
            </a:r>
          </a:p>
          <a:p>
            <a:pPr marL="174612" indent="-174612">
              <a:spcBef>
                <a:spcPct val="20000"/>
              </a:spcBef>
              <a:buClr>
                <a:srgbClr val="1F497D"/>
              </a:buClr>
              <a:buFont typeface="Wingdings" panose="05000000000000000000" pitchFamily="2" charset="2"/>
              <a:buChar char="§"/>
            </a:pPr>
            <a:r>
              <a:rPr lang="fr-FR">
                <a:solidFill>
                  <a:prstClr val="black"/>
                </a:solidFill>
              </a:rPr>
              <a:t>En moyenne un divorce prend 2,5 an pour 16 heures d’audience en moyenne </a:t>
            </a:r>
            <a:r>
              <a:rPr lang="fr-FR">
                <a:solidFill>
                  <a:prstClr val="black"/>
                </a:solidFill>
                <a:sym typeface="Wingdings" panose="05000000000000000000" pitchFamily="2" charset="2"/>
              </a:rPr>
              <a:t> Moins de 0,1% de VA</a:t>
            </a:r>
            <a:endParaRPr lang="fr-FR">
              <a:solidFill>
                <a:prstClr val="black"/>
              </a:solidFill>
            </a:endParaRPr>
          </a:p>
          <a:p>
            <a:endParaRPr lang="fr-FR"/>
          </a:p>
        </p:txBody>
      </p:sp>
      <p:sp>
        <p:nvSpPr>
          <p:cNvPr id="4" name="Slide Number Placeholder 3"/>
          <p:cNvSpPr>
            <a:spLocks noGrp="1"/>
          </p:cNvSpPr>
          <p:nvPr>
            <p:ph type="sldNum" sz="quarter" idx="10"/>
          </p:nvPr>
        </p:nvSpPr>
        <p:spPr/>
        <p:txBody>
          <a:bodyPr/>
          <a:lstStyle/>
          <a:p>
            <a:pPr defTabSz="914330">
              <a:defRPr/>
            </a:pPr>
            <a:fld id="{C0696B5C-12A0-4042-B4D0-BD3B9A4F58C6}" type="slidenum">
              <a:rPr lang="fr-FR">
                <a:solidFill>
                  <a:prstClr val="black"/>
                </a:solidFill>
                <a:latin typeface="Verdana"/>
              </a:rPr>
              <a:pPr defTabSz="914330">
                <a:defRPr/>
              </a:pPr>
              <a:t>31</a:t>
            </a:fld>
            <a:endParaRPr lang="fr-FR">
              <a:solidFill>
                <a:prstClr val="black"/>
              </a:solidFill>
              <a:latin typeface="Verdana"/>
            </a:endParaRPr>
          </a:p>
        </p:txBody>
      </p:sp>
    </p:spTree>
    <p:extLst>
      <p:ext uri="{BB962C8B-B14F-4D97-AF65-F5344CB8AC3E}">
        <p14:creationId xmlns:p14="http://schemas.microsoft.com/office/powerpoint/2010/main" val="374577329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a:t>On a deux piliers : process et roue</a:t>
            </a:r>
          </a:p>
        </p:txBody>
      </p:sp>
      <p:sp>
        <p:nvSpPr>
          <p:cNvPr id="4" name="Slide Number Placeholder 3"/>
          <p:cNvSpPr>
            <a:spLocks noGrp="1"/>
          </p:cNvSpPr>
          <p:nvPr>
            <p:ph type="sldNum" sz="quarter" idx="10"/>
          </p:nvPr>
        </p:nvSpPr>
        <p:spPr/>
        <p:txBody>
          <a:bodyPr/>
          <a:lstStyle/>
          <a:p>
            <a:pPr defTabSz="914330">
              <a:defRPr/>
            </a:pPr>
            <a:fld id="{C0696B5C-12A0-4042-B4D0-BD3B9A4F58C6}" type="slidenum">
              <a:rPr lang="fr-FR">
                <a:solidFill>
                  <a:prstClr val="black"/>
                </a:solidFill>
                <a:latin typeface="Verdana"/>
              </a:rPr>
              <a:pPr defTabSz="914330">
                <a:defRPr/>
              </a:pPr>
              <a:t>32</a:t>
            </a:fld>
            <a:endParaRPr lang="fr-FR">
              <a:solidFill>
                <a:prstClr val="black"/>
              </a:solidFill>
              <a:latin typeface="Verdana"/>
            </a:endParaRPr>
          </a:p>
        </p:txBody>
      </p:sp>
    </p:spTree>
    <p:extLst>
      <p:ext uri="{BB962C8B-B14F-4D97-AF65-F5344CB8AC3E}">
        <p14:creationId xmlns:p14="http://schemas.microsoft.com/office/powerpoint/2010/main" val="267687614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C0696B5C-12A0-4042-B4D0-BD3B9A4F58C6}" type="slidenum">
              <a:rPr lang="fr-FR" smtClean="0"/>
              <a:pPr/>
              <a:t>33</a:t>
            </a:fld>
            <a:endParaRPr lang="fr-FR"/>
          </a:p>
        </p:txBody>
      </p:sp>
    </p:spTree>
    <p:extLst>
      <p:ext uri="{BB962C8B-B14F-4D97-AF65-F5344CB8AC3E}">
        <p14:creationId xmlns:p14="http://schemas.microsoft.com/office/powerpoint/2010/main" val="32776149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pPr defTabSz="914330">
              <a:defRPr/>
            </a:pPr>
            <a:fld id="{C0696B5C-12A0-4042-B4D0-BD3B9A4F58C6}" type="slidenum">
              <a:rPr lang="fr-FR" sz="1200">
                <a:solidFill>
                  <a:prstClr val="black"/>
                </a:solidFill>
                <a:latin typeface="Calibri" panose="020F0502020204030204"/>
              </a:rPr>
              <a:pPr defTabSz="914330">
                <a:defRPr/>
              </a:pPr>
              <a:t>5</a:t>
            </a:fld>
            <a:endParaRPr lang="fr-FR" sz="1200">
              <a:solidFill>
                <a:prstClr val="black"/>
              </a:solidFill>
              <a:latin typeface="Calibri" panose="020F0502020204030204"/>
            </a:endParaRPr>
          </a:p>
        </p:txBody>
      </p:sp>
    </p:spTree>
    <p:extLst>
      <p:ext uri="{BB962C8B-B14F-4D97-AF65-F5344CB8AC3E}">
        <p14:creationId xmlns:p14="http://schemas.microsoft.com/office/powerpoint/2010/main" val="18576724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C0696B5C-12A0-4042-B4D0-BD3B9A4F58C6}" type="slidenum">
              <a:rPr lang="fr-FR" smtClean="0"/>
              <a:pPr/>
              <a:t>6</a:t>
            </a:fld>
            <a:endParaRPr lang="fr-FR"/>
          </a:p>
        </p:txBody>
      </p:sp>
    </p:spTree>
    <p:extLst>
      <p:ext uri="{BB962C8B-B14F-4D97-AF65-F5344CB8AC3E}">
        <p14:creationId xmlns:p14="http://schemas.microsoft.com/office/powerpoint/2010/main" val="35816062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0696B5C-12A0-4042-B4D0-BD3B9A4F58C6}" type="slidenum">
              <a:rPr lang="pt-BR" smtClean="0"/>
              <a:pPr/>
              <a:t>10</a:t>
            </a:fld>
            <a:endParaRPr lang="pt-BR"/>
          </a:p>
        </p:txBody>
      </p:sp>
    </p:spTree>
    <p:extLst>
      <p:ext uri="{BB962C8B-B14F-4D97-AF65-F5344CB8AC3E}">
        <p14:creationId xmlns:p14="http://schemas.microsoft.com/office/powerpoint/2010/main" val="4873597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mn-cs"/>
              </a:rPr>
              <a:t>In the event of railway system failure (corrective maintenance), contact the right* field technician as soon as possible to perform an intervention. </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mn-cs"/>
              </a:rPr>
              <a:t>* Skilled to intervene on this type of installation in failure, responsibility for the geographical area, &amp; available</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Objectif : 4 </a:t>
            </a:r>
            <a:r>
              <a:rPr kumimoji="0" lang="fr-FR" sz="28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mn-cs"/>
              </a:rPr>
              <a:t>minutes</a:t>
            </a:r>
            <a:r>
              <a:rPr kumimoji="0" lang="fr-FR" sz="14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mn-cs"/>
              </a:rPr>
              <a:t> </a:t>
            </a:r>
            <a:r>
              <a:rPr kumimoji="0" lang="fr-FR" sz="1200" b="0" i="0" u="none" strike="noStrike" kern="1200" cap="none" spc="0" normalizeH="0" baseline="0" noProof="0" err="1">
                <a:ln>
                  <a:noFill/>
                </a:ln>
                <a:solidFill>
                  <a:prstClr val="white"/>
                </a:solidFill>
                <a:effectLst/>
                <a:uLnTx/>
                <a:uFillTx/>
                <a:latin typeface="Verdana" panose="020B0604030504040204" pitchFamily="34" charset="0"/>
                <a:ea typeface="Verdana" panose="020B0604030504040204" pitchFamily="34" charset="0"/>
                <a:cs typeface="+mn-cs"/>
              </a:rPr>
              <a:t>between</a:t>
            </a:r>
            <a:r>
              <a:rPr kumimoji="0" lang="fr-FR" sz="12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mn-cs"/>
              </a:rPr>
              <a:t> </a:t>
            </a:r>
            <a:r>
              <a:rPr kumimoji="0" lang="fr-FR" sz="1200" b="0" i="0" u="none" strike="noStrike" kern="1200" cap="none" spc="0" normalizeH="0" baseline="0" noProof="0" err="1">
                <a:ln>
                  <a:noFill/>
                </a:ln>
                <a:solidFill>
                  <a:prstClr val="white"/>
                </a:solidFill>
                <a:effectLst/>
                <a:uLnTx/>
                <a:uFillTx/>
                <a:latin typeface="Verdana" panose="020B0604030504040204" pitchFamily="34" charset="0"/>
                <a:ea typeface="Verdana" panose="020B0604030504040204" pitchFamily="34" charset="0"/>
                <a:cs typeface="+mn-cs"/>
              </a:rPr>
              <a:t>alarms</a:t>
            </a:r>
            <a:r>
              <a:rPr kumimoji="0" lang="fr-FR" sz="12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mn-cs"/>
              </a:rPr>
              <a:t> and contact </a:t>
            </a:r>
            <a:r>
              <a:rPr kumimoji="0" lang="fr-FR" sz="1200" b="0" i="0" u="none" strike="noStrike" kern="1200" cap="none" spc="0" normalizeH="0" baseline="0" noProof="0" err="1">
                <a:ln>
                  <a:noFill/>
                </a:ln>
                <a:solidFill>
                  <a:prstClr val="white"/>
                </a:solidFill>
                <a:effectLst/>
                <a:uLnTx/>
                <a:uFillTx/>
                <a:latin typeface="Verdana" panose="020B0604030504040204" pitchFamily="34" charset="0"/>
                <a:ea typeface="Verdana" panose="020B0604030504040204" pitchFamily="34" charset="0"/>
                <a:cs typeface="+mn-cs"/>
              </a:rPr>
              <a:t>with</a:t>
            </a:r>
            <a:r>
              <a:rPr kumimoji="0" lang="fr-FR" sz="12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mn-cs"/>
              </a:rPr>
              <a:t> the </a:t>
            </a:r>
            <a:r>
              <a:rPr kumimoji="0" lang="fr-FR" sz="1200" b="0" i="0" u="none" strike="noStrike" kern="1200" cap="none" spc="0" normalizeH="0" baseline="0" noProof="0" err="1">
                <a:ln>
                  <a:noFill/>
                </a:ln>
                <a:solidFill>
                  <a:prstClr val="white"/>
                </a:solidFill>
                <a:effectLst/>
                <a:uLnTx/>
                <a:uFillTx/>
                <a:latin typeface="Verdana" panose="020B0604030504040204" pitchFamily="34" charset="0"/>
                <a:ea typeface="Verdana" panose="020B0604030504040204" pitchFamily="34" charset="0"/>
                <a:cs typeface="+mn-cs"/>
              </a:rPr>
              <a:t>field</a:t>
            </a:r>
            <a:r>
              <a:rPr kumimoji="0" lang="fr-FR" sz="12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mn-cs"/>
              </a:rPr>
              <a:t> </a:t>
            </a:r>
            <a:r>
              <a:rPr kumimoji="0" lang="fr-FR" sz="1200" b="0" i="0" u="none" strike="noStrike" kern="1200" cap="none" spc="0" normalizeH="0" baseline="0" noProof="0" err="1">
                <a:ln>
                  <a:noFill/>
                </a:ln>
                <a:solidFill>
                  <a:prstClr val="white"/>
                </a:solidFill>
                <a:effectLst/>
                <a:uLnTx/>
                <a:uFillTx/>
                <a:latin typeface="Verdana" panose="020B0604030504040204" pitchFamily="34" charset="0"/>
                <a:ea typeface="Verdana" panose="020B0604030504040204" pitchFamily="34" charset="0"/>
                <a:cs typeface="+mn-cs"/>
              </a:rPr>
              <a:t>technician</a:t>
            </a:r>
            <a:endParaRPr kumimoji="0" lang="fr-FR" sz="12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err="1">
                <a:ln>
                  <a:noFill/>
                </a:ln>
                <a:solidFill>
                  <a:prstClr val="white"/>
                </a:solidFill>
                <a:effectLst/>
                <a:uLnTx/>
                <a:uFillTx/>
                <a:latin typeface="Verdana" panose="020B0604030504040204" pitchFamily="34" charset="0"/>
                <a:ea typeface="Verdana" panose="020B0604030504040204" pitchFamily="34" charset="0"/>
                <a:cs typeface="+mn-cs"/>
              </a:rPr>
              <a:t>Avt</a:t>
            </a:r>
            <a:r>
              <a:rPr kumimoji="0" lang="fr-FR" sz="12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mn-cs"/>
              </a:rPr>
              <a:t> : AC (agents </a:t>
            </a:r>
            <a:r>
              <a:rPr kumimoji="0" lang="fr-FR" sz="1200" b="0" i="0" u="none" strike="noStrike" kern="1200" cap="none" spc="0" normalizeH="0" baseline="0" noProof="0" err="1">
                <a:ln>
                  <a:noFill/>
                </a:ln>
                <a:solidFill>
                  <a:prstClr val="white"/>
                </a:solidFill>
                <a:effectLst/>
                <a:uLnTx/>
                <a:uFillTx/>
                <a:latin typeface="Verdana" panose="020B0604030504040204" pitchFamily="34" charset="0"/>
                <a:ea typeface="Verdana" panose="020B0604030504040204" pitchFamily="34" charset="0"/>
                <a:cs typeface="+mn-cs"/>
              </a:rPr>
              <a:t>circu</a:t>
            </a:r>
            <a:r>
              <a:rPr kumimoji="0" lang="fr-FR" sz="12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mn-cs"/>
              </a:rPr>
              <a:t> qui appelaient les mainteneu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err="1">
                <a:ln>
                  <a:noFill/>
                </a:ln>
                <a:solidFill>
                  <a:prstClr val="white"/>
                </a:solidFill>
                <a:effectLst/>
                <a:uLnTx/>
                <a:uFillTx/>
                <a:latin typeface="Verdana" panose="020B0604030504040204" pitchFamily="34" charset="0"/>
                <a:ea typeface="Verdana" panose="020B0604030504040204" pitchFamily="34" charset="0"/>
                <a:cs typeface="+mn-cs"/>
              </a:rPr>
              <a:t>Auj</a:t>
            </a:r>
            <a:r>
              <a:rPr kumimoji="0" lang="fr-FR" sz="1200" b="0"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cs typeface="+mn-cs"/>
              </a:rPr>
              <a:t> : passe par un superviseur et celui-ci formé pour reconnaître alarme et alerte (par SNG ou par AC) et va pouvoir indiquer et géolocaliser le défaut</a:t>
            </a:r>
            <a:endParaRPr kumimoji="0" lang="fr-FR" sz="1400" b="0" i="0" u="none" strike="noStrike" kern="1200" cap="none" spc="0" normalizeH="0" baseline="0" noProof="0">
              <a:ln>
                <a:noFill/>
              </a:ln>
              <a:solidFill>
                <a:srgbClr val="3C3732"/>
              </a:solidFill>
              <a:effectLst/>
              <a:uLnTx/>
              <a:uFillTx/>
              <a:latin typeface="Verdana" panose="020B0604030504040204" pitchFamily="34" charset="0"/>
              <a:ea typeface="Verdana" panose="020B0604030504040204" pitchFamily="34" charset="0"/>
              <a:cs typeface="+mn-cs"/>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DECF51-0EC9-4783-A893-46C04677393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178402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7488" y="812800"/>
            <a:ext cx="7124700" cy="4008438"/>
          </a:xfrm>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816A84-495E-4FBA-BA57-7E52498A6AA2}"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33643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7488" y="812800"/>
            <a:ext cx="7124700" cy="4008438"/>
          </a:xfrm>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816A84-495E-4FBA-BA57-7E52498A6AA2}"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217506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7488" y="812800"/>
            <a:ext cx="7124700" cy="4008438"/>
          </a:xfrm>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816A84-495E-4FBA-BA57-7E52498A6AA2}"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1876262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7488" y="812800"/>
            <a:ext cx="7124700" cy="4008438"/>
          </a:xfrm>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816A84-495E-4FBA-BA57-7E52498A6AA2}"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4969735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4.png"/><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5.png"/><Relationship Id="rId13" Type="http://schemas.openxmlformats.org/officeDocument/2006/relationships/hyperlink" Target="http://www.youtube.com/capgeminimedia" TargetMode="External"/><Relationship Id="rId3" Type="http://schemas.openxmlformats.org/officeDocument/2006/relationships/tags" Target="../tags/tag9.xml"/><Relationship Id="rId7" Type="http://schemas.openxmlformats.org/officeDocument/2006/relationships/hyperlink" Target="http://www.linkedin.com/company/capgemini" TargetMode="External"/><Relationship Id="rId12" Type="http://schemas.openxmlformats.org/officeDocument/2006/relationships/image" Target="../media/image7.png"/><Relationship Id="rId17" Type="http://schemas.openxmlformats.org/officeDocument/2006/relationships/image" Target="../media/image4.png"/><Relationship Id="rId2" Type="http://schemas.openxmlformats.org/officeDocument/2006/relationships/tags" Target="../tags/tag8.xml"/><Relationship Id="rId16" Type="http://schemas.openxmlformats.org/officeDocument/2006/relationships/image" Target="../media/image9.png"/><Relationship Id="rId1" Type="http://schemas.openxmlformats.org/officeDocument/2006/relationships/tags" Target="../tags/tag7.xml"/><Relationship Id="rId6" Type="http://schemas.openxmlformats.org/officeDocument/2006/relationships/image" Target="../media/image11.png"/><Relationship Id="rId11" Type="http://schemas.openxmlformats.org/officeDocument/2006/relationships/hyperlink" Target="http://www.twitter.com/capgemini" TargetMode="External"/><Relationship Id="rId5" Type="http://schemas.openxmlformats.org/officeDocument/2006/relationships/slideMaster" Target="../slideMasters/slideMaster1.xml"/><Relationship Id="rId15" Type="http://schemas.openxmlformats.org/officeDocument/2006/relationships/hyperlink" Target="http://www.facebook.com/capgemini" TargetMode="External"/><Relationship Id="rId10" Type="http://schemas.openxmlformats.org/officeDocument/2006/relationships/image" Target="../media/image6.png"/><Relationship Id="rId4" Type="http://schemas.openxmlformats.org/officeDocument/2006/relationships/tags" Target="../tags/tag10.xml"/><Relationship Id="rId9" Type="http://schemas.openxmlformats.org/officeDocument/2006/relationships/hyperlink" Target="http://www.slideshare.net/capgemini" TargetMode="External"/><Relationship Id="rId14" Type="http://schemas.openxmlformats.org/officeDocument/2006/relationships/image" Target="../media/image8.png"/></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a:p>
        </p:txBody>
      </p:sp>
      <p:pic>
        <p:nvPicPr>
          <p:cNvPr id="6" name="Picture 7">
            <a:extLst>
              <a:ext uri="{FF2B5EF4-FFF2-40B4-BE49-F238E27FC236}">
                <a16:creationId xmlns:a16="http://schemas.microsoft.com/office/drawing/2014/main" id="{998876DF-E006-4593-BB8F-D9ED68F0F3A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189189" y="260648"/>
            <a:ext cx="4024242" cy="1212215"/>
          </a:xfrm>
          <a:prstGeom prst="rect">
            <a:avLst/>
          </a:prstGeom>
        </p:spPr>
      </p:pic>
    </p:spTree>
    <p:extLst>
      <p:ext uri="{BB962C8B-B14F-4D97-AF65-F5344CB8AC3E}">
        <p14:creationId xmlns:p14="http://schemas.microsoft.com/office/powerpoint/2010/main" val="2402411546"/>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0575358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a:p>
        </p:txBody>
      </p:sp>
    </p:spTree>
    <p:extLst>
      <p:ext uri="{BB962C8B-B14F-4D97-AF65-F5344CB8AC3E}">
        <p14:creationId xmlns:p14="http://schemas.microsoft.com/office/powerpoint/2010/main" val="357665688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42192420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and content light Grey">
    <p:bg>
      <p:bgPr>
        <a:solidFill>
          <a:srgbClr val="DCF4FC"/>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3684699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3310471827"/>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a:t>Click icon to add picture and arrange the picture in the background</a:t>
            </a:r>
            <a:endParaRPr lang="en-GB"/>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a:p>
        </p:txBody>
      </p:sp>
    </p:spTree>
    <p:extLst>
      <p:ext uri="{BB962C8B-B14F-4D97-AF65-F5344CB8AC3E}">
        <p14:creationId xmlns:p14="http://schemas.microsoft.com/office/powerpoint/2010/main" val="176673580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50897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57352646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spTree>
    <p:extLst>
      <p:ext uri="{BB962C8B-B14F-4D97-AF65-F5344CB8AC3E}">
        <p14:creationId xmlns:p14="http://schemas.microsoft.com/office/powerpoint/2010/main" val="47970572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Ubuntu" panose="020B0504030602030204" pitchFamily="34" charset="0"/>
                <a:cs typeface="Arial"/>
              </a:rPr>
              <a:t>Copyright © 2024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cstate="email">
            <a:extLst>
              <a:ext uri="{28A0092B-C50C-407E-A947-70E740481C1C}">
                <a14:useLocalDpi xmlns:a14="http://schemas.microsoft.com/office/drawing/2010/main"/>
              </a:ext>
            </a:extLst>
          </a:blip>
          <a:stretch>
            <a:fillRect/>
          </a:stretch>
        </p:blipFill>
        <p:spPr>
          <a:xfrm rot="1808368" flipV="1">
            <a:off x="3661091" y="-1184328"/>
            <a:ext cx="10604299" cy="7497656"/>
          </a:xfrm>
          <a:prstGeom prst="rect">
            <a:avLst/>
          </a:prstGeom>
        </p:spPr>
      </p:pic>
      <p:sp>
        <p:nvSpPr>
          <p:cNvPr id="14" name="Rectangle 13"/>
          <p:cNvSpPr/>
          <p:nvPr/>
        </p:nvSpPr>
        <p:spPr>
          <a:xfrm>
            <a:off x="6536185" y="2920221"/>
            <a:ext cx="460037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a:solidFill>
                  <a:schemeClr val="lt1"/>
                </a:solidFill>
                <a:effectLst/>
                <a:latin typeface="+mn-lt"/>
                <a:ea typeface="+mn-ea"/>
                <a:cs typeface="+mn-cs"/>
              </a:rPr>
              <a:t>As the digital innovation, design and transformation brand of the Capgemini Group, Capgemini Invent enables </a:t>
            </a:r>
            <a:r>
              <a:rPr lang="en-US" sz="900" kern="1200" err="1">
                <a:solidFill>
                  <a:schemeClr val="lt1"/>
                </a:solidFill>
                <a:effectLst/>
                <a:latin typeface="+mn-lt"/>
                <a:ea typeface="+mn-ea"/>
                <a:cs typeface="+mn-cs"/>
              </a:rPr>
              <a:t>CxOs</a:t>
            </a:r>
            <a:r>
              <a:rPr lang="en-US" sz="900" kern="1200">
                <a:solidFill>
                  <a:schemeClr val="lt1"/>
                </a:solidFill>
                <a:effectLst/>
                <a:latin typeface="+mn-lt"/>
                <a:ea typeface="+mn-ea"/>
                <a:cs typeface="+mn-cs"/>
              </a:rPr>
              <a:t> to envision and shape the future of their businesses. Located in more than 36 offices and 37 creative studios around the world, it comprises a 10,000+ strong team of strategists, data scientists, product and experience designers, brand experts and technologists who develop new digital services, products, experiences and business models for sustainable growth.</a:t>
            </a:r>
            <a:endParaRPr lang="en-GB" sz="900" kern="1200">
              <a:solidFill>
                <a:schemeClr val="lt1"/>
              </a:solidFill>
              <a:effectLst/>
              <a:latin typeface="+mn-lt"/>
              <a:ea typeface="+mn-ea"/>
              <a:cs typeface="+mn-cs"/>
            </a:endParaRPr>
          </a:p>
          <a:p>
            <a:pPr algn="just"/>
            <a:r>
              <a:rPr lang="en-US" sz="900" kern="1200">
                <a:solidFill>
                  <a:schemeClr val="lt1"/>
                </a:solidFill>
                <a:effectLst/>
                <a:latin typeface="+mn-lt"/>
                <a:ea typeface="+mn-ea"/>
                <a:cs typeface="+mn-cs"/>
              </a:rPr>
              <a:t> </a:t>
            </a:r>
            <a:endParaRPr lang="en-GB" sz="900" kern="1200">
              <a:solidFill>
                <a:schemeClr val="lt1"/>
              </a:solidFill>
              <a:effectLst/>
              <a:latin typeface="+mn-lt"/>
              <a:ea typeface="+mn-ea"/>
              <a:cs typeface="+mn-cs"/>
            </a:endParaRPr>
          </a:p>
          <a:p>
            <a:pPr algn="just"/>
            <a:r>
              <a:rPr lang="en-US" sz="900" kern="1200">
                <a:solidFill>
                  <a:schemeClr val="lt1"/>
                </a:solidFill>
                <a:effectLst/>
                <a:latin typeface="+mn-lt"/>
                <a:ea typeface="+mn-ea"/>
                <a:cs typeface="+mn-cs"/>
              </a:rPr>
              <a:t>Capgemini Invent is an integral part of Capgemini,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0 global revenues of €16 billion.</a:t>
            </a:r>
            <a:endParaRPr lang="en-GB" sz="900" kern="1200">
              <a:solidFill>
                <a:schemeClr val="lt1"/>
              </a:solidFill>
              <a:effectLst/>
              <a:latin typeface="+mn-lt"/>
              <a:ea typeface="+mn-ea"/>
              <a:cs typeface="+mn-cs"/>
            </a:endParaRPr>
          </a:p>
        </p:txBody>
      </p:sp>
      <p:sp>
        <p:nvSpPr>
          <p:cNvPr id="15" name="Rectangle 14"/>
          <p:cNvSpPr/>
          <p:nvPr/>
        </p:nvSpPr>
        <p:spPr>
          <a:xfrm>
            <a:off x="6536184" y="2540957"/>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 Invent</a:t>
            </a:r>
          </a:p>
        </p:txBody>
      </p:sp>
      <p:sp>
        <p:nvSpPr>
          <p:cNvPr id="16" name="Rectangle 15"/>
          <p:cNvSpPr/>
          <p:nvPr/>
        </p:nvSpPr>
        <p:spPr>
          <a:xfrm>
            <a:off x="6536184" y="5301208"/>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invent</a:t>
            </a:r>
          </a:p>
        </p:txBody>
      </p:sp>
      <p:pic>
        <p:nvPicPr>
          <p:cNvPr id="13" name="Picture 7">
            <a:extLst>
              <a:ext uri="{FF2B5EF4-FFF2-40B4-BE49-F238E27FC236}">
                <a16:creationId xmlns:a16="http://schemas.microsoft.com/office/drawing/2014/main" id="{F9B42E50-405D-4320-932D-4A5EAD8D82B2}"/>
              </a:ext>
            </a:extLst>
          </p:cNvPr>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a:xfrm>
            <a:off x="61107" y="533779"/>
            <a:ext cx="4024242" cy="1212215"/>
          </a:xfrm>
          <a:prstGeom prst="rect">
            <a:avLst/>
          </a:prstGeom>
        </p:spPr>
      </p:pic>
    </p:spTree>
    <p:extLst>
      <p:ext uri="{BB962C8B-B14F-4D97-AF65-F5344CB8AC3E}">
        <p14:creationId xmlns:p14="http://schemas.microsoft.com/office/powerpoint/2010/main" val="2280450640"/>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a:p>
        </p:txBody>
      </p:sp>
      <p:pic>
        <p:nvPicPr>
          <p:cNvPr id="6" name="Picture 7">
            <a:extLst>
              <a:ext uri="{FF2B5EF4-FFF2-40B4-BE49-F238E27FC236}">
                <a16:creationId xmlns:a16="http://schemas.microsoft.com/office/drawing/2014/main" id="{38E54E64-0C53-4C58-9CCF-1BDC66BC5F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47688" y="260032"/>
            <a:ext cx="4024242" cy="1212215"/>
          </a:xfrm>
          <a:prstGeom prst="rect">
            <a:avLst/>
          </a:prstGeom>
        </p:spPr>
      </p:pic>
    </p:spTree>
    <p:extLst>
      <p:ext uri="{BB962C8B-B14F-4D97-AF65-F5344CB8AC3E}">
        <p14:creationId xmlns:p14="http://schemas.microsoft.com/office/powerpoint/2010/main" val="1990185582"/>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432214" y="156218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email">
            <a:extLst>
              <a:ext uri="{28A0092B-C50C-407E-A947-70E740481C1C}">
                <a14:useLocalDpi xmlns:a14="http://schemas.microsoft.com/office/drawing/2010/main"/>
              </a:ext>
            </a:extLst>
          </a:blip>
          <a:srcRect/>
          <a:stretch>
            <a:fillRect/>
          </a:stretch>
        </p:blipFill>
        <p:spPr bwMode="auto">
          <a:xfrm>
            <a:off x="426720" y="5328053"/>
            <a:ext cx="333195" cy="333195"/>
          </a:xfrm>
          <a:prstGeom prst="rect">
            <a:avLst/>
          </a:prstGeom>
          <a:noFill/>
        </p:spPr>
      </p:pic>
      <p:sp>
        <p:nvSpPr>
          <p:cNvPr id="48" name="Rectangle 47"/>
          <p:cNvSpPr/>
          <p:nvPr/>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E560A55-CF18-4C11-8B57-BBD5A6CD7E74}"/>
              </a:ext>
            </a:extLst>
          </p:cNvPr>
          <p:cNvSpPr/>
          <p:nvPr/>
        </p:nvSpPr>
        <p:spPr>
          <a:xfrm>
            <a:off x="426523" y="380578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sp>
        <p:nvSpPr>
          <p:cNvPr id="24" name="Rectangle 23">
            <a:extLst>
              <a:ext uri="{FF2B5EF4-FFF2-40B4-BE49-F238E27FC236}">
                <a16:creationId xmlns:a16="http://schemas.microsoft.com/office/drawing/2014/main" id="{4A111039-914C-4DB4-9DF3-DF6AF113071A}"/>
              </a:ext>
            </a:extLst>
          </p:cNvPr>
          <p:cNvSpPr/>
          <p:nvPr userDrawn="1"/>
        </p:nvSpPr>
        <p:spPr>
          <a:xfrm>
            <a:off x="428633" y="1446176"/>
            <a:ext cx="4732250"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a:solidFill>
                  <a:schemeClr val="lt1"/>
                </a:solidFill>
                <a:effectLst/>
                <a:latin typeface="+mn-lt"/>
                <a:ea typeface="+mn-ea"/>
                <a:cs typeface="+mn-cs"/>
              </a:rPr>
              <a:t>As the digital innovation, design and transformation brand of the Capgemini Group, Capgemini Invent enables </a:t>
            </a:r>
            <a:r>
              <a:rPr lang="en-US" sz="900" kern="1200" err="1">
                <a:solidFill>
                  <a:schemeClr val="lt1"/>
                </a:solidFill>
                <a:effectLst/>
                <a:latin typeface="+mn-lt"/>
                <a:ea typeface="+mn-ea"/>
                <a:cs typeface="+mn-cs"/>
              </a:rPr>
              <a:t>CxOs</a:t>
            </a:r>
            <a:r>
              <a:rPr lang="en-US" sz="900" kern="1200">
                <a:solidFill>
                  <a:schemeClr val="lt1"/>
                </a:solidFill>
                <a:effectLst/>
                <a:latin typeface="+mn-lt"/>
                <a:ea typeface="+mn-ea"/>
                <a:cs typeface="+mn-cs"/>
              </a:rPr>
              <a:t> to envision and shape the future of their businesses. Located in more than 36 offices and 37 creative studios around the world, it comprises a 10,000+ strong team of strategists, data scientists, product and experience designers, brand experts and technologists who develop new digital services, products, experiences and business models for sustainable growth.</a:t>
            </a:r>
            <a:endParaRPr lang="en-GB" sz="900" kern="1200">
              <a:solidFill>
                <a:schemeClr val="lt1"/>
              </a:solidFill>
              <a:effectLst/>
              <a:latin typeface="+mn-lt"/>
              <a:ea typeface="+mn-ea"/>
              <a:cs typeface="+mn-cs"/>
            </a:endParaRPr>
          </a:p>
          <a:p>
            <a:pPr algn="just"/>
            <a:r>
              <a:rPr lang="en-US" sz="900" kern="1200">
                <a:solidFill>
                  <a:schemeClr val="lt1"/>
                </a:solidFill>
                <a:effectLst/>
                <a:latin typeface="+mn-lt"/>
                <a:ea typeface="+mn-ea"/>
                <a:cs typeface="+mn-cs"/>
              </a:rPr>
              <a:t> </a:t>
            </a:r>
            <a:endParaRPr lang="en-GB" sz="900" kern="1200">
              <a:solidFill>
                <a:schemeClr val="lt1"/>
              </a:solidFill>
              <a:effectLst/>
              <a:latin typeface="+mn-lt"/>
              <a:ea typeface="+mn-ea"/>
              <a:cs typeface="+mn-cs"/>
            </a:endParaRPr>
          </a:p>
          <a:p>
            <a:pPr algn="just"/>
            <a:r>
              <a:rPr lang="en-US" sz="900" kern="1200">
                <a:solidFill>
                  <a:schemeClr val="lt1"/>
                </a:solidFill>
                <a:effectLst/>
                <a:latin typeface="+mn-lt"/>
                <a:ea typeface="+mn-ea"/>
                <a:cs typeface="+mn-cs"/>
              </a:rPr>
              <a:t>Capgemini Invent is an integral part of Capgemini,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0 global revenues of €16 billion.</a:t>
            </a:r>
            <a:endParaRPr lang="en-GB" sz="900" kern="1200">
              <a:solidFill>
                <a:schemeClr val="lt1"/>
              </a:solidFill>
              <a:effectLst/>
              <a:latin typeface="+mn-lt"/>
              <a:ea typeface="+mn-ea"/>
              <a:cs typeface="+mn-cs"/>
            </a:endParaRPr>
          </a:p>
        </p:txBody>
      </p:sp>
      <p:sp>
        <p:nvSpPr>
          <p:cNvPr id="25" name="Rectangle 24">
            <a:extLst>
              <a:ext uri="{FF2B5EF4-FFF2-40B4-BE49-F238E27FC236}">
                <a16:creationId xmlns:a16="http://schemas.microsoft.com/office/drawing/2014/main" id="{70346E06-447F-4987-8A70-EF682B77014F}"/>
              </a:ext>
            </a:extLst>
          </p:cNvPr>
          <p:cNvSpPr/>
          <p:nvPr userDrawn="1"/>
        </p:nvSpPr>
        <p:spPr>
          <a:xfrm>
            <a:off x="428632" y="106691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 Invent</a:t>
            </a:r>
          </a:p>
        </p:txBody>
      </p:sp>
      <p:pic>
        <p:nvPicPr>
          <p:cNvPr id="26" name="Picture 7">
            <a:extLst>
              <a:ext uri="{FF2B5EF4-FFF2-40B4-BE49-F238E27FC236}">
                <a16:creationId xmlns:a16="http://schemas.microsoft.com/office/drawing/2014/main" id="{771E6B48-4DF0-43D5-A92F-C861B5F0CB21}"/>
              </a:ext>
            </a:extLst>
          </p:cNvPr>
          <p:cNvPicPr>
            <a:picLocks noChangeAspect="1"/>
          </p:cNvPicPr>
          <p:nvPr userDrawn="1"/>
        </p:nvPicPr>
        <p:blipFill>
          <a:blip r:embed="rId17" cstate="email">
            <a:extLst>
              <a:ext uri="{28A0092B-C50C-407E-A947-70E740481C1C}">
                <a14:useLocalDpi xmlns:a14="http://schemas.microsoft.com/office/drawing/2010/main"/>
              </a:ext>
            </a:extLst>
          </a:blip>
          <a:stretch>
            <a:fillRect/>
          </a:stretch>
        </p:blipFill>
        <p:spPr>
          <a:xfrm>
            <a:off x="7765515" y="5383762"/>
            <a:ext cx="4024242" cy="1212215"/>
          </a:xfrm>
          <a:prstGeom prst="rect">
            <a:avLst/>
          </a:prstGeom>
        </p:spPr>
      </p:pic>
    </p:spTree>
    <p:extLst>
      <p:ext uri="{BB962C8B-B14F-4D97-AF65-F5344CB8AC3E}">
        <p14:creationId xmlns:p14="http://schemas.microsoft.com/office/powerpoint/2010/main" val="65220789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3" name="Picture 7">
            <a:extLst>
              <a:ext uri="{FF2B5EF4-FFF2-40B4-BE49-F238E27FC236}">
                <a16:creationId xmlns:a16="http://schemas.microsoft.com/office/drawing/2014/main" id="{F2A899A2-5662-40A6-B2F6-F6BFA41348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1107" y="0"/>
            <a:ext cx="4024242" cy="1212215"/>
          </a:xfrm>
          <a:prstGeom prst="rect">
            <a:avLst/>
          </a:prstGeom>
        </p:spPr>
      </p:pic>
    </p:spTree>
    <p:extLst>
      <p:ext uri="{BB962C8B-B14F-4D97-AF65-F5344CB8AC3E}">
        <p14:creationId xmlns:p14="http://schemas.microsoft.com/office/powerpoint/2010/main" val="790077819"/>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8_Vide">
    <p:bg>
      <p:bgPr>
        <a:solidFill>
          <a:schemeClr val="tx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25168299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9_Vide">
    <p:bg>
      <p:bgPr>
        <a:solidFill>
          <a:srgbClr val="272936"/>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Espace réservé du titre 8">
            <a:extLst>
              <a:ext uri="{FF2B5EF4-FFF2-40B4-BE49-F238E27FC236}">
                <a16:creationId xmlns:a16="http://schemas.microsoft.com/office/drawing/2014/main" id="{E5A41F6E-5B7D-456E-972F-39B4017CE211}"/>
              </a:ext>
            </a:extLst>
          </p:cNvPr>
          <p:cNvSpPr>
            <a:spLocks noGrp="1"/>
          </p:cNvSpPr>
          <p:nvPr>
            <p:ph type="title"/>
          </p:nvPr>
        </p:nvSpPr>
        <p:spPr>
          <a:xfrm>
            <a:off x="550200" y="0"/>
            <a:ext cx="11091600" cy="1104900"/>
          </a:xfrm>
          <a:prstGeom prst="rect">
            <a:avLst/>
          </a:prstGeom>
        </p:spPr>
        <p:txBody>
          <a:bodyPr vert="horz" lIns="0" tIns="216000" rIns="0" bIns="0" rtlCol="0" anchor="t">
            <a:noAutofit/>
          </a:bodyPr>
          <a:lstStyle>
            <a:lvl1pPr>
              <a:defRPr>
                <a:solidFill>
                  <a:schemeClr val="bg1"/>
                </a:solidFill>
              </a:defRPr>
            </a:lvl1pPr>
          </a:lstStyle>
          <a:p>
            <a:pPr marL="0" marR="0" lvl="0" indent="0" algn="l" defTabSz="914358" rtl="0" eaLnBrk="1" fontAlgn="auto" latinLnBrk="0" hangingPunct="1">
              <a:lnSpc>
                <a:spcPct val="90000"/>
              </a:lnSpc>
              <a:spcBef>
                <a:spcPct val="0"/>
              </a:spcBef>
              <a:spcAft>
                <a:spcPts val="0"/>
              </a:spcAft>
              <a:buClrTx/>
              <a:buSzTx/>
              <a:buFontTx/>
              <a:buNone/>
              <a:tabLst/>
              <a:defRPr/>
            </a:pPr>
            <a:r>
              <a:rPr lang="fr-FR"/>
              <a:t>Click to insert </a:t>
            </a:r>
            <a:r>
              <a:rPr lang="fr-FR" err="1"/>
              <a:t>title</a:t>
            </a:r>
            <a:endParaRPr lang="en-US"/>
          </a:p>
        </p:txBody>
      </p:sp>
    </p:spTree>
    <p:extLst>
      <p:ext uri="{BB962C8B-B14F-4D97-AF65-F5344CB8AC3E}">
        <p14:creationId xmlns:p14="http://schemas.microsoft.com/office/powerpoint/2010/main" val="33245246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a:p>
        </p:txBody>
      </p:sp>
      <p:pic>
        <p:nvPicPr>
          <p:cNvPr id="8" name="Picture 7">
            <a:extLst>
              <a:ext uri="{FF2B5EF4-FFF2-40B4-BE49-F238E27FC236}">
                <a16:creationId xmlns:a16="http://schemas.microsoft.com/office/drawing/2014/main" id="{319AF0EB-4460-4FFA-A8E1-2F74D0C4022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189189" y="260648"/>
            <a:ext cx="4024242" cy="1212215"/>
          </a:xfrm>
          <a:prstGeom prst="rect">
            <a:avLst/>
          </a:prstGeom>
        </p:spPr>
      </p:pic>
    </p:spTree>
    <p:extLst>
      <p:ext uri="{BB962C8B-B14F-4D97-AF65-F5344CB8AC3E}">
        <p14:creationId xmlns:p14="http://schemas.microsoft.com/office/powerpoint/2010/main" val="1374317356"/>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5508180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2435895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0420316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8700505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54107855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3481092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5"/>
            </p:custDataLst>
            <p:extLst>
              <p:ext uri="{D42A27DB-BD31-4B8C-83A1-F6EECF244321}">
                <p14:modId xmlns:p14="http://schemas.microsoft.com/office/powerpoint/2010/main" val="3394213284"/>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26" imgW="270" imgH="270" progId="TCLayout.ActiveDocument.1">
                  <p:embed/>
                </p:oleObj>
              </mc:Choice>
              <mc:Fallback>
                <p:oleObj name="think-cell Slide" r:id="rId26" imgW="270" imgH="270" progId="TCLayout.ActiveDocument.1">
                  <p:embed/>
                  <p:pic>
                    <p:nvPicPr>
                      <p:cNvPr id="21" name="Object 20"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ctr" anchorCtr="0">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1</a:t>
              </a:r>
            </a:p>
            <a:p>
              <a:pPr algn="ctr">
                <a:lnSpc>
                  <a:spcPct val="90000"/>
                </a:lnSpc>
                <a:spcAft>
                  <a:spcPts val="0"/>
                </a:spcAft>
              </a:pPr>
              <a:r>
                <a:rPr lang="en-GB" sz="700">
                  <a:latin typeface="Ubuntu" panose="020B0504030602030204" pitchFamily="34" charset="0"/>
                </a:rPr>
                <a:t>112</a:t>
              </a:r>
            </a:p>
            <a:p>
              <a:pPr algn="ctr">
                <a:lnSpc>
                  <a:spcPct val="90000"/>
                </a:lnSpc>
                <a:spcAft>
                  <a:spcPts val="0"/>
                </a:spcAft>
              </a:pPr>
              <a:r>
                <a:rPr lang="en-GB" sz="70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18</a:t>
              </a:r>
            </a:p>
            <a:p>
              <a:pPr algn="ctr">
                <a:lnSpc>
                  <a:spcPct val="90000"/>
                </a:lnSpc>
                <a:spcAft>
                  <a:spcPts val="0"/>
                </a:spcAft>
              </a:pPr>
              <a:r>
                <a:rPr lang="en-GB" sz="700">
                  <a:solidFill>
                    <a:schemeClr val="tx1"/>
                  </a:solidFill>
                  <a:latin typeface="Ubuntu" panose="020B0504030602030204" pitchFamily="34" charset="0"/>
                </a:rPr>
                <a:t>171</a:t>
              </a:r>
            </a:p>
            <a:p>
              <a:pPr algn="ctr">
                <a:lnSpc>
                  <a:spcPct val="90000"/>
                </a:lnSpc>
                <a:spcAft>
                  <a:spcPts val="0"/>
                </a:spcAft>
              </a:pPr>
              <a:r>
                <a:rPr lang="en-GB" sz="70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43</a:t>
              </a:r>
            </a:p>
            <a:p>
              <a:pPr algn="ctr">
                <a:lnSpc>
                  <a:spcPct val="90000"/>
                </a:lnSpc>
                <a:spcAft>
                  <a:spcPts val="0"/>
                </a:spcAft>
              </a:pPr>
              <a:r>
                <a:rPr lang="en-GB" sz="700">
                  <a:latin typeface="Ubuntu" panose="020B0504030602030204" pitchFamily="34" charset="0"/>
                </a:rPr>
                <a:t>10</a:t>
              </a:r>
            </a:p>
            <a:p>
              <a:pPr algn="ctr">
                <a:lnSpc>
                  <a:spcPct val="90000"/>
                </a:lnSpc>
                <a:spcAft>
                  <a:spcPts val="0"/>
                </a:spcAft>
              </a:pPr>
              <a:r>
                <a:rPr lang="en-GB" sz="70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39</a:t>
              </a:r>
            </a:p>
            <a:p>
              <a:pPr algn="ctr">
                <a:lnSpc>
                  <a:spcPct val="90000"/>
                </a:lnSpc>
                <a:spcAft>
                  <a:spcPts val="0"/>
                </a:spcAft>
              </a:pPr>
              <a:r>
                <a:rPr lang="en-GB" sz="700">
                  <a:latin typeface="Ubuntu" panose="020B0504030602030204" pitchFamily="34" charset="0"/>
                </a:rPr>
                <a:t>41</a:t>
              </a:r>
            </a:p>
            <a:p>
              <a:pPr algn="ctr">
                <a:lnSpc>
                  <a:spcPct val="90000"/>
                </a:lnSpc>
                <a:spcAft>
                  <a:spcPts val="0"/>
                </a:spcAft>
              </a:pPr>
              <a:r>
                <a:rPr lang="en-GB" sz="70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42</a:t>
              </a:r>
            </a:p>
            <a:p>
              <a:pPr algn="ctr">
                <a:lnSpc>
                  <a:spcPct val="90000"/>
                </a:lnSpc>
                <a:spcAft>
                  <a:spcPts val="0"/>
                </a:spcAft>
              </a:pPr>
              <a:r>
                <a:rPr lang="en-US" sz="70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56</a:t>
              </a:r>
            </a:p>
            <a:p>
              <a:pPr algn="ctr">
                <a:lnSpc>
                  <a:spcPct val="90000"/>
                </a:lnSpc>
                <a:spcAft>
                  <a:spcPts val="0"/>
                </a:spcAft>
              </a:pPr>
              <a:r>
                <a:rPr lang="en-US" sz="70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78</a:t>
              </a:r>
            </a:p>
            <a:p>
              <a:pPr algn="ctr">
                <a:lnSpc>
                  <a:spcPct val="90000"/>
                </a:lnSpc>
                <a:spcAft>
                  <a:spcPts val="0"/>
                </a:spcAft>
              </a:pPr>
              <a:r>
                <a:rPr lang="en-US" sz="70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08</a:t>
              </a:r>
            </a:p>
            <a:p>
              <a:pPr algn="ctr">
                <a:lnSpc>
                  <a:spcPct val="90000"/>
                </a:lnSpc>
                <a:spcAft>
                  <a:spcPts val="0"/>
                </a:spcAft>
              </a:pPr>
              <a:r>
                <a:rPr lang="en-US" sz="70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18</a:t>
              </a:r>
            </a:p>
            <a:p>
              <a:pPr algn="ctr">
                <a:lnSpc>
                  <a:spcPct val="90000"/>
                </a:lnSpc>
                <a:spcAft>
                  <a:spcPts val="0"/>
                </a:spcAft>
              </a:pPr>
              <a:r>
                <a:rPr lang="en-US" sz="70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66</a:t>
              </a:r>
            </a:p>
            <a:p>
              <a:pPr algn="ctr">
                <a:lnSpc>
                  <a:spcPct val="90000"/>
                </a:lnSpc>
                <a:spcAft>
                  <a:spcPts val="0"/>
                </a:spcAft>
              </a:pPr>
              <a:r>
                <a:rPr lang="en-US" sz="700">
                  <a:solidFill>
                    <a:schemeClr val="bg1"/>
                  </a:solidFill>
                  <a:latin typeface="Ubuntu" panose="020B0504030602030204" pitchFamily="34" charset="0"/>
                </a:rPr>
                <a:t>20</a:t>
              </a:r>
            </a:p>
            <a:p>
              <a:pPr algn="ctr">
                <a:lnSpc>
                  <a:spcPct val="90000"/>
                </a:lnSpc>
                <a:spcAft>
                  <a:spcPts val="0"/>
                </a:spcAft>
              </a:pPr>
              <a:r>
                <a:rPr lang="en-US" sz="70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89</a:t>
              </a:r>
            </a:p>
            <a:p>
              <a:pPr algn="ctr">
                <a:lnSpc>
                  <a:spcPct val="90000"/>
                </a:lnSpc>
                <a:spcAft>
                  <a:spcPts val="0"/>
                </a:spcAft>
              </a:pPr>
              <a:r>
                <a:rPr lang="en-US" sz="700">
                  <a:solidFill>
                    <a:schemeClr val="bg1"/>
                  </a:solidFill>
                  <a:latin typeface="Ubuntu" panose="020B0504030602030204" pitchFamily="34" charset="0"/>
                </a:rPr>
                <a:t>10</a:t>
              </a:r>
            </a:p>
            <a:p>
              <a:pPr algn="ctr">
                <a:lnSpc>
                  <a:spcPct val="90000"/>
                </a:lnSpc>
                <a:spcAft>
                  <a:spcPts val="0"/>
                </a:spcAft>
              </a:pPr>
              <a:r>
                <a:rPr lang="en-US" sz="70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17</a:t>
              </a:r>
            </a:p>
            <a:p>
              <a:pPr algn="ctr">
                <a:lnSpc>
                  <a:spcPct val="90000"/>
                </a:lnSpc>
                <a:spcAft>
                  <a:spcPts val="0"/>
                </a:spcAft>
              </a:pPr>
              <a:r>
                <a:rPr lang="en-US" sz="700">
                  <a:solidFill>
                    <a:schemeClr val="bg1"/>
                  </a:solidFill>
                  <a:latin typeface="Ubuntu" panose="020B0504030602030204" pitchFamily="34" charset="0"/>
                </a:rPr>
                <a:t>13</a:t>
              </a:r>
            </a:p>
            <a:p>
              <a:pPr algn="ctr">
                <a:lnSpc>
                  <a:spcPct val="90000"/>
                </a:lnSpc>
                <a:spcAft>
                  <a:spcPts val="0"/>
                </a:spcAft>
              </a:pPr>
              <a:r>
                <a:rPr lang="en-US" sz="70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8</a:t>
              </a:r>
            </a:p>
            <a:p>
              <a:pPr algn="ctr">
                <a:lnSpc>
                  <a:spcPct val="90000"/>
                </a:lnSpc>
                <a:spcAft>
                  <a:spcPts val="0"/>
                </a:spcAft>
              </a:pPr>
              <a:r>
                <a:rPr lang="en-US" sz="700">
                  <a:solidFill>
                    <a:schemeClr val="bg1"/>
                  </a:solidFill>
                  <a:latin typeface="Ubuntu" panose="020B0504030602030204" pitchFamily="34" charset="0"/>
                </a:rPr>
                <a:t>43</a:t>
              </a:r>
            </a:p>
            <a:p>
              <a:pPr algn="ctr">
                <a:lnSpc>
                  <a:spcPct val="90000"/>
                </a:lnSpc>
                <a:spcAft>
                  <a:spcPts val="0"/>
                </a:spcAft>
              </a:pPr>
              <a:r>
                <a:rPr lang="en-US" sz="70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58</a:t>
              </a:r>
            </a:p>
            <a:p>
              <a:pPr algn="ctr">
                <a:lnSpc>
                  <a:spcPct val="90000"/>
                </a:lnSpc>
                <a:spcAft>
                  <a:spcPts val="0"/>
                </a:spcAft>
              </a:pPr>
              <a:r>
                <a:rPr lang="en-US" sz="700">
                  <a:solidFill>
                    <a:schemeClr val="bg1"/>
                  </a:solidFill>
                  <a:latin typeface="Ubuntu" panose="020B0504030602030204" pitchFamily="34" charset="0"/>
                </a:rPr>
                <a:t>71</a:t>
              </a:r>
            </a:p>
            <a:p>
              <a:pPr algn="ctr">
                <a:lnSpc>
                  <a:spcPct val="90000"/>
                </a:lnSpc>
                <a:spcAft>
                  <a:spcPts val="0"/>
                </a:spcAft>
              </a:pPr>
              <a:r>
                <a:rPr lang="en-US" sz="70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6</a:t>
              </a:r>
            </a:p>
            <a:p>
              <a:pPr algn="ctr">
                <a:lnSpc>
                  <a:spcPct val="90000"/>
                </a:lnSpc>
                <a:spcAft>
                  <a:spcPts val="0"/>
                </a:spcAft>
              </a:pPr>
              <a:r>
                <a:rPr lang="en-US" sz="700">
                  <a:solidFill>
                    <a:schemeClr val="bg1"/>
                  </a:solidFill>
                  <a:latin typeface="Ubuntu" panose="020B0504030602030204" pitchFamily="34" charset="0"/>
                </a:rPr>
                <a:t>0</a:t>
              </a:r>
            </a:p>
            <a:p>
              <a:pPr algn="ctr">
                <a:lnSpc>
                  <a:spcPct val="90000"/>
                </a:lnSpc>
                <a:spcAft>
                  <a:spcPts val="0"/>
                </a:spcAft>
              </a:pPr>
              <a:r>
                <a:rPr lang="en-US" sz="70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227</a:t>
              </a:r>
            </a:p>
            <a:p>
              <a:pPr algn="ctr">
                <a:lnSpc>
                  <a:spcPct val="90000"/>
                </a:lnSpc>
                <a:spcAft>
                  <a:spcPts val="0"/>
                </a:spcAft>
              </a:pPr>
              <a:r>
                <a:rPr lang="en-US" sz="700">
                  <a:solidFill>
                    <a:schemeClr val="bg1"/>
                  </a:solidFill>
                  <a:latin typeface="Ubuntu" panose="020B0504030602030204" pitchFamily="34" charset="0"/>
                </a:rPr>
                <a:t>03</a:t>
              </a:r>
            </a:p>
            <a:p>
              <a:pPr algn="ctr">
                <a:lnSpc>
                  <a:spcPct val="90000"/>
                </a:lnSpc>
                <a:spcAft>
                  <a:spcPts val="0"/>
                </a:spcAft>
              </a:pPr>
              <a:r>
                <a:rPr lang="en-US" sz="70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48</a:t>
              </a:r>
            </a:p>
            <a:p>
              <a:pPr algn="ctr">
                <a:lnSpc>
                  <a:spcPct val="90000"/>
                </a:lnSpc>
                <a:spcAft>
                  <a:spcPts val="0"/>
                </a:spcAft>
              </a:pPr>
              <a:r>
                <a:rPr lang="en-US" sz="70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69</a:t>
              </a:r>
            </a:p>
            <a:p>
              <a:pPr algn="ctr">
                <a:lnSpc>
                  <a:spcPct val="90000"/>
                </a:lnSpc>
                <a:spcAft>
                  <a:spcPts val="0"/>
                </a:spcAft>
              </a:pPr>
              <a:r>
                <a:rPr lang="en-US" sz="70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9</a:t>
              </a:r>
            </a:p>
            <a:p>
              <a:pPr algn="ctr">
                <a:lnSpc>
                  <a:spcPct val="90000"/>
                </a:lnSpc>
                <a:spcAft>
                  <a:spcPts val="0"/>
                </a:spcAft>
              </a:pPr>
              <a:r>
                <a:rPr lang="en-US" sz="700">
                  <a:solidFill>
                    <a:schemeClr val="bg1"/>
                  </a:solidFill>
                  <a:latin typeface="Ubuntu" panose="020B0504030602030204" pitchFamily="34" charset="0"/>
                </a:rPr>
                <a:t>27</a:t>
              </a:r>
            </a:p>
            <a:p>
              <a:pPr algn="ctr">
                <a:lnSpc>
                  <a:spcPct val="90000"/>
                </a:lnSpc>
                <a:spcAft>
                  <a:spcPts val="0"/>
                </a:spcAft>
              </a:pPr>
              <a:r>
                <a:rPr lang="en-US" sz="70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1</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86</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09</a:t>
              </a:r>
            </a:p>
            <a:p>
              <a:pPr algn="ctr">
                <a:lnSpc>
                  <a:spcPct val="90000"/>
                </a:lnSpc>
                <a:spcAft>
                  <a:spcPts val="0"/>
                </a:spcAft>
              </a:pPr>
              <a:r>
                <a:rPr lang="en-US" sz="700">
                  <a:latin typeface="Ubuntu" panose="020B0504030602030204" pitchFamily="34" charset="0"/>
                </a:rPr>
                <a:t>58</a:t>
              </a:r>
            </a:p>
            <a:p>
              <a:pPr algn="ctr">
                <a:lnSpc>
                  <a:spcPct val="90000"/>
                </a:lnSpc>
                <a:spcAft>
                  <a:spcPts val="0"/>
                </a:spcAft>
              </a:pPr>
              <a:r>
                <a:rPr lang="en-US" sz="70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29</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a:latin typeface="Ubuntu" panose="020B0504030602030204" pitchFamily="34" charset="0"/>
              </a:rPr>
              <a:t>Security Classification:</a:t>
            </a:r>
          </a:p>
          <a:p>
            <a:r>
              <a:rPr lang="en-GB" sz="800">
                <a:latin typeface="Ubuntu" panose="020B0504030602030204" pitchFamily="34" charset="0"/>
              </a:rPr>
              <a:t>SEC0: Public</a:t>
            </a:r>
          </a:p>
          <a:p>
            <a:r>
              <a:rPr lang="en-GB" sz="800">
                <a:latin typeface="Ubuntu" panose="020B0504030602030204" pitchFamily="34" charset="0"/>
              </a:rPr>
              <a:t>SEC1: Company Confidential</a:t>
            </a:r>
          </a:p>
          <a:p>
            <a:r>
              <a:rPr lang="en-GB" sz="800">
                <a:latin typeface="Ubuntu" panose="020B0504030602030204" pitchFamily="34" charset="0"/>
              </a:rPr>
              <a:t>SEC2: Company Restricted / Customer restricted</a:t>
            </a:r>
          </a:p>
          <a:p>
            <a:r>
              <a:rPr lang="en-GB" sz="80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67</a:t>
              </a:r>
            </a:p>
            <a:p>
              <a:pPr algn="ctr">
                <a:lnSpc>
                  <a:spcPct val="90000"/>
                </a:lnSpc>
                <a:spcAft>
                  <a:spcPts val="0"/>
                </a:spcAft>
              </a:pPr>
              <a:r>
                <a:rPr lang="en-US" sz="700" b="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06</a:t>
              </a:r>
            </a:p>
            <a:p>
              <a:pPr algn="ctr">
                <a:lnSpc>
                  <a:spcPct val="90000"/>
                </a:lnSpc>
                <a:spcAft>
                  <a:spcPts val="0"/>
                </a:spcAft>
              </a:pPr>
              <a:r>
                <a:rPr lang="en-US" sz="700" b="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35</a:t>
              </a:r>
            </a:p>
            <a:p>
              <a:pPr algn="ctr">
                <a:lnSpc>
                  <a:spcPct val="90000"/>
                </a:lnSpc>
                <a:spcAft>
                  <a:spcPts val="0"/>
                </a:spcAft>
              </a:pPr>
              <a:r>
                <a:rPr lang="en-US" sz="700" b="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78</a:t>
              </a:r>
            </a:p>
            <a:p>
              <a:pPr algn="ctr">
                <a:lnSpc>
                  <a:spcPct val="90000"/>
                </a:lnSpc>
                <a:spcAft>
                  <a:spcPts val="0"/>
                </a:spcAft>
              </a:pPr>
              <a:r>
                <a:rPr lang="en-US" sz="700" b="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44</a:t>
              </a:r>
            </a:p>
            <a:p>
              <a:pPr algn="ctr">
                <a:lnSpc>
                  <a:spcPct val="90000"/>
                </a:lnSpc>
                <a:spcAft>
                  <a:spcPts val="0"/>
                </a:spcAft>
              </a:pPr>
              <a:r>
                <a:rPr lang="en-US" sz="700" b="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40</a:t>
              </a:r>
            </a:p>
            <a:p>
              <a:pPr algn="ctr">
                <a:lnSpc>
                  <a:spcPct val="90000"/>
                </a:lnSpc>
                <a:spcAft>
                  <a:spcPts val="0"/>
                </a:spcAft>
              </a:pPr>
              <a:r>
                <a:rPr lang="en-US" sz="700" b="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46</a:t>
              </a:r>
            </a:p>
            <a:p>
              <a:pPr algn="ctr">
                <a:lnSpc>
                  <a:spcPct val="90000"/>
                </a:lnSpc>
                <a:spcAft>
                  <a:spcPts val="0"/>
                </a:spcAft>
              </a:pPr>
              <a:r>
                <a:rPr lang="en-US" sz="700" b="0">
                  <a:latin typeface="Ubuntu" panose="020B0504030602030204" pitchFamily="34" charset="0"/>
                </a:rPr>
                <a:t>166</a:t>
              </a:r>
            </a:p>
            <a:p>
              <a:pPr algn="ctr">
                <a:lnSpc>
                  <a:spcPct val="90000"/>
                </a:lnSpc>
                <a:spcAft>
                  <a:spcPts val="0"/>
                </a:spcAft>
              </a:pPr>
              <a:r>
                <a:rPr lang="en-US" sz="700" b="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51</a:t>
              </a:r>
            </a:p>
            <a:p>
              <a:pPr algn="ctr">
                <a:lnSpc>
                  <a:spcPct val="90000"/>
                </a:lnSpc>
                <a:spcAft>
                  <a:spcPts val="0"/>
                </a:spcAft>
              </a:pPr>
              <a:r>
                <a:rPr lang="en-US" sz="700" b="0">
                  <a:latin typeface="Ubuntu" panose="020B0504030602030204" pitchFamily="34" charset="0"/>
                </a:rPr>
                <a:t>181</a:t>
              </a:r>
            </a:p>
            <a:p>
              <a:pPr algn="ctr">
                <a:lnSpc>
                  <a:spcPct val="90000"/>
                </a:lnSpc>
                <a:spcAft>
                  <a:spcPts val="0"/>
                </a:spcAft>
              </a:pPr>
              <a:r>
                <a:rPr lang="en-US" sz="700" b="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a:latin typeface="Ubuntu" panose="020B0504030602030204" pitchFamily="34" charset="0"/>
              </a:endParaRPr>
            </a:p>
            <a:p>
              <a:pPr algn="ctr">
                <a:lnSpc>
                  <a:spcPct val="90000"/>
                </a:lnSpc>
                <a:spcAft>
                  <a:spcPts val="0"/>
                </a:spcAft>
              </a:pPr>
              <a:r>
                <a:rPr lang="en-US" sz="700" b="0">
                  <a:latin typeface="Ubuntu" panose="020B0504030602030204" pitchFamily="34" charset="0"/>
                </a:rPr>
                <a:t>87</a:t>
              </a:r>
            </a:p>
            <a:p>
              <a:pPr algn="ctr">
                <a:lnSpc>
                  <a:spcPct val="90000"/>
                </a:lnSpc>
                <a:spcAft>
                  <a:spcPts val="0"/>
                </a:spcAft>
              </a:pPr>
              <a:r>
                <a:rPr lang="en-US" sz="700" b="0">
                  <a:latin typeface="Ubuntu" panose="020B0504030602030204" pitchFamily="34" charset="0"/>
                </a:rPr>
                <a:t>207</a:t>
              </a:r>
            </a:p>
            <a:p>
              <a:pPr algn="ctr">
                <a:lnSpc>
                  <a:spcPct val="90000"/>
                </a:lnSpc>
                <a:spcAft>
                  <a:spcPts val="0"/>
                </a:spcAft>
              </a:pPr>
              <a:r>
                <a:rPr lang="en-US" sz="700" b="0">
                  <a:latin typeface="Ubuntu" panose="020B0504030602030204" pitchFamily="34" charset="0"/>
                </a:rPr>
                <a:t>128</a:t>
              </a:r>
            </a:p>
            <a:p>
              <a:pPr algn="ctr">
                <a:lnSpc>
                  <a:spcPct val="90000"/>
                </a:lnSpc>
                <a:spcAft>
                  <a:spcPts val="0"/>
                </a:spcAft>
              </a:pPr>
              <a:endParaRPr lang="en-US" sz="700" b="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33</a:t>
              </a:r>
            </a:p>
            <a:p>
              <a:pPr algn="ctr">
                <a:lnSpc>
                  <a:spcPct val="90000"/>
                </a:lnSpc>
                <a:spcAft>
                  <a:spcPts val="0"/>
                </a:spcAft>
              </a:pPr>
              <a:r>
                <a:rPr lang="en-US" sz="700" b="0">
                  <a:solidFill>
                    <a:schemeClr val="bg1"/>
                  </a:solidFill>
                  <a:latin typeface="Ubuntu" panose="020B0504030602030204" pitchFamily="34" charset="0"/>
                </a:rPr>
                <a:t>69</a:t>
              </a:r>
            </a:p>
            <a:p>
              <a:pPr algn="ctr">
                <a:lnSpc>
                  <a:spcPct val="90000"/>
                </a:lnSpc>
                <a:spcAft>
                  <a:spcPts val="0"/>
                </a:spcAft>
              </a:pPr>
              <a:r>
                <a:rPr lang="en-US" sz="700" b="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0</a:t>
              </a:r>
            </a:p>
            <a:p>
              <a:pPr algn="ctr">
                <a:lnSpc>
                  <a:spcPct val="90000"/>
                </a:lnSpc>
                <a:spcAft>
                  <a:spcPts val="0"/>
                </a:spcAft>
              </a:pPr>
              <a:r>
                <a:rPr lang="en-US" sz="700" b="0">
                  <a:solidFill>
                    <a:schemeClr val="bg1"/>
                  </a:solidFill>
                  <a:latin typeface="Ubuntu" panose="020B0504030602030204" pitchFamily="34" charset="0"/>
                </a:rPr>
                <a:t>89</a:t>
              </a:r>
            </a:p>
            <a:p>
              <a:pPr algn="ctr">
                <a:lnSpc>
                  <a:spcPct val="90000"/>
                </a:lnSpc>
                <a:spcAft>
                  <a:spcPts val="0"/>
                </a:spcAft>
              </a:pPr>
              <a:r>
                <a:rPr lang="en-US" sz="700" b="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07</a:t>
              </a:r>
            </a:p>
            <a:p>
              <a:pPr algn="ctr">
                <a:lnSpc>
                  <a:spcPct val="90000"/>
                </a:lnSpc>
                <a:spcAft>
                  <a:spcPts val="0"/>
                </a:spcAft>
              </a:pPr>
              <a:r>
                <a:rPr lang="en-US" sz="700" b="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25</a:t>
              </a:r>
            </a:p>
            <a:p>
              <a:pPr algn="ctr">
                <a:lnSpc>
                  <a:spcPct val="90000"/>
                </a:lnSpc>
                <a:spcAft>
                  <a:spcPts val="0"/>
                </a:spcAft>
              </a:pPr>
              <a:r>
                <a:rPr lang="en-US" sz="700" b="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46</a:t>
              </a:r>
            </a:p>
            <a:p>
              <a:pPr algn="ctr">
                <a:lnSpc>
                  <a:spcPct val="90000"/>
                </a:lnSpc>
                <a:spcAft>
                  <a:spcPts val="0"/>
                </a:spcAft>
              </a:pPr>
              <a:r>
                <a:rPr lang="en-US" sz="700" b="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91</a:t>
              </a:r>
            </a:p>
            <a:p>
              <a:pPr algn="ctr">
                <a:lnSpc>
                  <a:spcPct val="90000"/>
                </a:lnSpc>
                <a:spcAft>
                  <a:spcPts val="0"/>
                </a:spcAft>
              </a:pPr>
              <a:r>
                <a:rPr lang="en-US" sz="700" b="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13</a:t>
              </a:r>
            </a:p>
            <a:p>
              <a:pPr algn="ctr">
                <a:lnSpc>
                  <a:spcPct val="90000"/>
                </a:lnSpc>
                <a:spcAft>
                  <a:spcPts val="0"/>
                </a:spcAft>
              </a:pPr>
              <a:r>
                <a:rPr lang="en-US" sz="700" b="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30</a:t>
              </a:r>
            </a:p>
            <a:p>
              <a:pPr algn="ctr">
                <a:lnSpc>
                  <a:spcPct val="90000"/>
                </a:lnSpc>
                <a:spcAft>
                  <a:spcPts val="0"/>
                </a:spcAft>
              </a:pPr>
              <a:r>
                <a:rPr lang="en-US" sz="700" b="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80028"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N°›</a:t>
            </a:fld>
            <a:endParaRPr lang="en-US" sz="80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rgbClr val="A6A6A6"/>
                </a:solidFill>
                <a:latin typeface="Ubuntu" panose="020B0504030602030204" pitchFamily="34" charset="0"/>
                <a:cs typeface="Arial" panose="020B0604020202020204" pitchFamily="34" charset="0"/>
              </a:rPr>
              <a:t>Company Confidential © Capgemini Invent 2024. All rights reserved  |</a:t>
            </a:r>
          </a:p>
        </p:txBody>
      </p:sp>
      <p:pic>
        <p:nvPicPr>
          <p:cNvPr id="64" name="Picture 4" descr="Résultat de recherche d'images pour &quot;logo arts et métiers paristech&quot;">
            <a:extLst>
              <a:ext uri="{FF2B5EF4-FFF2-40B4-BE49-F238E27FC236}">
                <a16:creationId xmlns:a16="http://schemas.microsoft.com/office/drawing/2014/main" id="{7908F816-BEAB-4325-95BA-088659D52F3C}"/>
              </a:ext>
            </a:extLst>
          </p:cNvPr>
          <p:cNvPicPr>
            <a:picLocks noChangeAspect="1" noChangeArrowheads="1"/>
          </p:cNvPicPr>
          <p:nvPr userDrawn="1"/>
        </p:nvPicPr>
        <p:blipFill rotWithShape="1">
          <a:blip r:embed="rId28" cstate="email">
            <a:extLst>
              <a:ext uri="{28A0092B-C50C-407E-A947-70E740481C1C}">
                <a14:useLocalDpi xmlns:a14="http://schemas.microsoft.com/office/drawing/2010/main"/>
              </a:ext>
            </a:extLst>
          </a:blip>
          <a:srcRect/>
          <a:stretch/>
        </p:blipFill>
        <p:spPr bwMode="auto">
          <a:xfrm>
            <a:off x="114199" y="6539334"/>
            <a:ext cx="962358" cy="24414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A76EBBFF-6670-4290-DA89-07B76858DC0E}"/>
              </a:ext>
            </a:extLst>
          </p:cNvPr>
          <p:cNvPicPr>
            <a:picLocks noChangeAspect="1"/>
          </p:cNvPicPr>
          <p:nvPr userDrawn="1"/>
        </p:nvPicPr>
        <p:blipFill rotWithShape="1">
          <a:blip r:embed="rId29" cstate="email">
            <a:extLst>
              <a:ext uri="{28A0092B-C50C-407E-A947-70E740481C1C}">
                <a14:useLocalDpi xmlns:a14="http://schemas.microsoft.com/office/drawing/2010/main"/>
              </a:ext>
            </a:extLst>
          </a:blip>
          <a:srcRect/>
          <a:stretch/>
        </p:blipFill>
        <p:spPr>
          <a:xfrm>
            <a:off x="11453362" y="713749"/>
            <a:ext cx="672768" cy="355683"/>
          </a:xfrm>
          <a:prstGeom prst="rect">
            <a:avLst/>
          </a:prstGeom>
        </p:spPr>
      </p:pic>
    </p:spTree>
    <p:extLst>
      <p:ext uri="{BB962C8B-B14F-4D97-AF65-F5344CB8AC3E}">
        <p14:creationId xmlns:p14="http://schemas.microsoft.com/office/powerpoint/2010/main" val="3148905397"/>
      </p:ext>
    </p:extLst>
  </p:cSld>
  <p:clrMap bg1="lt1" tx1="dk1" bg2="lt2" tx2="dk2" accent1="accent1" accent2="accent2" accent3="accent3" accent4="accent4" accent5="accent5" accent6="accent6" hlink="hlink" folHlink="folHlink"/>
  <p:sldLayoutIdLst>
    <p:sldLayoutId id="2147483953" r:id="rId1"/>
    <p:sldLayoutId id="2147483955" r:id="rId2"/>
    <p:sldLayoutId id="2147483956" r:id="rId3"/>
    <p:sldLayoutId id="2147483900" r:id="rId4"/>
    <p:sldLayoutId id="2147483901" r:id="rId5"/>
    <p:sldLayoutId id="2147483960" r:id="rId6"/>
    <p:sldLayoutId id="2147483902" r:id="rId7"/>
    <p:sldLayoutId id="2147483903" r:id="rId8"/>
    <p:sldLayoutId id="2147483949" r:id="rId9"/>
    <p:sldLayoutId id="2147483905" r:id="rId10"/>
    <p:sldLayoutId id="2147483945" r:id="rId11"/>
    <p:sldLayoutId id="2147483948" r:id="rId12"/>
    <p:sldLayoutId id="2147484264" r:id="rId13"/>
    <p:sldLayoutId id="2147483954" r:id="rId14"/>
    <p:sldLayoutId id="2147483930" r:id="rId15"/>
    <p:sldLayoutId id="2147483961" r:id="rId16"/>
    <p:sldLayoutId id="2147483958" r:id="rId17"/>
    <p:sldLayoutId id="2147483959" r:id="rId18"/>
    <p:sldLayoutId id="2147483918" r:id="rId19"/>
    <p:sldLayoutId id="2147483922" r:id="rId20"/>
    <p:sldLayoutId id="2147483950" r:id="rId21"/>
    <p:sldLayoutId id="2147484017" r:id="rId22"/>
    <p:sldLayoutId id="2147484267" r:id="rId23"/>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userDrawn="1">
          <p15:clr>
            <a:srgbClr val="F26B43"/>
          </p15:clr>
        </p15:guide>
        <p15:guide id="3" orient="horz" pos="4071" userDrawn="1">
          <p15:clr>
            <a:srgbClr val="F26B43"/>
          </p15:clr>
        </p15:guide>
        <p15:guide id="4" pos="255" userDrawn="1">
          <p15:clr>
            <a:srgbClr val="F26B43"/>
          </p15:clr>
        </p15:guide>
        <p15:guide id="5" orient="horz" pos="836" userDrawn="1">
          <p15:clr>
            <a:srgbClr val="F26B43"/>
          </p15:clr>
        </p15:guide>
        <p15:guide id="6" orient="horz" pos="245" userDrawn="1">
          <p15:clr>
            <a:srgbClr val="F26B43"/>
          </p15:clr>
        </p15:guide>
        <p15:guide id="7" pos="3840" userDrawn="1">
          <p15:clr>
            <a:srgbClr val="F26B43"/>
          </p15:clr>
        </p15:guide>
        <p15:guide id="8" pos="3899" userDrawn="1">
          <p15:clr>
            <a:srgbClr val="F26B43"/>
          </p15:clr>
        </p15:guide>
        <p15:guide id="9" pos="3783"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xml"/><Relationship Id="rId1" Type="http://schemas.openxmlformats.org/officeDocument/2006/relationships/slideLayout" Target="../slideLayouts/slideLayout15.xml"/><Relationship Id="rId5" Type="http://schemas.openxmlformats.org/officeDocument/2006/relationships/image" Target="../media/image3.png"/><Relationship Id="rId4" Type="http://schemas.openxmlformats.org/officeDocument/2006/relationships/image" Target="../media/image13.png"/></Relationships>
</file>

<file path=ppt/slides/_rels/slide1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4.xml"/><Relationship Id="rId1" Type="http://schemas.openxmlformats.org/officeDocument/2006/relationships/slideLayout" Target="../slideLayouts/slideLayout4.xml"/><Relationship Id="rId4" Type="http://schemas.openxmlformats.org/officeDocument/2006/relationships/hyperlink" Target="https://www.sncf.com/fr/groupe/notre-strategie/ouverture-concurrence#:~:text=L'ouverture%20%C3%A0%20la%20concurrence%20touche%20deux%20types%20de%20march%C3%A9s,exploit%C3%A9es%20par%20plusieurs%20op%C3%A9rateurs%20diff%C3%A9rents."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hyperlink" Target="https://www.sncf-reseau.com/fr/a/maintenance-predictive-etat-lieux-dune-revolution-0" TargetMode="External"/><Relationship Id="rId1" Type="http://schemas.openxmlformats.org/officeDocument/2006/relationships/slideLayout" Target="../slideLayouts/slideLayout4.xml"/><Relationship Id="rId4" Type="http://schemas.openxmlformats.org/officeDocument/2006/relationships/image" Target="../media/image32.png"/></Relationships>
</file>

<file path=ppt/slides/_rels/slide1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4.xml"/><Relationship Id="rId5" Type="http://schemas.openxmlformats.org/officeDocument/2006/relationships/hyperlink" Target="https://numerique.sncf.com/actualites/augmentee-virtuelle-la-realite-dans-tous-ses-etats-larvr-day/" TargetMode="External"/><Relationship Id="rId4" Type="http://schemas.openxmlformats.org/officeDocument/2006/relationships/image" Target="../media/image35.png"/></Relationships>
</file>

<file path=ppt/slides/_rels/slide1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hyperlink" Target="https://www.globalrailwayreview.com/article/120552/digital-twins-french-railway-network/" TargetMode="External"/><Relationship Id="rId1" Type="http://schemas.openxmlformats.org/officeDocument/2006/relationships/slideLayout" Target="../slideLayouts/slideLayout4.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s/_rels/slide14.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image" Target="../media/image40.png"/><Relationship Id="rId7" Type="http://schemas.openxmlformats.org/officeDocument/2006/relationships/image" Target="../media/image42.png"/><Relationship Id="rId12" Type="http://schemas.openxmlformats.org/officeDocument/2006/relationships/image" Target="../media/image47.png"/><Relationship Id="rId2" Type="http://schemas.openxmlformats.org/officeDocument/2006/relationships/notesSlide" Target="../notesSlides/notesSlide5.xml"/><Relationship Id="rId1" Type="http://schemas.openxmlformats.org/officeDocument/2006/relationships/slideLayout" Target="../slideLayouts/slideLayout23.xml"/><Relationship Id="rId6" Type="http://schemas.microsoft.com/office/2007/relationships/hdphoto" Target="../media/hdphoto2.wdp"/><Relationship Id="rId11" Type="http://schemas.openxmlformats.org/officeDocument/2006/relationships/image" Target="../media/image46.png"/><Relationship Id="rId5" Type="http://schemas.openxmlformats.org/officeDocument/2006/relationships/image" Target="../media/image41.png"/><Relationship Id="rId10" Type="http://schemas.openxmlformats.org/officeDocument/2006/relationships/image" Target="../media/image45.png"/><Relationship Id="rId4" Type="http://schemas.microsoft.com/office/2007/relationships/hdphoto" Target="../media/hdphoto1.wdp"/><Relationship Id="rId9" Type="http://schemas.openxmlformats.org/officeDocument/2006/relationships/image" Target="../media/image44.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0.xml"/><Relationship Id="rId1" Type="http://schemas.openxmlformats.org/officeDocument/2006/relationships/tags" Target="../tags/tag14.xml"/><Relationship Id="rId6" Type="http://schemas.openxmlformats.org/officeDocument/2006/relationships/image" Target="../media/image49.emf"/><Relationship Id="rId5" Type="http://schemas.openxmlformats.org/officeDocument/2006/relationships/oleObject" Target="../embeddings/oleObject9.bin"/><Relationship Id="rId4" Type="http://schemas.openxmlformats.org/officeDocument/2006/relationships/image" Target="../media/image48.jpe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0.xml"/><Relationship Id="rId1" Type="http://schemas.openxmlformats.org/officeDocument/2006/relationships/tags" Target="../tags/tag15.xml"/><Relationship Id="rId6" Type="http://schemas.openxmlformats.org/officeDocument/2006/relationships/image" Target="../media/image50.jpeg"/><Relationship Id="rId5" Type="http://schemas.openxmlformats.org/officeDocument/2006/relationships/image" Target="../media/image49.emf"/><Relationship Id="rId4" Type="http://schemas.openxmlformats.org/officeDocument/2006/relationships/oleObject" Target="../embeddings/oleObject10.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0.xml"/><Relationship Id="rId1" Type="http://schemas.openxmlformats.org/officeDocument/2006/relationships/tags" Target="../tags/tag16.xml"/><Relationship Id="rId6" Type="http://schemas.openxmlformats.org/officeDocument/2006/relationships/image" Target="../media/image49.emf"/><Relationship Id="rId5" Type="http://schemas.openxmlformats.org/officeDocument/2006/relationships/oleObject" Target="../embeddings/oleObject11.bin"/><Relationship Id="rId4" Type="http://schemas.openxmlformats.org/officeDocument/2006/relationships/image" Target="../media/image51.jpe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0.xml"/><Relationship Id="rId1" Type="http://schemas.openxmlformats.org/officeDocument/2006/relationships/tags" Target="../tags/tag17.xml"/><Relationship Id="rId6" Type="http://schemas.openxmlformats.org/officeDocument/2006/relationships/image" Target="../media/image52.jpeg"/><Relationship Id="rId5" Type="http://schemas.openxmlformats.org/officeDocument/2006/relationships/image" Target="../media/image49.emf"/><Relationship Id="rId4" Type="http://schemas.openxmlformats.org/officeDocument/2006/relationships/oleObject" Target="../embeddings/oleObject12.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0.xml"/><Relationship Id="rId1" Type="http://schemas.openxmlformats.org/officeDocument/2006/relationships/tags" Target="../tags/tag18.xml"/><Relationship Id="rId6" Type="http://schemas.openxmlformats.org/officeDocument/2006/relationships/image" Target="../media/image53.jpeg"/><Relationship Id="rId5" Type="http://schemas.openxmlformats.org/officeDocument/2006/relationships/image" Target="../media/image49.emf"/><Relationship Id="rId4" Type="http://schemas.openxmlformats.org/officeDocument/2006/relationships/oleObject" Target="../embeddings/oleObject13.bin"/></Relationships>
</file>

<file path=ppt/slides/_rels/slide2.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Layout" Target="../slideLayouts/slideLayout11.xml"/><Relationship Id="rId5" Type="http://schemas.openxmlformats.org/officeDocument/2006/relationships/image" Target="../media/image17.svg"/><Relationship Id="rId4" Type="http://schemas.openxmlformats.org/officeDocument/2006/relationships/image" Target="../media/image16.png"/></Relationships>
</file>

<file path=ppt/slides/_rels/slide20.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2.xml"/><Relationship Id="rId1" Type="http://schemas.openxmlformats.org/officeDocument/2006/relationships/tags" Target="../tags/tag19.xml"/><Relationship Id="rId6" Type="http://schemas.openxmlformats.org/officeDocument/2006/relationships/image" Target="../media/image56.png"/><Relationship Id="rId5" Type="http://schemas.openxmlformats.org/officeDocument/2006/relationships/image" Target="../media/image26.emf"/><Relationship Id="rId4" Type="http://schemas.openxmlformats.org/officeDocument/2006/relationships/oleObject" Target="../embeddings/oleObject14.bin"/></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notesSlide" Target="../notesSlides/notesSlide13.xml"/><Relationship Id="rId7" Type="http://schemas.openxmlformats.org/officeDocument/2006/relationships/image" Target="../media/image60.png"/><Relationship Id="rId2" Type="http://schemas.openxmlformats.org/officeDocument/2006/relationships/slideLayout" Target="../slideLayouts/slideLayout12.xml"/><Relationship Id="rId1" Type="http://schemas.openxmlformats.org/officeDocument/2006/relationships/tags" Target="../tags/tag20.xml"/><Relationship Id="rId6" Type="http://schemas.openxmlformats.org/officeDocument/2006/relationships/image" Target="../media/image59.png"/><Relationship Id="rId5" Type="http://schemas.openxmlformats.org/officeDocument/2006/relationships/image" Target="../media/image26.emf"/><Relationship Id="rId10" Type="http://schemas.openxmlformats.org/officeDocument/2006/relationships/image" Target="../media/image63.png"/><Relationship Id="rId4" Type="http://schemas.openxmlformats.org/officeDocument/2006/relationships/oleObject" Target="../embeddings/oleObject15.bin"/><Relationship Id="rId9" Type="http://schemas.openxmlformats.org/officeDocument/2006/relationships/image" Target="../media/image62.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2.xml"/><Relationship Id="rId1" Type="http://schemas.openxmlformats.org/officeDocument/2006/relationships/tags" Target="../tags/tag21.xml"/><Relationship Id="rId5" Type="http://schemas.openxmlformats.org/officeDocument/2006/relationships/image" Target="../media/image26.emf"/><Relationship Id="rId4" Type="http://schemas.openxmlformats.org/officeDocument/2006/relationships/oleObject" Target="../embeddings/oleObject16.bin"/></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4.xml"/><Relationship Id="rId4" Type="http://schemas.openxmlformats.org/officeDocument/2006/relationships/image" Target="../media/image67.svg"/></Relationships>
</file>

<file path=ppt/slides/_rels/slide29.xml.rels><?xml version="1.0" encoding="UTF-8" standalone="yes"?>
<Relationships xmlns="http://schemas.openxmlformats.org/package/2006/relationships"><Relationship Id="rId8" Type="http://schemas.openxmlformats.org/officeDocument/2006/relationships/image" Target="../media/image74.png"/><Relationship Id="rId13" Type="http://schemas.openxmlformats.org/officeDocument/2006/relationships/image" Target="../media/image79.png"/><Relationship Id="rId3" Type="http://schemas.openxmlformats.org/officeDocument/2006/relationships/image" Target="../media/image69.png"/><Relationship Id="rId7" Type="http://schemas.openxmlformats.org/officeDocument/2006/relationships/image" Target="../media/image73.png"/><Relationship Id="rId12" Type="http://schemas.openxmlformats.org/officeDocument/2006/relationships/image" Target="../media/image78.png"/><Relationship Id="rId2" Type="http://schemas.openxmlformats.org/officeDocument/2006/relationships/image" Target="../media/image68.png"/><Relationship Id="rId1" Type="http://schemas.openxmlformats.org/officeDocument/2006/relationships/slideLayout" Target="../slideLayouts/slideLayout4.xml"/><Relationship Id="rId6" Type="http://schemas.openxmlformats.org/officeDocument/2006/relationships/image" Target="../media/image72.png"/><Relationship Id="rId11" Type="http://schemas.openxmlformats.org/officeDocument/2006/relationships/image" Target="../media/image77.png"/><Relationship Id="rId5" Type="http://schemas.openxmlformats.org/officeDocument/2006/relationships/image" Target="../media/image71.png"/><Relationship Id="rId10" Type="http://schemas.openxmlformats.org/officeDocument/2006/relationships/image" Target="../media/image76.png"/><Relationship Id="rId4" Type="http://schemas.openxmlformats.org/officeDocument/2006/relationships/image" Target="../media/image70.png"/><Relationship Id="rId9" Type="http://schemas.openxmlformats.org/officeDocument/2006/relationships/image" Target="../media/image75.png"/></Relationships>
</file>

<file path=ppt/slides/_rels/slide3.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image" Target="../media/image18.png"/><Relationship Id="rId1" Type="http://schemas.openxmlformats.org/officeDocument/2006/relationships/slideLayout" Target="../slideLayouts/slideLayout11.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 Id="rId9" Type="http://schemas.openxmlformats.org/officeDocument/2006/relationships/image" Target="../media/image25.png"/></Relationships>
</file>

<file path=ppt/slides/_rels/slide30.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png"/><Relationship Id="rId1" Type="http://schemas.openxmlformats.org/officeDocument/2006/relationships/slideLayout" Target="../slideLayouts/slideLayout4.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s/_rels/slide31.xml.rels><?xml version="1.0" encoding="UTF-8" standalone="yes"?>
<Relationships xmlns="http://schemas.openxmlformats.org/package/2006/relationships"><Relationship Id="rId8" Type="http://schemas.openxmlformats.org/officeDocument/2006/relationships/image" Target="../media/image90.png"/><Relationship Id="rId13" Type="http://schemas.openxmlformats.org/officeDocument/2006/relationships/image" Target="../media/image95.png"/><Relationship Id="rId3" Type="http://schemas.openxmlformats.org/officeDocument/2006/relationships/image" Target="../media/image85.png"/><Relationship Id="rId7" Type="http://schemas.openxmlformats.org/officeDocument/2006/relationships/image" Target="../media/image89.png"/><Relationship Id="rId12" Type="http://schemas.openxmlformats.org/officeDocument/2006/relationships/image" Target="../media/image94.png"/><Relationship Id="rId2" Type="http://schemas.openxmlformats.org/officeDocument/2006/relationships/notesSlide" Target="../notesSlides/notesSlide16.xml"/><Relationship Id="rId1" Type="http://schemas.openxmlformats.org/officeDocument/2006/relationships/slideLayout" Target="../slideLayouts/slideLayout10.xml"/><Relationship Id="rId6" Type="http://schemas.openxmlformats.org/officeDocument/2006/relationships/image" Target="../media/image88.png"/><Relationship Id="rId11" Type="http://schemas.openxmlformats.org/officeDocument/2006/relationships/image" Target="../media/image93.png"/><Relationship Id="rId5" Type="http://schemas.openxmlformats.org/officeDocument/2006/relationships/image" Target="../media/image87.png"/><Relationship Id="rId10" Type="http://schemas.openxmlformats.org/officeDocument/2006/relationships/image" Target="../media/image92.png"/><Relationship Id="rId4" Type="http://schemas.openxmlformats.org/officeDocument/2006/relationships/image" Target="../media/image86.png"/><Relationship Id="rId9" Type="http://schemas.openxmlformats.org/officeDocument/2006/relationships/image" Target="../media/image91.png"/></Relationships>
</file>

<file path=ppt/slides/_rels/slide32.xml.rels><?xml version="1.0" encoding="UTF-8" standalone="yes"?>
<Relationships xmlns="http://schemas.openxmlformats.org/package/2006/relationships"><Relationship Id="rId8" Type="http://schemas.openxmlformats.org/officeDocument/2006/relationships/image" Target="../media/image101.png"/><Relationship Id="rId13" Type="http://schemas.openxmlformats.org/officeDocument/2006/relationships/image" Target="../media/image106.png"/><Relationship Id="rId18" Type="http://schemas.openxmlformats.org/officeDocument/2006/relationships/image" Target="../media/image110.png"/><Relationship Id="rId26" Type="http://schemas.openxmlformats.org/officeDocument/2006/relationships/image" Target="../media/image117.png"/><Relationship Id="rId39" Type="http://schemas.microsoft.com/office/2007/relationships/hdphoto" Target="../media/hdphoto5.wdp"/><Relationship Id="rId3" Type="http://schemas.openxmlformats.org/officeDocument/2006/relationships/image" Target="../media/image96.png"/><Relationship Id="rId21" Type="http://schemas.openxmlformats.org/officeDocument/2006/relationships/image" Target="../media/image113.png"/><Relationship Id="rId34" Type="http://schemas.openxmlformats.org/officeDocument/2006/relationships/image" Target="../media/image125.png"/><Relationship Id="rId42" Type="http://schemas.openxmlformats.org/officeDocument/2006/relationships/image" Target="../media/image132.svg"/><Relationship Id="rId7" Type="http://schemas.openxmlformats.org/officeDocument/2006/relationships/image" Target="../media/image100.png"/><Relationship Id="rId12" Type="http://schemas.openxmlformats.org/officeDocument/2006/relationships/image" Target="../media/image105.png"/><Relationship Id="rId17" Type="http://schemas.microsoft.com/office/2007/relationships/hdphoto" Target="../media/hdphoto3.wdp"/><Relationship Id="rId25" Type="http://schemas.openxmlformats.org/officeDocument/2006/relationships/image" Target="../media/image116.png"/><Relationship Id="rId33" Type="http://schemas.openxmlformats.org/officeDocument/2006/relationships/image" Target="../media/image124.png"/><Relationship Id="rId38" Type="http://schemas.openxmlformats.org/officeDocument/2006/relationships/image" Target="../media/image129.png"/><Relationship Id="rId46" Type="http://schemas.openxmlformats.org/officeDocument/2006/relationships/image" Target="../media/image1330.png"/><Relationship Id="rId2" Type="http://schemas.openxmlformats.org/officeDocument/2006/relationships/notesSlide" Target="../notesSlides/notesSlide17.xml"/><Relationship Id="rId16" Type="http://schemas.openxmlformats.org/officeDocument/2006/relationships/image" Target="../media/image109.png"/><Relationship Id="rId20" Type="http://schemas.openxmlformats.org/officeDocument/2006/relationships/image" Target="../media/image112.png"/><Relationship Id="rId29" Type="http://schemas.openxmlformats.org/officeDocument/2006/relationships/image" Target="../media/image120.png"/><Relationship Id="rId41" Type="http://schemas.openxmlformats.org/officeDocument/2006/relationships/image" Target="../media/image131.png"/><Relationship Id="rId1" Type="http://schemas.openxmlformats.org/officeDocument/2006/relationships/slideLayout" Target="../slideLayouts/slideLayout10.xml"/><Relationship Id="rId6" Type="http://schemas.openxmlformats.org/officeDocument/2006/relationships/image" Target="../media/image99.png"/><Relationship Id="rId11" Type="http://schemas.openxmlformats.org/officeDocument/2006/relationships/image" Target="../media/image104.png"/><Relationship Id="rId24" Type="http://schemas.openxmlformats.org/officeDocument/2006/relationships/image" Target="../media/image115.png"/><Relationship Id="rId32" Type="http://schemas.openxmlformats.org/officeDocument/2006/relationships/image" Target="../media/image123.png"/><Relationship Id="rId37" Type="http://schemas.openxmlformats.org/officeDocument/2006/relationships/image" Target="../media/image128.png"/><Relationship Id="rId40" Type="http://schemas.openxmlformats.org/officeDocument/2006/relationships/image" Target="../media/image130.png"/><Relationship Id="rId45" Type="http://schemas.openxmlformats.org/officeDocument/2006/relationships/image" Target="../media/image134.png"/><Relationship Id="rId5" Type="http://schemas.openxmlformats.org/officeDocument/2006/relationships/image" Target="../media/image98.png"/><Relationship Id="rId15" Type="http://schemas.openxmlformats.org/officeDocument/2006/relationships/image" Target="../media/image108.png"/><Relationship Id="rId23" Type="http://schemas.openxmlformats.org/officeDocument/2006/relationships/image" Target="../media/image114.png"/><Relationship Id="rId28" Type="http://schemas.openxmlformats.org/officeDocument/2006/relationships/image" Target="../media/image119.png"/><Relationship Id="rId36" Type="http://schemas.openxmlformats.org/officeDocument/2006/relationships/image" Target="../media/image127.png"/><Relationship Id="rId10" Type="http://schemas.openxmlformats.org/officeDocument/2006/relationships/image" Target="../media/image103.png"/><Relationship Id="rId19" Type="http://schemas.openxmlformats.org/officeDocument/2006/relationships/image" Target="../media/image111.png"/><Relationship Id="rId31" Type="http://schemas.openxmlformats.org/officeDocument/2006/relationships/image" Target="../media/image122.png"/><Relationship Id="rId44" Type="http://schemas.openxmlformats.org/officeDocument/2006/relationships/image" Target="../media/image132.png"/><Relationship Id="rId4" Type="http://schemas.openxmlformats.org/officeDocument/2006/relationships/image" Target="../media/image97.png"/><Relationship Id="rId9" Type="http://schemas.openxmlformats.org/officeDocument/2006/relationships/image" Target="../media/image102.png"/><Relationship Id="rId14" Type="http://schemas.openxmlformats.org/officeDocument/2006/relationships/image" Target="../media/image107.gif"/><Relationship Id="rId22" Type="http://schemas.microsoft.com/office/2007/relationships/hdphoto" Target="../media/hdphoto4.wdp"/><Relationship Id="rId27" Type="http://schemas.openxmlformats.org/officeDocument/2006/relationships/image" Target="../media/image118.png"/><Relationship Id="rId30" Type="http://schemas.openxmlformats.org/officeDocument/2006/relationships/image" Target="../media/image121.png"/><Relationship Id="rId35" Type="http://schemas.openxmlformats.org/officeDocument/2006/relationships/image" Target="../media/image126.png"/><Relationship Id="rId43" Type="http://schemas.openxmlformats.org/officeDocument/2006/relationships/image" Target="../media/image133.png"/></Relationships>
</file>

<file path=ppt/slides/_rels/slide33.xml.rels><?xml version="1.0" encoding="UTF-8" standalone="yes"?>
<Relationships xmlns="http://schemas.openxmlformats.org/package/2006/relationships"><Relationship Id="rId8" Type="http://schemas.openxmlformats.org/officeDocument/2006/relationships/image" Target="../media/image140.png"/><Relationship Id="rId3" Type="http://schemas.openxmlformats.org/officeDocument/2006/relationships/image" Target="../media/image135.png"/><Relationship Id="rId7" Type="http://schemas.openxmlformats.org/officeDocument/2006/relationships/image" Target="../media/image139.png"/><Relationship Id="rId2" Type="http://schemas.openxmlformats.org/officeDocument/2006/relationships/notesSlide" Target="../notesSlides/notesSlide18.xml"/><Relationship Id="rId1" Type="http://schemas.openxmlformats.org/officeDocument/2006/relationships/slideLayout" Target="../slideLayouts/slideLayout10.xml"/><Relationship Id="rId6" Type="http://schemas.openxmlformats.org/officeDocument/2006/relationships/image" Target="../media/image138.png"/><Relationship Id="rId5" Type="http://schemas.openxmlformats.org/officeDocument/2006/relationships/image" Target="../media/image137.png"/><Relationship Id="rId10" Type="http://schemas.openxmlformats.org/officeDocument/2006/relationships/image" Target="../media/image142.png"/><Relationship Id="rId4" Type="http://schemas.openxmlformats.org/officeDocument/2006/relationships/image" Target="../media/image136.png"/><Relationship Id="rId9" Type="http://schemas.openxmlformats.org/officeDocument/2006/relationships/image" Target="../media/image141.png"/></Relationships>
</file>

<file path=ppt/slides/_rels/slide34.xml.rels><?xml version="1.0" encoding="UTF-8" standalone="yes"?>
<Relationships xmlns="http://schemas.openxmlformats.org/package/2006/relationships"><Relationship Id="rId3" Type="http://schemas.openxmlformats.org/officeDocument/2006/relationships/hyperlink" Target="https://ec.europa.eu/eurostat/cache/sankey/energy/sankey.html?geos=EU27_2020&amp;year=2022&amp;unit=KTOE&amp;fuels=TOTAL&amp;highlight=_&amp;nodeDisagg=0101000000000&amp;flowDisagg=true&amp;translateX=115.28388261994849&amp;translateY=2.919069625562109&amp;scale=0.7578582832551992&amp;language=EN" TargetMode="External"/><Relationship Id="rId2" Type="http://schemas.openxmlformats.org/officeDocument/2006/relationships/image" Target="../media/image143.png"/><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image" Target="../media/image145.jpeg"/><Relationship Id="rId2" Type="http://schemas.openxmlformats.org/officeDocument/2006/relationships/image" Target="../media/image144.png"/><Relationship Id="rId1" Type="http://schemas.openxmlformats.org/officeDocument/2006/relationships/slideLayout" Target="../slideLayouts/slideLayout4.xml"/><Relationship Id="rId4" Type="http://schemas.openxmlformats.org/officeDocument/2006/relationships/image" Target="../media/image146.jpe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3.xml"/><Relationship Id="rId1" Type="http://schemas.openxmlformats.org/officeDocument/2006/relationships/tags" Target="../tags/tag13.xml"/><Relationship Id="rId6" Type="http://schemas.openxmlformats.org/officeDocument/2006/relationships/image" Target="../media/image27.png"/><Relationship Id="rId5" Type="http://schemas.openxmlformats.org/officeDocument/2006/relationships/image" Target="../media/image26.emf"/><Relationship Id="rId4" Type="http://schemas.openxmlformats.org/officeDocument/2006/relationships/oleObject" Target="../embeddings/oleObject8.bin"/></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jpe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SNCF Réseau | Cour des comptes">
            <a:extLst>
              <a:ext uri="{FF2B5EF4-FFF2-40B4-BE49-F238E27FC236}">
                <a16:creationId xmlns:a16="http://schemas.microsoft.com/office/drawing/2014/main" id="{871E1C7F-BFAE-13C1-AC78-3B72E648E71B}"/>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0" y="0"/>
            <a:ext cx="12192000" cy="6857990"/>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FF74E903-BA35-62F7-8FD5-0AFF312FC9F0}"/>
              </a:ext>
            </a:extLst>
          </p:cNvPr>
          <p:cNvSpPr/>
          <p:nvPr/>
        </p:nvSpPr>
        <p:spPr>
          <a:xfrm>
            <a:off x="0" y="-10"/>
            <a:ext cx="12191999" cy="6857990"/>
          </a:xfrm>
          <a:prstGeom prst="rect">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8" name="Title 2">
            <a:extLst>
              <a:ext uri="{FF2B5EF4-FFF2-40B4-BE49-F238E27FC236}">
                <a16:creationId xmlns:a16="http://schemas.microsoft.com/office/drawing/2014/main" id="{A8741D12-6817-404C-B9DE-65BA88D46907}"/>
              </a:ext>
            </a:extLst>
          </p:cNvPr>
          <p:cNvSpPr>
            <a:spLocks noGrp="1"/>
          </p:cNvSpPr>
          <p:nvPr>
            <p:ph type="title"/>
          </p:nvPr>
        </p:nvSpPr>
        <p:spPr>
          <a:xfrm>
            <a:off x="2106181" y="5722214"/>
            <a:ext cx="6186049" cy="778053"/>
          </a:xfrm>
        </p:spPr>
        <p:txBody>
          <a:bodyPr wrap="square" anchor="ctr">
            <a:normAutofit/>
          </a:bodyPr>
          <a:lstStyle/>
          <a:p>
            <a:r>
              <a:rPr lang="fr-FR" sz="5100"/>
              <a:t>Etude de Cas :</a:t>
            </a:r>
          </a:p>
        </p:txBody>
      </p:sp>
      <p:sp>
        <p:nvSpPr>
          <p:cNvPr id="2" name="Parallelogram 1">
            <a:extLst>
              <a:ext uri="{FF2B5EF4-FFF2-40B4-BE49-F238E27FC236}">
                <a16:creationId xmlns:a16="http://schemas.microsoft.com/office/drawing/2014/main" id="{AD452A55-7632-4D92-AC43-9B7CF3AFA5FC}"/>
              </a:ext>
            </a:extLst>
          </p:cNvPr>
          <p:cNvSpPr/>
          <p:nvPr/>
        </p:nvSpPr>
        <p:spPr>
          <a:xfrm>
            <a:off x="7022845" y="5379395"/>
            <a:ext cx="3535088" cy="1478605"/>
          </a:xfrm>
          <a:prstGeom prst="parallelogram">
            <a:avLst/>
          </a:prstGeom>
          <a:solidFill>
            <a:srgbClr val="0038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3" name="Parallelogram 2">
            <a:extLst>
              <a:ext uri="{FF2B5EF4-FFF2-40B4-BE49-F238E27FC236}">
                <a16:creationId xmlns:a16="http://schemas.microsoft.com/office/drawing/2014/main" id="{8313B2AC-9154-7515-0F3E-2BBFC35CB185}"/>
              </a:ext>
            </a:extLst>
          </p:cNvPr>
          <p:cNvSpPr/>
          <p:nvPr/>
        </p:nvSpPr>
        <p:spPr>
          <a:xfrm>
            <a:off x="10190930" y="5379395"/>
            <a:ext cx="442962" cy="1478605"/>
          </a:xfrm>
          <a:prstGeom prst="parallelogram">
            <a:avLst>
              <a:gd name="adj" fmla="val 87252"/>
            </a:avLst>
          </a:prstGeom>
          <a:solidFill>
            <a:srgbClr val="0038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4" name="Parallelogram 3">
            <a:extLst>
              <a:ext uri="{FF2B5EF4-FFF2-40B4-BE49-F238E27FC236}">
                <a16:creationId xmlns:a16="http://schemas.microsoft.com/office/drawing/2014/main" id="{E46E68A7-06AE-A9D0-1A91-211F313A8ABB}"/>
              </a:ext>
            </a:extLst>
          </p:cNvPr>
          <p:cNvSpPr/>
          <p:nvPr/>
        </p:nvSpPr>
        <p:spPr>
          <a:xfrm>
            <a:off x="10261865" y="5379395"/>
            <a:ext cx="442962" cy="1478605"/>
          </a:xfrm>
          <a:prstGeom prst="parallelogram">
            <a:avLst>
              <a:gd name="adj" fmla="val 87252"/>
            </a:avLst>
          </a:prstGeom>
          <a:solidFill>
            <a:srgbClr val="0038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5" name="Parallelogram 4">
            <a:extLst>
              <a:ext uri="{FF2B5EF4-FFF2-40B4-BE49-F238E27FC236}">
                <a16:creationId xmlns:a16="http://schemas.microsoft.com/office/drawing/2014/main" id="{7D021454-D0D8-91C1-3DB1-6F8D17B319CC}"/>
              </a:ext>
            </a:extLst>
          </p:cNvPr>
          <p:cNvSpPr/>
          <p:nvPr/>
        </p:nvSpPr>
        <p:spPr>
          <a:xfrm>
            <a:off x="10332800" y="5379394"/>
            <a:ext cx="442962" cy="1478605"/>
          </a:xfrm>
          <a:prstGeom prst="parallelogram">
            <a:avLst>
              <a:gd name="adj" fmla="val 87252"/>
            </a:avLst>
          </a:prstGeom>
          <a:solidFill>
            <a:srgbClr val="0038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pic>
        <p:nvPicPr>
          <p:cNvPr id="6" name="Picture 18" descr="SNCF Réseau — Wikipédia">
            <a:extLst>
              <a:ext uri="{FF2B5EF4-FFF2-40B4-BE49-F238E27FC236}">
                <a16:creationId xmlns:a16="http://schemas.microsoft.com/office/drawing/2014/main" id="{C57ECFB5-A792-054F-4E96-F7BDABF0D79E}"/>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7896030" y="5521782"/>
            <a:ext cx="1606973" cy="1134334"/>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e 1">
            <a:extLst>
              <a:ext uri="{FF2B5EF4-FFF2-40B4-BE49-F238E27FC236}">
                <a16:creationId xmlns:a16="http://schemas.microsoft.com/office/drawing/2014/main" id="{3196C966-DA79-A8ED-4820-2D77EF84D6E6}"/>
              </a:ext>
            </a:extLst>
          </p:cNvPr>
          <p:cNvGrpSpPr>
            <a:grpSpLocks noChangeAspect="1"/>
          </p:cNvGrpSpPr>
          <p:nvPr/>
        </p:nvGrpSpPr>
        <p:grpSpPr>
          <a:xfrm>
            <a:off x="11580028" y="205059"/>
            <a:ext cx="419436" cy="388988"/>
            <a:chOff x="11501102" y="171573"/>
            <a:chExt cx="419436" cy="388988"/>
          </a:xfrm>
        </p:grpSpPr>
        <p:sp>
          <p:nvSpPr>
            <p:cNvPr id="11" name="Freeform 13">
              <a:extLst>
                <a:ext uri="{FF2B5EF4-FFF2-40B4-BE49-F238E27FC236}">
                  <a16:creationId xmlns:a16="http://schemas.microsoft.com/office/drawing/2014/main" id="{5448EEBE-89DF-87F9-9ADE-0FB1895E6728}"/>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2" name="Freeform 14">
              <a:extLst>
                <a:ext uri="{FF2B5EF4-FFF2-40B4-BE49-F238E27FC236}">
                  <a16:creationId xmlns:a16="http://schemas.microsoft.com/office/drawing/2014/main" id="{CAC6FAD1-B8B2-0F56-A887-5785106AF9CD}"/>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pic>
        <p:nvPicPr>
          <p:cNvPr id="13" name="Picture 12">
            <a:extLst>
              <a:ext uri="{FF2B5EF4-FFF2-40B4-BE49-F238E27FC236}">
                <a16:creationId xmlns:a16="http://schemas.microsoft.com/office/drawing/2014/main" id="{0E65EA3A-FF5C-D627-6C62-65326BB997C2}"/>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1453362" y="713749"/>
            <a:ext cx="672768" cy="355683"/>
          </a:xfrm>
          <a:prstGeom prst="rect">
            <a:avLst/>
          </a:prstGeom>
        </p:spPr>
      </p:pic>
    </p:spTree>
    <p:extLst>
      <p:ext uri="{BB962C8B-B14F-4D97-AF65-F5344CB8AC3E}">
        <p14:creationId xmlns:p14="http://schemas.microsoft.com/office/powerpoint/2010/main" val="85763284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8544D7E-9661-2A10-A99F-758D80E6FB84}"/>
              </a:ext>
            </a:extLst>
          </p:cNvPr>
          <p:cNvSpPr>
            <a:spLocks noGrp="1"/>
          </p:cNvSpPr>
          <p:nvPr>
            <p:ph type="title"/>
          </p:nvPr>
        </p:nvSpPr>
        <p:spPr/>
        <p:txBody>
          <a:bodyPr/>
          <a:lstStyle/>
          <a:p>
            <a:r>
              <a:rPr lang="fr-FR"/>
              <a:t>Support 3 – Stratégie SNCF</a:t>
            </a:r>
            <a:endParaRPr lang="en-US"/>
          </a:p>
        </p:txBody>
      </p:sp>
      <p:pic>
        <p:nvPicPr>
          <p:cNvPr id="5" name="Picture 4">
            <a:extLst>
              <a:ext uri="{FF2B5EF4-FFF2-40B4-BE49-F238E27FC236}">
                <a16:creationId xmlns:a16="http://schemas.microsoft.com/office/drawing/2014/main" id="{2BD0A00A-BFFF-F65B-84CF-39581ECDFF9A}"/>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425420" y="3072562"/>
            <a:ext cx="7302501" cy="3397250"/>
          </a:xfrm>
          <a:prstGeom prst="rect">
            <a:avLst/>
          </a:prstGeom>
        </p:spPr>
      </p:pic>
      <p:sp>
        <p:nvSpPr>
          <p:cNvPr id="4" name="TextBox 3">
            <a:extLst>
              <a:ext uri="{FF2B5EF4-FFF2-40B4-BE49-F238E27FC236}">
                <a16:creationId xmlns:a16="http://schemas.microsoft.com/office/drawing/2014/main" id="{39543273-B4F0-8028-BFC7-A23FB10C52D1}"/>
              </a:ext>
            </a:extLst>
          </p:cNvPr>
          <p:cNvSpPr txBox="1"/>
          <p:nvPr/>
        </p:nvSpPr>
        <p:spPr>
          <a:xfrm>
            <a:off x="2979420" y="6580188"/>
            <a:ext cx="595630" cy="200055"/>
          </a:xfrm>
          <a:prstGeom prst="rect">
            <a:avLst/>
          </a:prstGeom>
          <a:noFill/>
        </p:spPr>
        <p:txBody>
          <a:bodyPr wrap="square">
            <a:spAutoFit/>
          </a:bodyPr>
          <a:lstStyle/>
          <a:p>
            <a:r>
              <a:rPr lang="fr-FR" sz="700" i="1">
                <a:hlinkClick r:id="rId4"/>
              </a:rPr>
              <a:t>Source </a:t>
            </a:r>
            <a:endParaRPr lang="en-US" sz="700" i="1"/>
          </a:p>
        </p:txBody>
      </p:sp>
      <p:sp>
        <p:nvSpPr>
          <p:cNvPr id="7" name="TextBox 6">
            <a:extLst>
              <a:ext uri="{FF2B5EF4-FFF2-40B4-BE49-F238E27FC236}">
                <a16:creationId xmlns:a16="http://schemas.microsoft.com/office/drawing/2014/main" id="{F16F39A8-D7D7-452D-0E57-2799CA899C1E}"/>
              </a:ext>
            </a:extLst>
          </p:cNvPr>
          <p:cNvSpPr txBox="1"/>
          <p:nvPr/>
        </p:nvSpPr>
        <p:spPr>
          <a:xfrm>
            <a:off x="404812" y="1333648"/>
            <a:ext cx="4020607" cy="5116785"/>
          </a:xfrm>
          <a:prstGeom prst="rect">
            <a:avLst/>
          </a:prstGeom>
          <a:noFill/>
        </p:spPr>
        <p:txBody>
          <a:bodyPr wrap="square">
            <a:spAutoFit/>
          </a:bodyPr>
          <a:lstStyle/>
          <a:p>
            <a:r>
              <a:rPr lang="fr-FR" b="1">
                <a:solidFill>
                  <a:srgbClr val="0088CE"/>
                </a:solidFill>
                <a:latin typeface="Ubuntu" panose="020B0504030602030204" pitchFamily="34" charset="0"/>
              </a:rPr>
              <a:t>Ouverture à la concurrence, mode d’emploi</a:t>
            </a:r>
          </a:p>
          <a:p>
            <a:endParaRPr lang="fr-FR" b="1">
              <a:solidFill>
                <a:srgbClr val="0088CE"/>
              </a:solidFill>
              <a:latin typeface="Ubuntu" panose="020B0504030602030204" pitchFamily="34" charset="0"/>
            </a:endParaRPr>
          </a:p>
          <a:p>
            <a:r>
              <a:rPr lang="fr-FR">
                <a:solidFill>
                  <a:srgbClr val="0088CE"/>
                </a:solidFill>
                <a:latin typeface="Ubuntu" panose="020B0504030602030204" pitchFamily="34" charset="0"/>
              </a:rPr>
              <a:t>Quels segments ?</a:t>
            </a:r>
          </a:p>
          <a:p>
            <a:endParaRPr lang="fr-FR">
              <a:solidFill>
                <a:srgbClr val="0088CE"/>
              </a:solidFill>
              <a:latin typeface="Ubuntu" panose="020B0504030602030204" pitchFamily="34" charset="0"/>
            </a:endParaRPr>
          </a:p>
          <a:p>
            <a:pPr algn="l"/>
            <a:r>
              <a:rPr lang="fr-FR" sz="1000">
                <a:solidFill>
                  <a:srgbClr val="0D0D0D"/>
                </a:solidFill>
                <a:latin typeface="Ubuntu" panose="020B0504030602030204" pitchFamily="34" charset="0"/>
              </a:rPr>
              <a:t>L’ouverture du marché ferroviaire concerne les 3 segments suivants :</a:t>
            </a:r>
          </a:p>
          <a:p>
            <a:pPr algn="l"/>
            <a:endParaRPr lang="fr-FR" sz="1000">
              <a:solidFill>
                <a:srgbClr val="0D0D0D"/>
              </a:solidFill>
              <a:latin typeface="Ubuntu" panose="020B0504030602030204" pitchFamily="34" charset="0"/>
            </a:endParaRPr>
          </a:p>
          <a:p>
            <a:pPr marL="171450" indent="-171450" algn="l">
              <a:buFont typeface="Wingdings" panose="05000000000000000000" pitchFamily="2" charset="2"/>
              <a:buChar char="§"/>
            </a:pPr>
            <a:r>
              <a:rPr lang="fr-FR" sz="1000">
                <a:solidFill>
                  <a:srgbClr val="0D0D0D"/>
                </a:solidFill>
                <a:latin typeface="Ubuntu" panose="020B0504030602030204" pitchFamily="34" charset="0"/>
              </a:rPr>
              <a:t>les lignes à grande vitesse (LGV, lignes longue distance)</a:t>
            </a:r>
          </a:p>
          <a:p>
            <a:pPr marL="171450" indent="-171450" algn="l">
              <a:buFont typeface="Wingdings" panose="05000000000000000000" pitchFamily="2" charset="2"/>
              <a:buChar char="§"/>
            </a:pPr>
            <a:r>
              <a:rPr lang="fr-FR" sz="1000">
                <a:solidFill>
                  <a:srgbClr val="0D0D0D"/>
                </a:solidFill>
                <a:latin typeface="Ubuntu" panose="020B0504030602030204" pitchFamily="34" charset="0"/>
              </a:rPr>
              <a:t>les trains d’équilibre des territoires (TET, lignes courte/moyenne distance, opérées par SNCF) dont l’État est l’Autorité Organisatrice (AO)</a:t>
            </a:r>
          </a:p>
          <a:p>
            <a:pPr marL="171450" indent="-171450" algn="l">
              <a:buFont typeface="Wingdings" panose="05000000000000000000" pitchFamily="2" charset="2"/>
              <a:buChar char="§"/>
            </a:pPr>
            <a:r>
              <a:rPr lang="fr-FR" sz="1000">
                <a:solidFill>
                  <a:srgbClr val="0D0D0D"/>
                </a:solidFill>
                <a:latin typeface="Ubuntu" panose="020B0504030602030204" pitchFamily="34" charset="0"/>
              </a:rPr>
              <a:t>les lignes Transilien, régies par une convention passée avec l'AO Île-de-France Mobilités ainsi que le transport express régional (TER et lignes courte distance), régi par des conventions passées avec les régions AO</a:t>
            </a:r>
          </a:p>
          <a:p>
            <a:pPr algn="l">
              <a:buFont typeface="Arial" panose="020B0604020202020204" pitchFamily="34" charset="0"/>
              <a:buChar char="•"/>
            </a:pPr>
            <a:endParaRPr lang="fr-FR" sz="1050" b="0" i="0">
              <a:solidFill>
                <a:srgbClr val="4D4F53"/>
              </a:solidFill>
              <a:effectLst/>
              <a:latin typeface="Ubuntu" panose="020B0504030602030204" pitchFamily="34" charset="0"/>
            </a:endParaRPr>
          </a:p>
          <a:p>
            <a:r>
              <a:rPr lang="fr-FR">
                <a:solidFill>
                  <a:srgbClr val="0088CE"/>
                </a:solidFill>
                <a:latin typeface="Ubuntu" panose="020B0504030602030204" pitchFamily="34" charset="0"/>
              </a:rPr>
              <a:t>Quels marchés ?</a:t>
            </a:r>
          </a:p>
          <a:p>
            <a:endParaRPr lang="fr-FR">
              <a:solidFill>
                <a:srgbClr val="0088CE"/>
              </a:solidFill>
              <a:latin typeface="Ubuntu" panose="020B0504030602030204" pitchFamily="34" charset="0"/>
            </a:endParaRPr>
          </a:p>
          <a:p>
            <a:pPr algn="l"/>
            <a:r>
              <a:rPr lang="fr-FR" sz="1000">
                <a:solidFill>
                  <a:srgbClr val="0D0D0D"/>
                </a:solidFill>
                <a:latin typeface="Ubuntu" panose="020B0504030602030204" pitchFamily="34" charset="0"/>
              </a:rPr>
              <a:t>L’ouverture à la concurrence touche deux types de marchés distincts :</a:t>
            </a:r>
          </a:p>
          <a:p>
            <a:pPr marL="171450" indent="-171450" algn="l">
              <a:buFont typeface="Wingdings" panose="05000000000000000000" pitchFamily="2" charset="2"/>
              <a:buChar char="§"/>
            </a:pPr>
            <a:r>
              <a:rPr lang="fr-FR" sz="1000">
                <a:solidFill>
                  <a:srgbClr val="0D0D0D"/>
                </a:solidFill>
                <a:latin typeface="Ubuntu" panose="020B0504030602030204" pitchFamily="34" charset="0"/>
              </a:rPr>
              <a:t>Le service librement organisé (SLO). Le SLO comporte les lignes à grande vitesse ainsi que les lignes grand parcours à vitesse classique traversant plusieurs régions, qui pourront être exploitées par plusieurs opérateurs différents.</a:t>
            </a:r>
          </a:p>
          <a:p>
            <a:pPr marL="171450" indent="-171450" algn="l">
              <a:buFont typeface="Wingdings" panose="05000000000000000000" pitchFamily="2" charset="2"/>
              <a:buChar char="§"/>
            </a:pPr>
            <a:r>
              <a:rPr lang="fr-FR" sz="1000">
                <a:solidFill>
                  <a:srgbClr val="0D0D0D"/>
                </a:solidFill>
                <a:latin typeface="Ubuntu" panose="020B0504030602030204" pitchFamily="34" charset="0"/>
              </a:rPr>
              <a:t>Les marchés conventionnés où les AO ouvriront progressivement l’ensemble de leur réseau aux appels d’offres.</a:t>
            </a:r>
          </a:p>
        </p:txBody>
      </p:sp>
      <p:sp>
        <p:nvSpPr>
          <p:cNvPr id="6" name="TextBox 5">
            <a:extLst>
              <a:ext uri="{FF2B5EF4-FFF2-40B4-BE49-F238E27FC236}">
                <a16:creationId xmlns:a16="http://schemas.microsoft.com/office/drawing/2014/main" id="{78A992A6-5B0F-7493-AC15-ECF9F16C3BBB}"/>
              </a:ext>
            </a:extLst>
          </p:cNvPr>
          <p:cNvSpPr txBox="1"/>
          <p:nvPr/>
        </p:nvSpPr>
        <p:spPr>
          <a:xfrm>
            <a:off x="4366155" y="1349013"/>
            <a:ext cx="7421032" cy="1723549"/>
          </a:xfrm>
          <a:prstGeom prst="rect">
            <a:avLst/>
          </a:prstGeom>
          <a:noFill/>
        </p:spPr>
        <p:txBody>
          <a:bodyPr wrap="square">
            <a:spAutoFit/>
          </a:bodyPr>
          <a:lstStyle/>
          <a:p>
            <a:pPr algn="l"/>
            <a:r>
              <a:rPr lang="fr-FR" sz="1800" b="0" i="0">
                <a:solidFill>
                  <a:srgbClr val="0088CE"/>
                </a:solidFill>
                <a:effectLst/>
                <a:latin typeface="Ubuntu" panose="020B0504030602030204" pitchFamily="34" charset="0"/>
              </a:rPr>
              <a:t>Quel calendrier ?</a:t>
            </a:r>
          </a:p>
          <a:p>
            <a:pPr algn="l"/>
            <a:endParaRPr lang="fr-FR" sz="1400" b="0" i="0">
              <a:solidFill>
                <a:srgbClr val="0088CE"/>
              </a:solidFill>
              <a:effectLst/>
              <a:latin typeface="Ubuntu" panose="020B0504030602030204" pitchFamily="34" charset="0"/>
            </a:endParaRPr>
          </a:p>
          <a:p>
            <a:pPr algn="l"/>
            <a:r>
              <a:rPr lang="fr-FR" sz="1000">
                <a:solidFill>
                  <a:srgbClr val="0D0D0D"/>
                </a:solidFill>
                <a:latin typeface="Ubuntu" panose="020B0504030602030204" pitchFamily="34" charset="0"/>
              </a:rPr>
              <a:t>Voici le calendrier défini pour cette libéralisation du rail français :</a:t>
            </a:r>
          </a:p>
          <a:p>
            <a:pPr algn="l">
              <a:buFont typeface="Arial" panose="020B0604020202020204" pitchFamily="34" charset="0"/>
              <a:buChar char="•"/>
            </a:pPr>
            <a:r>
              <a:rPr lang="fr-FR" sz="1000">
                <a:solidFill>
                  <a:srgbClr val="0D0D0D"/>
                </a:solidFill>
                <a:latin typeface="Ubuntu" panose="020B0504030602030204" pitchFamily="34" charset="0"/>
              </a:rPr>
              <a:t>Depuis décembre 2019, les AO (État, régions) peuvent lancer des appels d’offres pour leurs marchés conventionnés.</a:t>
            </a:r>
          </a:p>
          <a:p>
            <a:pPr algn="l">
              <a:buFont typeface="Arial" panose="020B0604020202020204" pitchFamily="34" charset="0"/>
              <a:buChar char="•"/>
            </a:pPr>
            <a:r>
              <a:rPr lang="fr-FR" sz="1000">
                <a:solidFill>
                  <a:srgbClr val="0D0D0D"/>
                </a:solidFill>
                <a:latin typeface="Ubuntu" panose="020B0504030602030204" pitchFamily="34" charset="0"/>
              </a:rPr>
              <a:t>Depuis décembre 2020, les lignes grande vitesse sont accessibles (« open </a:t>
            </a:r>
            <a:r>
              <a:rPr lang="fr-FR" sz="1000" err="1">
                <a:solidFill>
                  <a:srgbClr val="0D0D0D"/>
                </a:solidFill>
                <a:latin typeface="Ubuntu" panose="020B0504030602030204" pitchFamily="34" charset="0"/>
              </a:rPr>
              <a:t>access</a:t>
            </a:r>
            <a:r>
              <a:rPr lang="fr-FR" sz="1000">
                <a:solidFill>
                  <a:srgbClr val="0D0D0D"/>
                </a:solidFill>
                <a:latin typeface="Ubuntu" panose="020B0504030602030204" pitchFamily="34" charset="0"/>
              </a:rPr>
              <a:t> »), en dehors de celles soumises à une convention territoriale.</a:t>
            </a:r>
          </a:p>
          <a:p>
            <a:pPr algn="l">
              <a:buFont typeface="Arial" panose="020B0604020202020204" pitchFamily="34" charset="0"/>
              <a:buChar char="•"/>
            </a:pPr>
            <a:r>
              <a:rPr lang="fr-FR" sz="1000">
                <a:solidFill>
                  <a:srgbClr val="0D0D0D"/>
                </a:solidFill>
                <a:latin typeface="Ubuntu" panose="020B0504030602030204" pitchFamily="34" charset="0"/>
              </a:rPr>
              <a:t>À partir de décembre 2023, les AO (régions, État) auront l’obligation de lancer des appels d’offres à la fin de leur contrat d’exploitation signé de gré à gré avec SNCF Voyageurs, et ce dans un délai maximum de dix ans. Conditions particulières en Île-de-France où l’ouverture des lignes Transilien est prévue entre 2023 et 2039.</a:t>
            </a:r>
          </a:p>
        </p:txBody>
      </p:sp>
    </p:spTree>
    <p:extLst>
      <p:ext uri="{BB962C8B-B14F-4D97-AF65-F5344CB8AC3E}">
        <p14:creationId xmlns:p14="http://schemas.microsoft.com/office/powerpoint/2010/main" val="188282506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6B5D2F6-417A-1FD6-D838-E891DAA248BE}"/>
              </a:ext>
            </a:extLst>
          </p:cNvPr>
          <p:cNvSpPr>
            <a:spLocks noGrp="1"/>
          </p:cNvSpPr>
          <p:nvPr>
            <p:ph type="title"/>
          </p:nvPr>
        </p:nvSpPr>
        <p:spPr/>
        <p:txBody>
          <a:bodyPr/>
          <a:lstStyle/>
          <a:p>
            <a:r>
              <a:rPr lang="fr-FR"/>
              <a:t>SUPPORT 4 – Article sur La maintenance prédictive par </a:t>
            </a:r>
            <a:r>
              <a:rPr lang="fr-FR" err="1"/>
              <a:t>sncf</a:t>
            </a:r>
            <a:r>
              <a:rPr lang="fr-FR"/>
              <a:t> réseau</a:t>
            </a:r>
          </a:p>
        </p:txBody>
      </p:sp>
      <p:sp>
        <p:nvSpPr>
          <p:cNvPr id="2" name="TextBox 1">
            <a:extLst>
              <a:ext uri="{FF2B5EF4-FFF2-40B4-BE49-F238E27FC236}">
                <a16:creationId xmlns:a16="http://schemas.microsoft.com/office/drawing/2014/main" id="{E1B72F1D-69BB-6FAE-D90E-0B8820384148}"/>
              </a:ext>
            </a:extLst>
          </p:cNvPr>
          <p:cNvSpPr txBox="1"/>
          <p:nvPr/>
        </p:nvSpPr>
        <p:spPr>
          <a:xfrm>
            <a:off x="404813" y="1125538"/>
            <a:ext cx="11382374" cy="276999"/>
          </a:xfrm>
          <a:prstGeom prst="rect">
            <a:avLst/>
          </a:prstGeom>
          <a:noFill/>
        </p:spPr>
        <p:txBody>
          <a:bodyPr wrap="square" rtlCol="0">
            <a:spAutoFit/>
          </a:bodyPr>
          <a:lstStyle/>
          <a:p>
            <a:r>
              <a:rPr lang="en-US" sz="1200" i="1"/>
              <a:t>Lien de </a:t>
            </a:r>
            <a:r>
              <a:rPr lang="en-US" sz="1200" i="1" err="1"/>
              <a:t>l’article</a:t>
            </a:r>
            <a:r>
              <a:rPr lang="en-US" sz="1200" i="1"/>
              <a:t> </a:t>
            </a:r>
            <a:r>
              <a:rPr lang="en-US" sz="1200" i="1" err="1"/>
              <a:t>complet</a:t>
            </a:r>
            <a:r>
              <a:rPr lang="en-US" sz="1200" i="1"/>
              <a:t> : </a:t>
            </a:r>
            <a:r>
              <a:rPr lang="en-US" sz="1200" i="1">
                <a:hlinkClick r:id="rId2"/>
              </a:rPr>
              <a:t>https://www.sncf-reseau.com/fr/a/maintenance-predictive-etat-lieux-dune-revolution-0</a:t>
            </a:r>
            <a:r>
              <a:rPr lang="en-US" sz="1200" i="1"/>
              <a:t> </a:t>
            </a:r>
          </a:p>
        </p:txBody>
      </p:sp>
      <p:grpSp>
        <p:nvGrpSpPr>
          <p:cNvPr id="11" name="Group 10">
            <a:extLst>
              <a:ext uri="{FF2B5EF4-FFF2-40B4-BE49-F238E27FC236}">
                <a16:creationId xmlns:a16="http://schemas.microsoft.com/office/drawing/2014/main" id="{25ECF5BD-DA11-1015-01BA-41CE704DB5A7}"/>
              </a:ext>
            </a:extLst>
          </p:cNvPr>
          <p:cNvGrpSpPr/>
          <p:nvPr/>
        </p:nvGrpSpPr>
        <p:grpSpPr>
          <a:xfrm>
            <a:off x="1285383" y="1423176"/>
            <a:ext cx="9186631" cy="5054630"/>
            <a:chOff x="404814" y="1408084"/>
            <a:chExt cx="9186631" cy="5054630"/>
          </a:xfrm>
        </p:grpSpPr>
        <p:pic>
          <p:nvPicPr>
            <p:cNvPr id="8" name="Picture 7">
              <a:extLst>
                <a:ext uri="{FF2B5EF4-FFF2-40B4-BE49-F238E27FC236}">
                  <a16:creationId xmlns:a16="http://schemas.microsoft.com/office/drawing/2014/main" id="{CC8CAFE6-5C9D-A954-9679-67AEB504811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04814" y="1408084"/>
              <a:ext cx="4471986" cy="5054630"/>
            </a:xfrm>
            <a:prstGeom prst="rect">
              <a:avLst/>
            </a:prstGeom>
          </p:spPr>
        </p:pic>
        <p:pic>
          <p:nvPicPr>
            <p:cNvPr id="10" name="Picture 9">
              <a:extLst>
                <a:ext uri="{FF2B5EF4-FFF2-40B4-BE49-F238E27FC236}">
                  <a16:creationId xmlns:a16="http://schemas.microsoft.com/office/drawing/2014/main" id="{5E5D96F4-75A5-505D-2353-E700627E1D9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257800" y="1408084"/>
              <a:ext cx="4333645" cy="3011516"/>
            </a:xfrm>
            <a:prstGeom prst="rect">
              <a:avLst/>
            </a:prstGeom>
          </p:spPr>
        </p:pic>
      </p:grpSp>
    </p:spTree>
    <p:extLst>
      <p:ext uri="{BB962C8B-B14F-4D97-AF65-F5344CB8AC3E}">
        <p14:creationId xmlns:p14="http://schemas.microsoft.com/office/powerpoint/2010/main" val="288100712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5FD339F-F2C3-2C42-B645-7229FDC315DC}"/>
              </a:ext>
            </a:extLst>
          </p:cNvPr>
          <p:cNvSpPr>
            <a:spLocks noGrp="1"/>
          </p:cNvSpPr>
          <p:nvPr>
            <p:ph type="title"/>
          </p:nvPr>
        </p:nvSpPr>
        <p:spPr/>
        <p:txBody>
          <a:bodyPr/>
          <a:lstStyle/>
          <a:p>
            <a:r>
              <a:rPr lang="fr-FR"/>
              <a:t>SUPPORT 5 – ARTICLE –  Augmentée, virtuelle… la réalité dans tous ses états à l’AR/VR Day</a:t>
            </a:r>
            <a:endParaRPr lang="en-US"/>
          </a:p>
        </p:txBody>
      </p:sp>
      <p:grpSp>
        <p:nvGrpSpPr>
          <p:cNvPr id="11" name="Group 10">
            <a:extLst>
              <a:ext uri="{FF2B5EF4-FFF2-40B4-BE49-F238E27FC236}">
                <a16:creationId xmlns:a16="http://schemas.microsoft.com/office/drawing/2014/main" id="{DDAAA28D-A8F0-8B44-31BD-7C6BC5FD612B}"/>
              </a:ext>
            </a:extLst>
          </p:cNvPr>
          <p:cNvGrpSpPr/>
          <p:nvPr/>
        </p:nvGrpSpPr>
        <p:grpSpPr>
          <a:xfrm>
            <a:off x="404813" y="1574376"/>
            <a:ext cx="10168133" cy="4874048"/>
            <a:chOff x="404813" y="1574376"/>
            <a:chExt cx="10168133" cy="4874048"/>
          </a:xfrm>
        </p:grpSpPr>
        <p:pic>
          <p:nvPicPr>
            <p:cNvPr id="5" name="Picture 4">
              <a:extLst>
                <a:ext uri="{FF2B5EF4-FFF2-40B4-BE49-F238E27FC236}">
                  <a16:creationId xmlns:a16="http://schemas.microsoft.com/office/drawing/2014/main" id="{88E98005-D1A6-0578-6EF3-ED5208E7443F}"/>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04813" y="1574377"/>
              <a:ext cx="4314573" cy="4696292"/>
            </a:xfrm>
            <a:prstGeom prst="rect">
              <a:avLst/>
            </a:prstGeom>
          </p:spPr>
        </p:pic>
        <p:pic>
          <p:nvPicPr>
            <p:cNvPr id="7" name="Picture 6">
              <a:extLst>
                <a:ext uri="{FF2B5EF4-FFF2-40B4-BE49-F238E27FC236}">
                  <a16:creationId xmlns:a16="http://schemas.microsoft.com/office/drawing/2014/main" id="{C0577709-AF10-D298-C070-FC5204638429}"/>
                </a:ext>
              </a:extLst>
            </p:cNvPr>
            <p:cNvPicPr>
              <a:picLocks noChangeAspect="1"/>
            </p:cNvPicPr>
            <p:nvPr/>
          </p:nvPicPr>
          <p:blipFill>
            <a:blip r:embed="rId3"/>
            <a:stretch>
              <a:fillRect/>
            </a:stretch>
          </p:blipFill>
          <p:spPr>
            <a:xfrm>
              <a:off x="4992874" y="1574376"/>
              <a:ext cx="5580072" cy="3630657"/>
            </a:xfrm>
            <a:prstGeom prst="rect">
              <a:avLst/>
            </a:prstGeom>
          </p:spPr>
        </p:pic>
        <p:pic>
          <p:nvPicPr>
            <p:cNvPr id="9" name="Picture 8">
              <a:extLst>
                <a:ext uri="{FF2B5EF4-FFF2-40B4-BE49-F238E27FC236}">
                  <a16:creationId xmlns:a16="http://schemas.microsoft.com/office/drawing/2014/main" id="{5C90E83C-8844-E031-FF9E-E6BBB302B920}"/>
                </a:ext>
              </a:extLst>
            </p:cNvPr>
            <p:cNvPicPr>
              <a:picLocks noChangeAspect="1"/>
            </p:cNvPicPr>
            <p:nvPr/>
          </p:nvPicPr>
          <p:blipFill>
            <a:blip r:embed="rId4"/>
            <a:stretch>
              <a:fillRect/>
            </a:stretch>
          </p:blipFill>
          <p:spPr>
            <a:xfrm>
              <a:off x="4992874" y="5205033"/>
              <a:ext cx="5207974" cy="1243391"/>
            </a:xfrm>
            <a:prstGeom prst="rect">
              <a:avLst/>
            </a:prstGeom>
          </p:spPr>
        </p:pic>
      </p:grpSp>
      <p:sp>
        <p:nvSpPr>
          <p:cNvPr id="10" name="TextBox 9">
            <a:extLst>
              <a:ext uri="{FF2B5EF4-FFF2-40B4-BE49-F238E27FC236}">
                <a16:creationId xmlns:a16="http://schemas.microsoft.com/office/drawing/2014/main" id="{55BB2428-4132-F171-88C8-B37DAB84A7F7}"/>
              </a:ext>
            </a:extLst>
          </p:cNvPr>
          <p:cNvSpPr txBox="1"/>
          <p:nvPr/>
        </p:nvSpPr>
        <p:spPr>
          <a:xfrm>
            <a:off x="404813" y="1125538"/>
            <a:ext cx="11382374" cy="461665"/>
          </a:xfrm>
          <a:prstGeom prst="rect">
            <a:avLst/>
          </a:prstGeom>
          <a:noFill/>
        </p:spPr>
        <p:txBody>
          <a:bodyPr wrap="square" rtlCol="0">
            <a:spAutoFit/>
          </a:bodyPr>
          <a:lstStyle/>
          <a:p>
            <a:r>
              <a:rPr lang="en-US" sz="1200" i="1"/>
              <a:t>Lien de </a:t>
            </a:r>
            <a:r>
              <a:rPr lang="en-US" sz="1200" i="1" err="1"/>
              <a:t>l’article</a:t>
            </a:r>
            <a:r>
              <a:rPr lang="en-US" sz="1200" i="1"/>
              <a:t> </a:t>
            </a:r>
            <a:r>
              <a:rPr lang="en-US" sz="1200" i="1" err="1"/>
              <a:t>complet</a:t>
            </a:r>
            <a:r>
              <a:rPr lang="en-US" sz="1200" i="1"/>
              <a:t> : </a:t>
            </a:r>
            <a:r>
              <a:rPr lang="fr-FR" sz="1200" b="0" kern="1200" noProof="0">
                <a:solidFill>
                  <a:schemeClr val="dk1"/>
                </a:solidFill>
                <a:latin typeface="+mn-lt"/>
                <a:ea typeface="+mn-ea"/>
                <a:cs typeface="+mn-cs"/>
                <a:hlinkClick r:id="rId5"/>
              </a:rPr>
              <a:t>https://numerique.sncf.com/actualites/augmentee-virtuelle-la-realite-dans-tous-ses-etats-larvr-day/</a:t>
            </a:r>
            <a:r>
              <a:rPr lang="fr-FR" sz="1200" b="0" kern="1200" noProof="0">
                <a:solidFill>
                  <a:schemeClr val="dk1"/>
                </a:solidFill>
                <a:latin typeface="+mn-lt"/>
                <a:ea typeface="+mn-ea"/>
                <a:cs typeface="+mn-cs"/>
              </a:rPr>
              <a:t> </a:t>
            </a:r>
          </a:p>
          <a:p>
            <a:endParaRPr lang="en-US" sz="1200" i="1"/>
          </a:p>
        </p:txBody>
      </p:sp>
    </p:spTree>
    <p:extLst>
      <p:ext uri="{BB962C8B-B14F-4D97-AF65-F5344CB8AC3E}">
        <p14:creationId xmlns:p14="http://schemas.microsoft.com/office/powerpoint/2010/main" val="289234262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5FD339F-F2C3-2C42-B645-7229FDC315DC}"/>
              </a:ext>
            </a:extLst>
          </p:cNvPr>
          <p:cNvSpPr>
            <a:spLocks noGrp="1"/>
          </p:cNvSpPr>
          <p:nvPr>
            <p:ph type="title"/>
          </p:nvPr>
        </p:nvSpPr>
        <p:spPr/>
        <p:txBody>
          <a:bodyPr/>
          <a:lstStyle/>
          <a:p>
            <a:r>
              <a:rPr lang="fr-FR"/>
              <a:t>SUPPORT 6 – ARTICLE – </a:t>
            </a:r>
            <a:r>
              <a:rPr lang="en-US"/>
              <a:t>Opportunities for digital twin technology on the French railway network</a:t>
            </a:r>
            <a:r>
              <a:rPr lang="fr-FR"/>
              <a:t>  </a:t>
            </a:r>
            <a:endParaRPr lang="en-US"/>
          </a:p>
        </p:txBody>
      </p:sp>
      <p:sp>
        <p:nvSpPr>
          <p:cNvPr id="6" name="TextBox 5">
            <a:extLst>
              <a:ext uri="{FF2B5EF4-FFF2-40B4-BE49-F238E27FC236}">
                <a16:creationId xmlns:a16="http://schemas.microsoft.com/office/drawing/2014/main" id="{6A155A23-C3E5-1676-FC1D-2427C16FC807}"/>
              </a:ext>
            </a:extLst>
          </p:cNvPr>
          <p:cNvSpPr txBox="1"/>
          <p:nvPr/>
        </p:nvSpPr>
        <p:spPr>
          <a:xfrm>
            <a:off x="2979420" y="6580188"/>
            <a:ext cx="595630" cy="200055"/>
          </a:xfrm>
          <a:prstGeom prst="rect">
            <a:avLst/>
          </a:prstGeom>
          <a:noFill/>
        </p:spPr>
        <p:txBody>
          <a:bodyPr wrap="square">
            <a:spAutoFit/>
          </a:bodyPr>
          <a:lstStyle/>
          <a:p>
            <a:r>
              <a:rPr lang="fr-FR" sz="700" i="1">
                <a:hlinkClick r:id="rId2"/>
              </a:rPr>
              <a:t>Source </a:t>
            </a:r>
            <a:endParaRPr lang="en-US" sz="700" i="1"/>
          </a:p>
        </p:txBody>
      </p:sp>
      <p:grpSp>
        <p:nvGrpSpPr>
          <p:cNvPr id="16" name="Group 15">
            <a:extLst>
              <a:ext uri="{FF2B5EF4-FFF2-40B4-BE49-F238E27FC236}">
                <a16:creationId xmlns:a16="http://schemas.microsoft.com/office/drawing/2014/main" id="{529E2520-4AA9-6C0F-B196-29CC61C41A54}"/>
              </a:ext>
            </a:extLst>
          </p:cNvPr>
          <p:cNvGrpSpPr/>
          <p:nvPr/>
        </p:nvGrpSpPr>
        <p:grpSpPr>
          <a:xfrm>
            <a:off x="712284" y="1282700"/>
            <a:ext cx="4724195" cy="5180013"/>
            <a:chOff x="397959" y="1238220"/>
            <a:chExt cx="4724195" cy="5180013"/>
          </a:xfrm>
        </p:grpSpPr>
        <p:pic>
          <p:nvPicPr>
            <p:cNvPr id="4" name="Picture 3">
              <a:extLst>
                <a:ext uri="{FF2B5EF4-FFF2-40B4-BE49-F238E27FC236}">
                  <a16:creationId xmlns:a16="http://schemas.microsoft.com/office/drawing/2014/main" id="{BA8862DC-ABED-61E5-343E-A826A61B3C58}"/>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b="-1"/>
            <a:stretch/>
          </p:blipFill>
          <p:spPr>
            <a:xfrm>
              <a:off x="404813" y="1238220"/>
              <a:ext cx="4717341" cy="4076700"/>
            </a:xfrm>
            <a:prstGeom prst="rect">
              <a:avLst/>
            </a:prstGeom>
          </p:spPr>
        </p:pic>
        <p:pic>
          <p:nvPicPr>
            <p:cNvPr id="12" name="Picture 11">
              <a:extLst>
                <a:ext uri="{FF2B5EF4-FFF2-40B4-BE49-F238E27FC236}">
                  <a16:creationId xmlns:a16="http://schemas.microsoft.com/office/drawing/2014/main" id="{84ECD4AF-5AE2-B234-FCC0-38D62C941E6E}"/>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397959" y="5353020"/>
              <a:ext cx="4724195" cy="1065213"/>
            </a:xfrm>
            <a:prstGeom prst="rect">
              <a:avLst/>
            </a:prstGeom>
          </p:spPr>
        </p:pic>
      </p:grpSp>
      <p:grpSp>
        <p:nvGrpSpPr>
          <p:cNvPr id="17" name="Group 16">
            <a:extLst>
              <a:ext uri="{FF2B5EF4-FFF2-40B4-BE49-F238E27FC236}">
                <a16:creationId xmlns:a16="http://schemas.microsoft.com/office/drawing/2014/main" id="{2337385B-3D20-8EAF-3CFB-45C3281D6CB7}"/>
              </a:ext>
            </a:extLst>
          </p:cNvPr>
          <p:cNvGrpSpPr/>
          <p:nvPr/>
        </p:nvGrpSpPr>
        <p:grpSpPr>
          <a:xfrm>
            <a:off x="6465888" y="1231899"/>
            <a:ext cx="4726230" cy="4133850"/>
            <a:chOff x="6189663" y="1181070"/>
            <a:chExt cx="4726230" cy="4133850"/>
          </a:xfrm>
        </p:grpSpPr>
        <p:pic>
          <p:nvPicPr>
            <p:cNvPr id="14" name="Picture 13">
              <a:extLst>
                <a:ext uri="{FF2B5EF4-FFF2-40B4-BE49-F238E27FC236}">
                  <a16:creationId xmlns:a16="http://schemas.microsoft.com/office/drawing/2014/main" id="{8096066C-B688-E9DC-2957-CF7D60BAF2B4}"/>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189663" y="2508887"/>
              <a:ext cx="4726230" cy="2806033"/>
            </a:xfrm>
            <a:prstGeom prst="rect">
              <a:avLst/>
            </a:prstGeom>
          </p:spPr>
        </p:pic>
        <p:pic>
          <p:nvPicPr>
            <p:cNvPr id="15" name="Picture 14">
              <a:extLst>
                <a:ext uri="{FF2B5EF4-FFF2-40B4-BE49-F238E27FC236}">
                  <a16:creationId xmlns:a16="http://schemas.microsoft.com/office/drawing/2014/main" id="{1616A60B-C8BC-77EA-5703-18EE9B7805F9}"/>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6189663" y="1181070"/>
              <a:ext cx="4724195" cy="1251646"/>
            </a:xfrm>
            <a:prstGeom prst="rect">
              <a:avLst/>
            </a:prstGeom>
          </p:spPr>
        </p:pic>
      </p:grpSp>
    </p:spTree>
    <p:extLst>
      <p:ext uri="{BB962C8B-B14F-4D97-AF65-F5344CB8AC3E}">
        <p14:creationId xmlns:p14="http://schemas.microsoft.com/office/powerpoint/2010/main" val="345982440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 name="Title 1">
            <a:extLst>
              <a:ext uri="{FF2B5EF4-FFF2-40B4-BE49-F238E27FC236}">
                <a16:creationId xmlns:a16="http://schemas.microsoft.com/office/drawing/2014/main" id="{19278351-16A5-4D66-B6EE-3227101FF650}"/>
              </a:ext>
            </a:extLst>
          </p:cNvPr>
          <p:cNvSpPr txBox="1">
            <a:spLocks/>
          </p:cNvSpPr>
          <p:nvPr/>
        </p:nvSpPr>
        <p:spPr bwMode="gray">
          <a:xfrm>
            <a:off x="401089" y="47801"/>
            <a:ext cx="10752665" cy="1151924"/>
          </a:xfrm>
          <a:prstGeom prst="rect">
            <a:avLst/>
          </a:prstGeom>
        </p:spPr>
        <p:txBody>
          <a:bodyPr vert="horz" lIns="0" tIns="0" rIns="0" bIns="0" rtlCol="0" anchor="t" anchorCtr="0">
            <a:normAutofit/>
          </a:bodyPr>
          <a:lstStyle>
            <a:lvl1pPr algn="ctr" defTabSz="1219140" rtl="0" eaLnBrk="1" latinLnBrk="0" hangingPunct="1">
              <a:lnSpc>
                <a:spcPct val="85000"/>
              </a:lnSpc>
              <a:spcBef>
                <a:spcPct val="0"/>
              </a:spcBef>
              <a:buNone/>
              <a:defRPr sz="3733" b="0" kern="1200" cap="all" baseline="0">
                <a:solidFill>
                  <a:schemeClr val="accent1"/>
                </a:solidFill>
                <a:latin typeface="+mj-lt"/>
                <a:ea typeface="+mj-ea"/>
                <a:cs typeface="+mj-cs"/>
              </a:defRPr>
            </a:lvl1pPr>
          </a:lstStyle>
          <a:p>
            <a:pPr marL="0" marR="0" lvl="0" indent="0" algn="l" defTabSz="1219140" rtl="0" eaLnBrk="1" fontAlgn="auto" latinLnBrk="0" hangingPunct="1">
              <a:lnSpc>
                <a:spcPct val="85000"/>
              </a:lnSpc>
              <a:spcBef>
                <a:spcPct val="0"/>
              </a:spcBef>
              <a:spcAft>
                <a:spcPts val="0"/>
              </a:spcAft>
              <a:buClrTx/>
              <a:buSzTx/>
              <a:buFontTx/>
              <a:buNone/>
              <a:tabLst/>
              <a:defRPr/>
            </a:pPr>
            <a:endParaRPr kumimoji="0" lang="fr-FR" sz="2400" b="0" i="0" u="none" strike="noStrike" kern="1200" cap="all" spc="0" normalizeH="0" baseline="0" noProof="0">
              <a:ln>
                <a:noFill/>
              </a:ln>
              <a:solidFill>
                <a:srgbClr val="FFFFFF"/>
              </a:solidFill>
              <a:effectLst/>
              <a:uLnTx/>
              <a:uFillTx/>
              <a:latin typeface="Ubuntu Medium (Headings)"/>
            </a:endParaRPr>
          </a:p>
          <a:p>
            <a:pPr marL="0" marR="0" lvl="0" indent="0" algn="l" defTabSz="1219140" rtl="0" eaLnBrk="1" fontAlgn="auto" latinLnBrk="0" hangingPunct="1">
              <a:lnSpc>
                <a:spcPct val="85000"/>
              </a:lnSpc>
              <a:spcBef>
                <a:spcPct val="0"/>
              </a:spcBef>
              <a:spcAft>
                <a:spcPts val="0"/>
              </a:spcAft>
              <a:buClrTx/>
              <a:buSzTx/>
              <a:buFontTx/>
              <a:buNone/>
              <a:tabLst/>
              <a:defRPr/>
            </a:pPr>
            <a:r>
              <a:rPr lang="fr-FR" sz="2600">
                <a:solidFill>
                  <a:schemeClr val="bg1"/>
                </a:solidFill>
              </a:rPr>
              <a:t>SUPPORT 7 - Processus CIBLE de la </a:t>
            </a:r>
            <a:r>
              <a:rPr lang="fr-FR" sz="2600" err="1">
                <a:solidFill>
                  <a:schemeClr val="bg1"/>
                </a:solidFill>
              </a:rPr>
              <a:t>sncf</a:t>
            </a:r>
            <a:r>
              <a:rPr lang="fr-FR" sz="2600">
                <a:solidFill>
                  <a:schemeClr val="bg1"/>
                </a:solidFill>
              </a:rPr>
              <a:t> pour la gestion des alarmes </a:t>
            </a:r>
          </a:p>
        </p:txBody>
      </p:sp>
      <p:grpSp>
        <p:nvGrpSpPr>
          <p:cNvPr id="149" name="Group 31">
            <a:extLst>
              <a:ext uri="{FF2B5EF4-FFF2-40B4-BE49-F238E27FC236}">
                <a16:creationId xmlns:a16="http://schemas.microsoft.com/office/drawing/2014/main" id="{0EA05826-594D-4E5B-A4B5-A7D8B4CFEA2C}"/>
              </a:ext>
            </a:extLst>
          </p:cNvPr>
          <p:cNvGrpSpPr/>
          <p:nvPr/>
        </p:nvGrpSpPr>
        <p:grpSpPr>
          <a:xfrm>
            <a:off x="10026688" y="4214211"/>
            <a:ext cx="1943476" cy="1801249"/>
            <a:chOff x="4826563" y="1630699"/>
            <a:chExt cx="1466398" cy="1405918"/>
          </a:xfrm>
          <a:solidFill>
            <a:schemeClr val="accent3"/>
          </a:solidFill>
        </p:grpSpPr>
        <p:sp>
          <p:nvSpPr>
            <p:cNvPr id="150" name="Oval 20">
              <a:extLst>
                <a:ext uri="{FF2B5EF4-FFF2-40B4-BE49-F238E27FC236}">
                  <a16:creationId xmlns:a16="http://schemas.microsoft.com/office/drawing/2014/main" id="{625AA3CF-0ED4-4932-8960-91F4E3B9ACE5}"/>
                </a:ext>
              </a:extLst>
            </p:cNvPr>
            <p:cNvSpPr/>
            <p:nvPr/>
          </p:nvSpPr>
          <p:spPr>
            <a:xfrm>
              <a:off x="4883256" y="1630699"/>
              <a:ext cx="1409705" cy="1379375"/>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ea typeface="+mn-ea"/>
                <a:cs typeface="+mn-cs"/>
              </a:endParaRPr>
            </a:p>
          </p:txBody>
        </p:sp>
        <p:sp>
          <p:nvSpPr>
            <p:cNvPr id="151" name="Rectangle 150">
              <a:extLst>
                <a:ext uri="{FF2B5EF4-FFF2-40B4-BE49-F238E27FC236}">
                  <a16:creationId xmlns:a16="http://schemas.microsoft.com/office/drawing/2014/main" id="{C7A53D89-E17C-480F-83CA-241ABF9351C6}"/>
                </a:ext>
              </a:extLst>
            </p:cNvPr>
            <p:cNvSpPr/>
            <p:nvPr/>
          </p:nvSpPr>
          <p:spPr>
            <a:xfrm>
              <a:off x="4826563" y="1694656"/>
              <a:ext cx="1409705" cy="1341961"/>
            </a:xfrm>
            <a:prstGeom prst="rect">
              <a:avLst/>
            </a:prstGeom>
            <a:noFill/>
          </p:spPr>
          <p:txBody>
            <a:bodyPr wrap="square" tIns="72000">
              <a:spAutoFit/>
            </a:bodyPr>
            <a:lstStyle/>
            <a:p>
              <a:pPr marL="0" marR="0" lvl="0" indent="0" algn="ctr" defTabSz="957756"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FFFFFF"/>
                  </a:solidFill>
                  <a:effectLst/>
                  <a:uLnTx/>
                  <a:uFillTx/>
                </a:rPr>
                <a:t>   Plan de </a:t>
              </a:r>
            </a:p>
            <a:p>
              <a:pPr marL="0" marR="0" lvl="0" indent="0" algn="ctr" defTabSz="957756"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FFFFFF"/>
                  </a:solidFill>
                  <a:effectLst/>
                  <a:uLnTx/>
                  <a:uFillTx/>
                </a:rPr>
                <a:t>contingence</a:t>
              </a:r>
            </a:p>
            <a:p>
              <a:pPr marL="0" marR="0" lvl="0" indent="0" algn="ctr" defTabSz="957756"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FFFFFF"/>
                  </a:solidFill>
                  <a:effectLst/>
                  <a:uLnTx/>
                  <a:uFillTx/>
                </a:rPr>
                <a:t>Solution temporaire</a:t>
              </a:r>
            </a:p>
            <a:p>
              <a:pPr marL="0" marR="0" lvl="0" indent="0" algn="ctr" defTabSz="957756" rtl="0" eaLnBrk="1" fontAlgn="auto" latinLnBrk="0" hangingPunct="1">
                <a:spcBef>
                  <a:spcPts val="0"/>
                </a:spcBef>
                <a:spcAft>
                  <a:spcPts val="0"/>
                </a:spcAft>
                <a:buClrTx/>
                <a:buSzTx/>
                <a:buFontTx/>
                <a:buNone/>
                <a:tabLst/>
                <a:defRPr/>
              </a:pPr>
              <a:endParaRPr kumimoji="0" lang="fr-FR" sz="1100" b="1" i="0" u="none" strike="noStrike" kern="1200" cap="none" spc="0" normalizeH="0" baseline="0" noProof="0">
                <a:ln>
                  <a:noFill/>
                </a:ln>
                <a:solidFill>
                  <a:srgbClr val="FFFFFF"/>
                </a:solidFill>
                <a:effectLst/>
                <a:uLnTx/>
                <a:uFillTx/>
              </a:endParaRPr>
            </a:p>
            <a:p>
              <a:pPr marL="0" marR="0" lvl="0" indent="0" algn="ctr" defTabSz="957756" rtl="0" eaLnBrk="1" fontAlgn="auto" latinLnBrk="0" hangingPunct="1">
                <a:spcBef>
                  <a:spcPts val="0"/>
                </a:spcBef>
                <a:spcAft>
                  <a:spcPts val="0"/>
                </a:spcAft>
                <a:buClrTx/>
                <a:buSzTx/>
                <a:buFontTx/>
                <a:buNone/>
                <a:tabLst/>
                <a:defRPr/>
              </a:pPr>
              <a:r>
                <a:rPr kumimoji="0" lang="fr-FR" sz="1100" b="1" i="0" u="none" strike="noStrike" kern="1200" cap="none" spc="0" normalizeH="0" baseline="0" noProof="0">
                  <a:ln>
                    <a:noFill/>
                  </a:ln>
                  <a:solidFill>
                    <a:srgbClr val="FFFFFF"/>
                  </a:solidFill>
                  <a:effectLst/>
                  <a:uLnTx/>
                  <a:uFillTx/>
                </a:rPr>
                <a:t>Plan d'action corrective</a:t>
              </a:r>
            </a:p>
            <a:p>
              <a:pPr marL="0" marR="0" lvl="0" indent="0" algn="ctr" defTabSz="957756" rtl="0" eaLnBrk="1" fontAlgn="auto" latinLnBrk="0" hangingPunct="1">
                <a:spcBef>
                  <a:spcPts val="0"/>
                </a:spcBef>
                <a:spcAft>
                  <a:spcPts val="0"/>
                </a:spcAft>
                <a:buClrTx/>
                <a:buSzTx/>
                <a:buFontTx/>
                <a:buNone/>
                <a:tabLst/>
                <a:defRPr/>
              </a:pPr>
              <a:endParaRPr lang="fr-FR" sz="1100" b="1">
                <a:solidFill>
                  <a:srgbClr val="FFFFFF"/>
                </a:solidFill>
              </a:endParaRPr>
            </a:p>
            <a:p>
              <a:pPr marL="0" marR="0" lvl="0" indent="0" algn="ctr" defTabSz="957756" rtl="0" eaLnBrk="1" fontAlgn="auto" latinLnBrk="0" hangingPunct="1">
                <a:spcBef>
                  <a:spcPts val="0"/>
                </a:spcBef>
                <a:spcAft>
                  <a:spcPts val="0"/>
                </a:spcAft>
                <a:buClrTx/>
                <a:buSzTx/>
                <a:buFontTx/>
                <a:buNone/>
                <a:tabLst/>
                <a:defRPr/>
              </a:pPr>
              <a:r>
                <a:rPr lang="fr-FR" sz="1100" b="1">
                  <a:solidFill>
                    <a:srgbClr val="FFFFFF"/>
                  </a:solidFill>
                </a:rPr>
                <a:t> </a:t>
              </a:r>
              <a:r>
                <a:rPr kumimoji="0" lang="fr-FR" sz="1100" b="1" i="0" u="none" strike="noStrike" kern="1200" cap="none" spc="0" normalizeH="0" baseline="0" noProof="0">
                  <a:ln>
                    <a:noFill/>
                  </a:ln>
                  <a:solidFill>
                    <a:srgbClr val="FF304C"/>
                  </a:solidFill>
                  <a:effectLst/>
                  <a:uLnTx/>
                  <a:uFillTx/>
                </a:rPr>
                <a:t>Maintenance </a:t>
              </a:r>
            </a:p>
            <a:p>
              <a:pPr marL="0" marR="0" lvl="0" indent="0" algn="ctr" defTabSz="957756" rtl="0" eaLnBrk="1" fontAlgn="auto" latinLnBrk="0" hangingPunct="1">
                <a:spcBef>
                  <a:spcPts val="0"/>
                </a:spcBef>
                <a:spcAft>
                  <a:spcPts val="0"/>
                </a:spcAft>
                <a:buClrTx/>
                <a:buSzTx/>
                <a:buFontTx/>
                <a:buNone/>
                <a:tabLst/>
                <a:defRPr/>
              </a:pPr>
              <a:r>
                <a:rPr kumimoji="0" lang="fr-FR" sz="1100" b="1" i="0" u="none" strike="noStrike" kern="1200" cap="none" spc="0" normalizeH="0" baseline="0" noProof="0">
                  <a:ln>
                    <a:noFill/>
                  </a:ln>
                  <a:solidFill>
                    <a:srgbClr val="FF304C"/>
                  </a:solidFill>
                  <a:effectLst/>
                  <a:uLnTx/>
                  <a:uFillTx/>
                </a:rPr>
                <a:t>SI</a:t>
              </a:r>
            </a:p>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FFFFFF"/>
                </a:solidFill>
                <a:effectLst/>
                <a:uLnTx/>
                <a:uFillTx/>
              </a:endParaRPr>
            </a:p>
          </p:txBody>
        </p:sp>
      </p:grpSp>
      <p:cxnSp>
        <p:nvCxnSpPr>
          <p:cNvPr id="4" name="Straight Connector 23">
            <a:extLst>
              <a:ext uri="{FF2B5EF4-FFF2-40B4-BE49-F238E27FC236}">
                <a16:creationId xmlns:a16="http://schemas.microsoft.com/office/drawing/2014/main" id="{8BEC1335-D5B2-4CE3-BD00-A670EFA41A7E}"/>
              </a:ext>
            </a:extLst>
          </p:cNvPr>
          <p:cNvCxnSpPr>
            <a:cxnSpLocks/>
          </p:cNvCxnSpPr>
          <p:nvPr/>
        </p:nvCxnSpPr>
        <p:spPr>
          <a:xfrm>
            <a:off x="964329" y="3785665"/>
            <a:ext cx="814202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5" name="Shape 153">
            <a:extLst>
              <a:ext uri="{FF2B5EF4-FFF2-40B4-BE49-F238E27FC236}">
                <a16:creationId xmlns:a16="http://schemas.microsoft.com/office/drawing/2014/main" id="{5548ECDF-862D-4735-8E39-3CF645B87D53}"/>
              </a:ext>
            </a:extLst>
          </p:cNvPr>
          <p:cNvSpPr/>
          <p:nvPr/>
        </p:nvSpPr>
        <p:spPr>
          <a:xfrm>
            <a:off x="1541460" y="3606650"/>
            <a:ext cx="9109080" cy="435334"/>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0880" y="0"/>
                </a:lnTo>
                <a:lnTo>
                  <a:pt x="21600" y="10800"/>
                </a:lnTo>
                <a:lnTo>
                  <a:pt x="20880" y="21600"/>
                </a:lnTo>
                <a:lnTo>
                  <a:pt x="0" y="21600"/>
                </a:lnTo>
                <a:close/>
              </a:path>
            </a:pathLst>
          </a:custGeom>
          <a:noFill/>
          <a:ln w="12700" cap="flat">
            <a:noFill/>
            <a:miter lim="400000"/>
          </a:ln>
          <a:effectLst/>
        </p:spPr>
        <p:txBody>
          <a:bodyPr wrap="square" lIns="0" tIns="0" rIns="0" bIns="0" numCol="1"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solidFill>
                  <a:srgbClr val="FFFFFF"/>
                </a:solidFill>
              </a:defRPr>
            </a:pPr>
            <a:endParaRPr kumimoji="0" sz="1800" b="0" i="0" u="none" strike="noStrike" kern="0" cap="none" spc="0" normalizeH="0" baseline="0" noProof="0">
              <a:ln>
                <a:noFill/>
              </a:ln>
              <a:solidFill>
                <a:srgbClr val="FFFFFF"/>
              </a:solidFill>
              <a:effectLst/>
              <a:uLnTx/>
              <a:uFillTx/>
              <a:ea typeface="+mn-ea"/>
              <a:cs typeface="+mn-cs"/>
            </a:endParaRPr>
          </a:p>
        </p:txBody>
      </p:sp>
      <p:pic>
        <p:nvPicPr>
          <p:cNvPr id="7" name="Image 38" descr="megaphone19.png">
            <a:extLst>
              <a:ext uri="{FF2B5EF4-FFF2-40B4-BE49-F238E27FC236}">
                <a16:creationId xmlns:a16="http://schemas.microsoft.com/office/drawing/2014/main" id="{1109EE78-16DC-4E63-96D8-B4C46E35A4EC}"/>
              </a:ext>
            </a:extLst>
          </p:cNvPr>
          <p:cNvPicPr>
            <a:picLocks noChangeAspect="1"/>
          </p:cNvPicPr>
          <p:nvPr/>
        </p:nvPicPr>
        <p:blipFill>
          <a:blip r:embed="rId3" cstate="email">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8780521" y="3564688"/>
            <a:ext cx="464456" cy="464456"/>
          </a:xfrm>
          <a:prstGeom prst="rect">
            <a:avLst/>
          </a:prstGeom>
        </p:spPr>
      </p:pic>
      <p:pic>
        <p:nvPicPr>
          <p:cNvPr id="9" name="Image 44" descr="working1.png">
            <a:extLst>
              <a:ext uri="{FF2B5EF4-FFF2-40B4-BE49-F238E27FC236}">
                <a16:creationId xmlns:a16="http://schemas.microsoft.com/office/drawing/2014/main" id="{54DD10BB-A1DF-4D8B-A5E1-C307493AC875}"/>
              </a:ext>
            </a:extLst>
          </p:cNvPr>
          <p:cNvPicPr>
            <a:picLocks noChangeAspect="1"/>
          </p:cNvPicPr>
          <p:nvPr/>
        </p:nvPicPr>
        <p:blipFill>
          <a:blip r:embed="rId5" cstate="email">
            <a:duotone>
              <a:prstClr val="black"/>
              <a:srgbClr val="FEFDFD">
                <a:tint val="45000"/>
                <a:satMod val="400000"/>
              </a:srgbClr>
            </a:duotone>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a:xfrm>
            <a:off x="7679145" y="3574119"/>
            <a:ext cx="447076" cy="447076"/>
          </a:xfrm>
          <a:prstGeom prst="rect">
            <a:avLst/>
          </a:prstGeom>
        </p:spPr>
      </p:pic>
      <p:sp>
        <p:nvSpPr>
          <p:cNvPr id="11" name="ZoneTexte 49">
            <a:extLst>
              <a:ext uri="{FF2B5EF4-FFF2-40B4-BE49-F238E27FC236}">
                <a16:creationId xmlns:a16="http://schemas.microsoft.com/office/drawing/2014/main" id="{F9AFC62C-6A4E-4AE6-AD1D-C641042D0952}"/>
              </a:ext>
            </a:extLst>
          </p:cNvPr>
          <p:cNvSpPr txBox="1"/>
          <p:nvPr/>
        </p:nvSpPr>
        <p:spPr>
          <a:xfrm>
            <a:off x="3582821" y="4784728"/>
            <a:ext cx="1737360" cy="129266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ea typeface="+mn-ea"/>
                <a:cs typeface="DIN Next LT Pro Condensed"/>
              </a:rPr>
              <a:t>PRIORIS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srgbClr val="FFFFFF"/>
                </a:solidFill>
                <a:effectLst/>
                <a:uLnTx/>
                <a:uFillTx/>
                <a:ea typeface="+mn-ea"/>
              </a:rPr>
              <a:t>Mettre en place un processus de gestion de crise en cas d'impact sur la gestion du trafic</a:t>
            </a:r>
          </a:p>
        </p:txBody>
      </p:sp>
      <p:sp>
        <p:nvSpPr>
          <p:cNvPr id="12" name="ZoneTexte 50">
            <a:extLst>
              <a:ext uri="{FF2B5EF4-FFF2-40B4-BE49-F238E27FC236}">
                <a16:creationId xmlns:a16="http://schemas.microsoft.com/office/drawing/2014/main" id="{3D5D9BE5-C33A-40DC-9297-F626AEA080CA}"/>
              </a:ext>
            </a:extLst>
          </p:cNvPr>
          <p:cNvSpPr txBox="1"/>
          <p:nvPr/>
        </p:nvSpPr>
        <p:spPr>
          <a:xfrm>
            <a:off x="8174495" y="4784728"/>
            <a:ext cx="1737360" cy="7694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ea typeface="+mn-ea"/>
                <a:cs typeface="DIN Next LT Pro Condensed"/>
              </a:rPr>
              <a:t>SUIV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srgbClr val="FFFFFF"/>
                </a:solidFill>
                <a:effectLst/>
                <a:uLnTx/>
                <a:uFillTx/>
                <a:ea typeface="+mn-ea"/>
              </a:rPr>
              <a:t>Suivre les interventions via une application mobile</a:t>
            </a:r>
          </a:p>
        </p:txBody>
      </p:sp>
      <p:sp>
        <p:nvSpPr>
          <p:cNvPr id="13" name="ZoneTexte 51">
            <a:extLst>
              <a:ext uri="{FF2B5EF4-FFF2-40B4-BE49-F238E27FC236}">
                <a16:creationId xmlns:a16="http://schemas.microsoft.com/office/drawing/2014/main" id="{C283612C-0113-482F-B160-58D2DEAC0F10}"/>
              </a:ext>
            </a:extLst>
          </p:cNvPr>
          <p:cNvSpPr txBox="1"/>
          <p:nvPr/>
        </p:nvSpPr>
        <p:spPr>
          <a:xfrm>
            <a:off x="1250299" y="4784728"/>
            <a:ext cx="1737360"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ea typeface="+mn-ea"/>
                <a:cs typeface="DIN Next LT Pro Condensed"/>
              </a:rPr>
              <a:t>INCIDE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srgbClr val="FFFFFF"/>
                </a:solidFill>
                <a:effectLst/>
                <a:uLnTx/>
                <a:uFillTx/>
                <a:ea typeface="+mn-ea"/>
                <a:cs typeface="DIN Next LT Pro Condensed"/>
              </a:rPr>
              <a:t>Attribuer des tâches aux équipes sur le terrain en fonction de l'horaire des équipes.</a:t>
            </a:r>
          </a:p>
        </p:txBody>
      </p:sp>
      <p:sp>
        <p:nvSpPr>
          <p:cNvPr id="14" name="ZoneTexte 52">
            <a:extLst>
              <a:ext uri="{FF2B5EF4-FFF2-40B4-BE49-F238E27FC236}">
                <a16:creationId xmlns:a16="http://schemas.microsoft.com/office/drawing/2014/main" id="{79CE2D98-CFDB-4C2B-96DC-F6755FB8AEE0}"/>
              </a:ext>
            </a:extLst>
          </p:cNvPr>
          <p:cNvSpPr txBox="1"/>
          <p:nvPr/>
        </p:nvSpPr>
        <p:spPr>
          <a:xfrm>
            <a:off x="2415776" y="2159175"/>
            <a:ext cx="1737360" cy="7694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srgbClr val="FFFFFF"/>
                </a:solidFill>
                <a:effectLst/>
                <a:uLnTx/>
                <a:uFillTx/>
                <a:ea typeface="+mn-ea"/>
              </a:rPr>
              <a:t>Localiser la défaillance (cartographie sur site / référentiel des actif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ea typeface="+mn-ea"/>
                <a:cs typeface="DIN Next LT Pro Condensed"/>
              </a:rPr>
              <a:t>TRACKING</a:t>
            </a:r>
            <a:endParaRPr kumimoji="0" lang="fr-FR" sz="1800" b="1" i="0" u="none" strike="noStrike" kern="1200" cap="none" spc="0" normalizeH="0" baseline="0" noProof="0">
              <a:ln>
                <a:noFill/>
              </a:ln>
              <a:solidFill>
                <a:srgbClr val="FFFFFF"/>
              </a:solidFill>
              <a:effectLst/>
              <a:uLnTx/>
              <a:uFillTx/>
              <a:ea typeface="+mn-ea"/>
              <a:cs typeface="DIN Next LT Pro Condensed"/>
            </a:endParaRPr>
          </a:p>
        </p:txBody>
      </p:sp>
      <p:sp>
        <p:nvSpPr>
          <p:cNvPr id="15" name="ZoneTexte 53">
            <a:extLst>
              <a:ext uri="{FF2B5EF4-FFF2-40B4-BE49-F238E27FC236}">
                <a16:creationId xmlns:a16="http://schemas.microsoft.com/office/drawing/2014/main" id="{408B7E01-6584-4252-8C8A-D6E2516297EF}"/>
              </a:ext>
            </a:extLst>
          </p:cNvPr>
          <p:cNvSpPr txBox="1"/>
          <p:nvPr/>
        </p:nvSpPr>
        <p:spPr>
          <a:xfrm>
            <a:off x="6998403" y="2159175"/>
            <a:ext cx="1737360" cy="7694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srgbClr val="FFFFFF"/>
                </a:solidFill>
                <a:effectLst/>
                <a:uLnTx/>
                <a:uFillTx/>
                <a:ea typeface="+mn-ea"/>
              </a:rPr>
              <a:t>Produire  des lignes directrices sur les intervention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ea typeface="+mn-ea"/>
                <a:cs typeface="DIN Next LT Pro Condensed"/>
              </a:rPr>
              <a:t>DIRECTIVES</a:t>
            </a:r>
          </a:p>
        </p:txBody>
      </p:sp>
      <p:sp>
        <p:nvSpPr>
          <p:cNvPr id="16" name="ZoneTexte 54">
            <a:extLst>
              <a:ext uri="{FF2B5EF4-FFF2-40B4-BE49-F238E27FC236}">
                <a16:creationId xmlns:a16="http://schemas.microsoft.com/office/drawing/2014/main" id="{38BAD5A0-966C-44E7-9588-C108AEB64CD3}"/>
              </a:ext>
            </a:extLst>
          </p:cNvPr>
          <p:cNvSpPr txBox="1"/>
          <p:nvPr/>
        </p:nvSpPr>
        <p:spPr>
          <a:xfrm>
            <a:off x="4694956" y="2159175"/>
            <a:ext cx="1737360"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i="0" u="none" strike="noStrike" kern="1200" cap="none" spc="0" normalizeH="0" baseline="0" noProof="0">
                <a:ln>
                  <a:noFill/>
                </a:ln>
                <a:solidFill>
                  <a:srgbClr val="FFFFFF"/>
                </a:solidFill>
                <a:effectLst/>
                <a:uLnTx/>
                <a:uFillTx/>
                <a:ea typeface="+mn-ea"/>
                <a:cs typeface="DIN Next LT Pro Condensed"/>
              </a:rPr>
              <a:t>Identifier le bon technicien / compétence / emplaceme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ea typeface="+mn-ea"/>
                <a:cs typeface="DIN Next LT Pro Condensed"/>
              </a:rPr>
              <a:t>AFFECTATION</a:t>
            </a:r>
            <a:endParaRPr kumimoji="0" lang="fr-FR" sz="1800" b="1" i="0" u="none" strike="noStrike" kern="1200" cap="none" spc="0" normalizeH="0" baseline="0" noProof="0">
              <a:ln>
                <a:noFill/>
              </a:ln>
              <a:solidFill>
                <a:srgbClr val="FFFFFF"/>
              </a:solidFill>
              <a:effectLst/>
              <a:uLnTx/>
              <a:uFillTx/>
              <a:ea typeface="+mn-ea"/>
              <a:cs typeface="DIN Next LT Pro Condensed"/>
            </a:endParaRPr>
          </a:p>
        </p:txBody>
      </p:sp>
      <p:sp>
        <p:nvSpPr>
          <p:cNvPr id="17" name="ZoneTexte 55">
            <a:extLst>
              <a:ext uri="{FF2B5EF4-FFF2-40B4-BE49-F238E27FC236}">
                <a16:creationId xmlns:a16="http://schemas.microsoft.com/office/drawing/2014/main" id="{2FAEE950-D96E-439B-8C72-05A35C5325FA}"/>
              </a:ext>
            </a:extLst>
          </p:cNvPr>
          <p:cNvSpPr txBox="1"/>
          <p:nvPr/>
        </p:nvSpPr>
        <p:spPr>
          <a:xfrm>
            <a:off x="5830562" y="4784728"/>
            <a:ext cx="1737360" cy="107721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ea typeface="+mn-ea"/>
                <a:cs typeface="DIN Next LT Pro Condensed"/>
              </a:rPr>
              <a:t>ACTION</a:t>
            </a:r>
          </a:p>
          <a:p>
            <a:pPr marL="0" marR="0" lvl="0" indent="0" algn="ctr" defTabSz="89535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srgbClr val="FFFFFF"/>
                </a:solidFill>
                <a:effectLst/>
                <a:uLnTx/>
                <a:uFillTx/>
                <a:ea typeface="+mn-ea"/>
              </a:rPr>
              <a:t>Enregistrer des problèmes et des défaillances pour soutenir le processus de prise de décision.</a:t>
            </a:r>
          </a:p>
        </p:txBody>
      </p:sp>
      <p:grpSp>
        <p:nvGrpSpPr>
          <p:cNvPr id="18" name="Groupe 60">
            <a:extLst>
              <a:ext uri="{FF2B5EF4-FFF2-40B4-BE49-F238E27FC236}">
                <a16:creationId xmlns:a16="http://schemas.microsoft.com/office/drawing/2014/main" id="{32B82584-83B2-4C9C-BDB7-82DDAA36E40A}"/>
              </a:ext>
            </a:extLst>
          </p:cNvPr>
          <p:cNvGrpSpPr>
            <a:grpSpLocks noChangeAspect="1"/>
          </p:cNvGrpSpPr>
          <p:nvPr/>
        </p:nvGrpSpPr>
        <p:grpSpPr>
          <a:xfrm>
            <a:off x="1763937" y="3470869"/>
            <a:ext cx="710084" cy="662400"/>
            <a:chOff x="6983413" y="5300663"/>
            <a:chExt cx="874713" cy="815975"/>
          </a:xfrm>
        </p:grpSpPr>
        <p:sp>
          <p:nvSpPr>
            <p:cNvPr id="19" name="Freeform 111">
              <a:extLst>
                <a:ext uri="{FF2B5EF4-FFF2-40B4-BE49-F238E27FC236}">
                  <a16:creationId xmlns:a16="http://schemas.microsoft.com/office/drawing/2014/main" id="{299624D2-7F59-4D5B-B8DF-AE204C606365}"/>
                </a:ext>
              </a:extLst>
            </p:cNvPr>
            <p:cNvSpPr>
              <a:spLocks/>
            </p:cNvSpPr>
            <p:nvPr/>
          </p:nvSpPr>
          <p:spPr bwMode="auto">
            <a:xfrm>
              <a:off x="6983413" y="5300663"/>
              <a:ext cx="874713" cy="815975"/>
            </a:xfrm>
            <a:custGeom>
              <a:avLst/>
              <a:gdLst>
                <a:gd name="T0" fmla="*/ 34 w 233"/>
                <a:gd name="T1" fmla="*/ 170 h 217"/>
                <a:gd name="T2" fmla="*/ 56 w 233"/>
                <a:gd name="T3" fmla="*/ 33 h 217"/>
                <a:gd name="T4" fmla="*/ 199 w 233"/>
                <a:gd name="T5" fmla="*/ 53 h 217"/>
                <a:gd name="T6" fmla="*/ 173 w 233"/>
                <a:gd name="T7" fmla="*/ 185 h 217"/>
                <a:gd name="T8" fmla="*/ 34 w 233"/>
                <a:gd name="T9" fmla="*/ 170 h 217"/>
              </a:gdLst>
              <a:ahLst/>
              <a:cxnLst>
                <a:cxn ang="0">
                  <a:pos x="T0" y="T1"/>
                </a:cxn>
                <a:cxn ang="0">
                  <a:pos x="T2" y="T3"/>
                </a:cxn>
                <a:cxn ang="0">
                  <a:pos x="T4" y="T5"/>
                </a:cxn>
                <a:cxn ang="0">
                  <a:pos x="T6" y="T7"/>
                </a:cxn>
                <a:cxn ang="0">
                  <a:pos x="T8" y="T9"/>
                </a:cxn>
              </a:cxnLst>
              <a:rect l="0" t="0" r="r" b="b"/>
              <a:pathLst>
                <a:path w="233" h="217">
                  <a:moveTo>
                    <a:pt x="34" y="170"/>
                  </a:moveTo>
                  <a:cubicBezTo>
                    <a:pt x="0" y="126"/>
                    <a:pt x="10" y="65"/>
                    <a:pt x="56" y="33"/>
                  </a:cubicBezTo>
                  <a:cubicBezTo>
                    <a:pt x="102" y="0"/>
                    <a:pt x="166" y="9"/>
                    <a:pt x="199" y="53"/>
                  </a:cubicBezTo>
                  <a:cubicBezTo>
                    <a:pt x="233" y="96"/>
                    <a:pt x="219" y="153"/>
                    <a:pt x="173" y="185"/>
                  </a:cubicBezTo>
                  <a:cubicBezTo>
                    <a:pt x="128" y="217"/>
                    <a:pt x="67" y="213"/>
                    <a:pt x="34" y="170"/>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grpSp>
          <p:nvGrpSpPr>
            <p:cNvPr id="20" name="Groupe 62">
              <a:extLst>
                <a:ext uri="{FF2B5EF4-FFF2-40B4-BE49-F238E27FC236}">
                  <a16:creationId xmlns:a16="http://schemas.microsoft.com/office/drawing/2014/main" id="{8A17B671-F24A-4010-B2CD-D52FC0DD98E2}"/>
                </a:ext>
              </a:extLst>
            </p:cNvPr>
            <p:cNvGrpSpPr/>
            <p:nvPr/>
          </p:nvGrpSpPr>
          <p:grpSpPr>
            <a:xfrm>
              <a:off x="7350126" y="5470526"/>
              <a:ext cx="136525" cy="465137"/>
              <a:chOff x="7350126" y="5470526"/>
              <a:chExt cx="136525" cy="465137"/>
            </a:xfrm>
          </p:grpSpPr>
          <p:sp>
            <p:nvSpPr>
              <p:cNvPr id="21" name="Freeform 112">
                <a:extLst>
                  <a:ext uri="{FF2B5EF4-FFF2-40B4-BE49-F238E27FC236}">
                    <a16:creationId xmlns:a16="http://schemas.microsoft.com/office/drawing/2014/main" id="{CD7C4DEC-DC6C-4E16-A150-224403301F49}"/>
                  </a:ext>
                </a:extLst>
              </p:cNvPr>
              <p:cNvSpPr>
                <a:spLocks/>
              </p:cNvSpPr>
              <p:nvPr/>
            </p:nvSpPr>
            <p:spPr bwMode="auto">
              <a:xfrm>
                <a:off x="7369176" y="5470526"/>
                <a:ext cx="98425" cy="322263"/>
              </a:xfrm>
              <a:custGeom>
                <a:avLst/>
                <a:gdLst>
                  <a:gd name="T0" fmla="*/ 0 w 26"/>
                  <a:gd name="T1" fmla="*/ 12 h 86"/>
                  <a:gd name="T2" fmla="*/ 26 w 26"/>
                  <a:gd name="T3" fmla="*/ 9 h 86"/>
                  <a:gd name="T4" fmla="*/ 26 w 26"/>
                  <a:gd name="T5" fmla="*/ 38 h 86"/>
                  <a:gd name="T6" fmla="*/ 25 w 26"/>
                  <a:gd name="T7" fmla="*/ 63 h 86"/>
                  <a:gd name="T8" fmla="*/ 22 w 26"/>
                  <a:gd name="T9" fmla="*/ 86 h 86"/>
                  <a:gd name="T10" fmla="*/ 4 w 26"/>
                  <a:gd name="T11" fmla="*/ 86 h 86"/>
                  <a:gd name="T12" fmla="*/ 1 w 26"/>
                  <a:gd name="T13" fmla="*/ 63 h 86"/>
                  <a:gd name="T14" fmla="*/ 0 w 26"/>
                  <a:gd name="T15" fmla="*/ 38 h 86"/>
                  <a:gd name="T16" fmla="*/ 0 w 26"/>
                  <a:gd name="T17" fmla="*/ 16 h 86"/>
                  <a:gd name="T18" fmla="*/ 0 w 26"/>
                  <a:gd name="T19" fmla="*/ 1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86">
                    <a:moveTo>
                      <a:pt x="0" y="12"/>
                    </a:moveTo>
                    <a:cubicBezTo>
                      <a:pt x="0" y="0"/>
                      <a:pt x="25" y="9"/>
                      <a:pt x="26" y="9"/>
                    </a:cubicBezTo>
                    <a:cubicBezTo>
                      <a:pt x="26" y="11"/>
                      <a:pt x="26" y="38"/>
                      <a:pt x="26" y="38"/>
                    </a:cubicBezTo>
                    <a:cubicBezTo>
                      <a:pt x="26" y="47"/>
                      <a:pt x="26" y="55"/>
                      <a:pt x="25" y="63"/>
                    </a:cubicBezTo>
                    <a:cubicBezTo>
                      <a:pt x="24" y="70"/>
                      <a:pt x="23" y="78"/>
                      <a:pt x="22" y="86"/>
                    </a:cubicBezTo>
                    <a:cubicBezTo>
                      <a:pt x="4" y="86"/>
                      <a:pt x="4" y="86"/>
                      <a:pt x="4" y="86"/>
                    </a:cubicBezTo>
                    <a:cubicBezTo>
                      <a:pt x="2" y="78"/>
                      <a:pt x="2" y="70"/>
                      <a:pt x="1" y="63"/>
                    </a:cubicBezTo>
                    <a:cubicBezTo>
                      <a:pt x="0" y="55"/>
                      <a:pt x="0" y="47"/>
                      <a:pt x="0" y="38"/>
                    </a:cubicBezTo>
                    <a:cubicBezTo>
                      <a:pt x="0" y="16"/>
                      <a:pt x="0" y="16"/>
                      <a:pt x="0" y="16"/>
                    </a:cubicBezTo>
                    <a:cubicBezTo>
                      <a:pt x="0" y="16"/>
                      <a:pt x="0" y="19"/>
                      <a:pt x="0" y="12"/>
                    </a:cubicBezTo>
                    <a:close/>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22" name="Freeform 113">
                <a:extLst>
                  <a:ext uri="{FF2B5EF4-FFF2-40B4-BE49-F238E27FC236}">
                    <a16:creationId xmlns:a16="http://schemas.microsoft.com/office/drawing/2014/main" id="{78F6D47D-03A4-47C2-9B9F-5A8D3910003B}"/>
                  </a:ext>
                </a:extLst>
              </p:cNvPr>
              <p:cNvSpPr>
                <a:spLocks/>
              </p:cNvSpPr>
              <p:nvPr/>
            </p:nvSpPr>
            <p:spPr bwMode="auto">
              <a:xfrm>
                <a:off x="7350126" y="5811838"/>
                <a:ext cx="136525" cy="123825"/>
              </a:xfrm>
              <a:custGeom>
                <a:avLst/>
                <a:gdLst>
                  <a:gd name="T0" fmla="*/ 5 w 36"/>
                  <a:gd name="T1" fmla="*/ 25 h 33"/>
                  <a:gd name="T2" fmla="*/ 9 w 36"/>
                  <a:gd name="T3" fmla="*/ 5 h 33"/>
                  <a:gd name="T4" fmla="*/ 30 w 36"/>
                  <a:gd name="T5" fmla="*/ 8 h 33"/>
                  <a:gd name="T6" fmla="*/ 27 w 36"/>
                  <a:gd name="T7" fmla="*/ 28 h 33"/>
                  <a:gd name="T8" fmla="*/ 5 w 36"/>
                  <a:gd name="T9" fmla="*/ 25 h 33"/>
                </a:gdLst>
                <a:ahLst/>
                <a:cxnLst>
                  <a:cxn ang="0">
                    <a:pos x="T0" y="T1"/>
                  </a:cxn>
                  <a:cxn ang="0">
                    <a:pos x="T2" y="T3"/>
                  </a:cxn>
                  <a:cxn ang="0">
                    <a:pos x="T4" y="T5"/>
                  </a:cxn>
                  <a:cxn ang="0">
                    <a:pos x="T6" y="T7"/>
                  </a:cxn>
                  <a:cxn ang="0">
                    <a:pos x="T8" y="T9"/>
                  </a:cxn>
                </a:cxnLst>
                <a:rect l="0" t="0" r="r" b="b"/>
                <a:pathLst>
                  <a:path w="36" h="33">
                    <a:moveTo>
                      <a:pt x="5" y="25"/>
                    </a:moveTo>
                    <a:cubicBezTo>
                      <a:pt x="0" y="19"/>
                      <a:pt x="2" y="9"/>
                      <a:pt x="9" y="5"/>
                    </a:cubicBezTo>
                    <a:cubicBezTo>
                      <a:pt x="16" y="0"/>
                      <a:pt x="25" y="1"/>
                      <a:pt x="30" y="8"/>
                    </a:cubicBezTo>
                    <a:cubicBezTo>
                      <a:pt x="36" y="14"/>
                      <a:pt x="33" y="23"/>
                      <a:pt x="27" y="28"/>
                    </a:cubicBezTo>
                    <a:cubicBezTo>
                      <a:pt x="20" y="33"/>
                      <a:pt x="10" y="32"/>
                      <a:pt x="5" y="25"/>
                    </a:cubicBezTo>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grpSp>
      </p:grpSp>
      <p:grpSp>
        <p:nvGrpSpPr>
          <p:cNvPr id="23" name="Groupe 68">
            <a:extLst>
              <a:ext uri="{FF2B5EF4-FFF2-40B4-BE49-F238E27FC236}">
                <a16:creationId xmlns:a16="http://schemas.microsoft.com/office/drawing/2014/main" id="{32AA76DE-6B63-478A-ABA4-166A20926479}"/>
              </a:ext>
            </a:extLst>
          </p:cNvPr>
          <p:cNvGrpSpPr/>
          <p:nvPr/>
        </p:nvGrpSpPr>
        <p:grpSpPr>
          <a:xfrm>
            <a:off x="2965472" y="3496764"/>
            <a:ext cx="637969" cy="629130"/>
            <a:chOff x="4668001" y="2009948"/>
            <a:chExt cx="701669" cy="684000"/>
          </a:xfrm>
        </p:grpSpPr>
        <p:sp>
          <p:nvSpPr>
            <p:cNvPr id="24" name="Freeform 43">
              <a:extLst>
                <a:ext uri="{FF2B5EF4-FFF2-40B4-BE49-F238E27FC236}">
                  <a16:creationId xmlns:a16="http://schemas.microsoft.com/office/drawing/2014/main" id="{560937FD-1B1D-4C37-BDE8-9AE6610642F2}"/>
                </a:ext>
              </a:extLst>
            </p:cNvPr>
            <p:cNvSpPr>
              <a:spLocks/>
            </p:cNvSpPr>
            <p:nvPr/>
          </p:nvSpPr>
          <p:spPr bwMode="auto">
            <a:xfrm>
              <a:off x="4668001" y="2009948"/>
              <a:ext cx="701669" cy="684000"/>
            </a:xfrm>
            <a:custGeom>
              <a:avLst/>
              <a:gdLst>
                <a:gd name="T0" fmla="*/ 0 w 261"/>
                <a:gd name="T1" fmla="*/ 124 h 251"/>
                <a:gd name="T2" fmla="*/ 130 w 261"/>
                <a:gd name="T3" fmla="*/ 0 h 251"/>
                <a:gd name="T4" fmla="*/ 261 w 261"/>
                <a:gd name="T5" fmla="*/ 124 h 251"/>
                <a:gd name="T6" fmla="*/ 130 w 261"/>
                <a:gd name="T7" fmla="*/ 247 h 251"/>
                <a:gd name="T8" fmla="*/ 0 w 261"/>
                <a:gd name="T9" fmla="*/ 124 h 251"/>
              </a:gdLst>
              <a:ahLst/>
              <a:cxnLst>
                <a:cxn ang="0">
                  <a:pos x="T0" y="T1"/>
                </a:cxn>
                <a:cxn ang="0">
                  <a:pos x="T2" y="T3"/>
                </a:cxn>
                <a:cxn ang="0">
                  <a:pos x="T4" y="T5"/>
                </a:cxn>
                <a:cxn ang="0">
                  <a:pos x="T6" y="T7"/>
                </a:cxn>
                <a:cxn ang="0">
                  <a:pos x="T8" y="T9"/>
                </a:cxn>
              </a:cxnLst>
              <a:rect l="0" t="0" r="r" b="b"/>
              <a:pathLst>
                <a:path w="261" h="251">
                  <a:moveTo>
                    <a:pt x="0" y="124"/>
                  </a:moveTo>
                  <a:cubicBezTo>
                    <a:pt x="0" y="56"/>
                    <a:pt x="61" y="2"/>
                    <a:pt x="130" y="0"/>
                  </a:cubicBezTo>
                  <a:cubicBezTo>
                    <a:pt x="208" y="0"/>
                    <a:pt x="261" y="56"/>
                    <a:pt x="261" y="124"/>
                  </a:cubicBezTo>
                  <a:cubicBezTo>
                    <a:pt x="261" y="192"/>
                    <a:pt x="186" y="243"/>
                    <a:pt x="130" y="247"/>
                  </a:cubicBezTo>
                  <a:cubicBezTo>
                    <a:pt x="52" y="251"/>
                    <a:pt x="0" y="192"/>
                    <a:pt x="0" y="124"/>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25" name="Freeform 6">
              <a:extLst>
                <a:ext uri="{FF2B5EF4-FFF2-40B4-BE49-F238E27FC236}">
                  <a16:creationId xmlns:a16="http://schemas.microsoft.com/office/drawing/2014/main" id="{D7F2B2C1-F705-4E77-80CA-CC80ABF19661}"/>
                </a:ext>
              </a:extLst>
            </p:cNvPr>
            <p:cNvSpPr>
              <a:spLocks noChangeAspect="1" noEditPoints="1"/>
            </p:cNvSpPr>
            <p:nvPr/>
          </p:nvSpPr>
          <p:spPr bwMode="auto">
            <a:xfrm>
              <a:off x="4860116" y="2133000"/>
              <a:ext cx="371884" cy="432000"/>
            </a:xfrm>
            <a:custGeom>
              <a:avLst/>
              <a:gdLst>
                <a:gd name="T0" fmla="*/ 373 w 568"/>
                <a:gd name="T1" fmla="*/ 637 h 637"/>
                <a:gd name="T2" fmla="*/ 70 w 568"/>
                <a:gd name="T3" fmla="*/ 371 h 637"/>
                <a:gd name="T4" fmla="*/ 93 w 568"/>
                <a:gd name="T5" fmla="*/ 200 h 637"/>
                <a:gd name="T6" fmla="*/ 96 w 568"/>
                <a:gd name="T7" fmla="*/ 197 h 637"/>
                <a:gd name="T8" fmla="*/ 223 w 568"/>
                <a:gd name="T9" fmla="*/ 293 h 637"/>
                <a:gd name="T10" fmla="*/ 165 w 568"/>
                <a:gd name="T11" fmla="*/ 366 h 637"/>
                <a:gd name="T12" fmla="*/ 326 w 568"/>
                <a:gd name="T13" fmla="*/ 510 h 637"/>
                <a:gd name="T14" fmla="*/ 373 w 568"/>
                <a:gd name="T15" fmla="*/ 637 h 637"/>
                <a:gd name="T16" fmla="*/ 116 w 568"/>
                <a:gd name="T17" fmla="*/ 58 h 637"/>
                <a:gd name="T18" fmla="*/ 85 w 568"/>
                <a:gd name="T19" fmla="*/ 126 h 637"/>
                <a:gd name="T20" fmla="*/ 58 w 568"/>
                <a:gd name="T21" fmla="*/ 181 h 637"/>
                <a:gd name="T22" fmla="*/ 31 w 568"/>
                <a:gd name="T23" fmla="*/ 126 h 637"/>
                <a:gd name="T24" fmla="*/ 0 w 568"/>
                <a:gd name="T25" fmla="*/ 58 h 637"/>
                <a:gd name="T26" fmla="*/ 58 w 568"/>
                <a:gd name="T27" fmla="*/ 0 h 637"/>
                <a:gd name="T28" fmla="*/ 58 w 568"/>
                <a:gd name="T29" fmla="*/ 0 h 637"/>
                <a:gd name="T30" fmla="*/ 58 w 568"/>
                <a:gd name="T31" fmla="*/ 0 h 637"/>
                <a:gd name="T32" fmla="*/ 116 w 568"/>
                <a:gd name="T33" fmla="*/ 58 h 637"/>
                <a:gd name="T34" fmla="*/ 89 w 568"/>
                <a:gd name="T35" fmla="*/ 58 h 637"/>
                <a:gd name="T36" fmla="*/ 58 w 568"/>
                <a:gd name="T37" fmla="*/ 27 h 637"/>
                <a:gd name="T38" fmla="*/ 27 w 568"/>
                <a:gd name="T39" fmla="*/ 58 h 637"/>
                <a:gd name="T40" fmla="*/ 58 w 568"/>
                <a:gd name="T41" fmla="*/ 89 h 637"/>
                <a:gd name="T42" fmla="*/ 89 w 568"/>
                <a:gd name="T43" fmla="*/ 58 h 637"/>
                <a:gd name="T44" fmla="*/ 568 w 568"/>
                <a:gd name="T45" fmla="*/ 377 h 637"/>
                <a:gd name="T46" fmla="*/ 502 w 568"/>
                <a:gd name="T47" fmla="*/ 520 h 637"/>
                <a:gd name="T48" fmla="*/ 447 w 568"/>
                <a:gd name="T49" fmla="*/ 635 h 637"/>
                <a:gd name="T50" fmla="*/ 391 w 568"/>
                <a:gd name="T51" fmla="*/ 520 h 637"/>
                <a:gd name="T52" fmla="*/ 326 w 568"/>
                <a:gd name="T53" fmla="*/ 377 h 637"/>
                <a:gd name="T54" fmla="*/ 447 w 568"/>
                <a:gd name="T55" fmla="*/ 256 h 637"/>
                <a:gd name="T56" fmla="*/ 447 w 568"/>
                <a:gd name="T57" fmla="*/ 256 h 637"/>
                <a:gd name="T58" fmla="*/ 447 w 568"/>
                <a:gd name="T59" fmla="*/ 256 h 637"/>
                <a:gd name="T60" fmla="*/ 568 w 568"/>
                <a:gd name="T61" fmla="*/ 377 h 637"/>
                <a:gd name="T62" fmla="*/ 511 w 568"/>
                <a:gd name="T63" fmla="*/ 377 h 637"/>
                <a:gd name="T64" fmla="*/ 447 w 568"/>
                <a:gd name="T65" fmla="*/ 313 h 637"/>
                <a:gd name="T66" fmla="*/ 383 w 568"/>
                <a:gd name="T67" fmla="*/ 377 h 637"/>
                <a:gd name="T68" fmla="*/ 447 w 568"/>
                <a:gd name="T69" fmla="*/ 441 h 637"/>
                <a:gd name="T70" fmla="*/ 511 w 568"/>
                <a:gd name="T71" fmla="*/ 377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68" h="637">
                  <a:moveTo>
                    <a:pt x="373" y="637"/>
                  </a:moveTo>
                  <a:cubicBezTo>
                    <a:pt x="1" y="637"/>
                    <a:pt x="0" y="440"/>
                    <a:pt x="70" y="371"/>
                  </a:cubicBezTo>
                  <a:cubicBezTo>
                    <a:pt x="132" y="309"/>
                    <a:pt x="245" y="299"/>
                    <a:pt x="93" y="200"/>
                  </a:cubicBezTo>
                  <a:cubicBezTo>
                    <a:pt x="94" y="199"/>
                    <a:pt x="95" y="198"/>
                    <a:pt x="96" y="197"/>
                  </a:cubicBezTo>
                  <a:cubicBezTo>
                    <a:pt x="200" y="236"/>
                    <a:pt x="223" y="250"/>
                    <a:pt x="223" y="293"/>
                  </a:cubicBezTo>
                  <a:cubicBezTo>
                    <a:pt x="223" y="317"/>
                    <a:pt x="191" y="340"/>
                    <a:pt x="165" y="366"/>
                  </a:cubicBezTo>
                  <a:cubicBezTo>
                    <a:pt x="103" y="428"/>
                    <a:pt x="109" y="520"/>
                    <a:pt x="326" y="510"/>
                  </a:cubicBezTo>
                  <a:cubicBezTo>
                    <a:pt x="339" y="534"/>
                    <a:pt x="373" y="637"/>
                    <a:pt x="373" y="637"/>
                  </a:cubicBezTo>
                  <a:close/>
                  <a:moveTo>
                    <a:pt x="116" y="58"/>
                  </a:moveTo>
                  <a:cubicBezTo>
                    <a:pt x="116" y="88"/>
                    <a:pt x="97" y="99"/>
                    <a:pt x="85" y="126"/>
                  </a:cubicBezTo>
                  <a:cubicBezTo>
                    <a:pt x="69" y="162"/>
                    <a:pt x="70" y="181"/>
                    <a:pt x="58" y="181"/>
                  </a:cubicBezTo>
                  <a:cubicBezTo>
                    <a:pt x="46" y="181"/>
                    <a:pt x="47" y="162"/>
                    <a:pt x="31" y="126"/>
                  </a:cubicBezTo>
                  <a:cubicBezTo>
                    <a:pt x="19" y="99"/>
                    <a:pt x="0" y="88"/>
                    <a:pt x="0" y="58"/>
                  </a:cubicBezTo>
                  <a:cubicBezTo>
                    <a:pt x="0" y="28"/>
                    <a:pt x="25" y="0"/>
                    <a:pt x="58" y="0"/>
                  </a:cubicBezTo>
                  <a:cubicBezTo>
                    <a:pt x="58" y="0"/>
                    <a:pt x="58" y="0"/>
                    <a:pt x="58" y="0"/>
                  </a:cubicBezTo>
                  <a:cubicBezTo>
                    <a:pt x="58" y="0"/>
                    <a:pt x="58" y="0"/>
                    <a:pt x="58" y="0"/>
                  </a:cubicBezTo>
                  <a:cubicBezTo>
                    <a:pt x="91" y="0"/>
                    <a:pt x="116" y="28"/>
                    <a:pt x="116" y="58"/>
                  </a:cubicBezTo>
                  <a:close/>
                  <a:moveTo>
                    <a:pt x="89" y="58"/>
                  </a:moveTo>
                  <a:cubicBezTo>
                    <a:pt x="89" y="41"/>
                    <a:pt x="75" y="27"/>
                    <a:pt x="58" y="27"/>
                  </a:cubicBezTo>
                  <a:cubicBezTo>
                    <a:pt x="41" y="27"/>
                    <a:pt x="27" y="41"/>
                    <a:pt x="27" y="58"/>
                  </a:cubicBezTo>
                  <a:cubicBezTo>
                    <a:pt x="27" y="75"/>
                    <a:pt x="41" y="89"/>
                    <a:pt x="58" y="89"/>
                  </a:cubicBezTo>
                  <a:cubicBezTo>
                    <a:pt x="75" y="89"/>
                    <a:pt x="89" y="75"/>
                    <a:pt x="89" y="58"/>
                  </a:cubicBezTo>
                  <a:close/>
                  <a:moveTo>
                    <a:pt x="568" y="377"/>
                  </a:moveTo>
                  <a:cubicBezTo>
                    <a:pt x="568" y="439"/>
                    <a:pt x="528" y="462"/>
                    <a:pt x="502" y="520"/>
                  </a:cubicBezTo>
                  <a:cubicBezTo>
                    <a:pt x="469" y="594"/>
                    <a:pt x="472" y="635"/>
                    <a:pt x="447" y="635"/>
                  </a:cubicBezTo>
                  <a:cubicBezTo>
                    <a:pt x="422" y="635"/>
                    <a:pt x="425" y="594"/>
                    <a:pt x="391" y="520"/>
                  </a:cubicBezTo>
                  <a:cubicBezTo>
                    <a:pt x="365" y="462"/>
                    <a:pt x="326" y="439"/>
                    <a:pt x="326" y="377"/>
                  </a:cubicBezTo>
                  <a:cubicBezTo>
                    <a:pt x="326" y="314"/>
                    <a:pt x="377" y="256"/>
                    <a:pt x="447" y="256"/>
                  </a:cubicBezTo>
                  <a:cubicBezTo>
                    <a:pt x="447" y="256"/>
                    <a:pt x="447" y="256"/>
                    <a:pt x="447" y="256"/>
                  </a:cubicBezTo>
                  <a:cubicBezTo>
                    <a:pt x="447" y="256"/>
                    <a:pt x="447" y="256"/>
                    <a:pt x="447" y="256"/>
                  </a:cubicBezTo>
                  <a:cubicBezTo>
                    <a:pt x="516" y="256"/>
                    <a:pt x="568" y="314"/>
                    <a:pt x="568" y="377"/>
                  </a:cubicBezTo>
                  <a:close/>
                  <a:moveTo>
                    <a:pt x="511" y="377"/>
                  </a:moveTo>
                  <a:cubicBezTo>
                    <a:pt x="511" y="342"/>
                    <a:pt x="482" y="313"/>
                    <a:pt x="447" y="313"/>
                  </a:cubicBezTo>
                  <a:cubicBezTo>
                    <a:pt x="411" y="313"/>
                    <a:pt x="383" y="342"/>
                    <a:pt x="383" y="377"/>
                  </a:cubicBezTo>
                  <a:cubicBezTo>
                    <a:pt x="383" y="412"/>
                    <a:pt x="411" y="441"/>
                    <a:pt x="447" y="441"/>
                  </a:cubicBezTo>
                  <a:cubicBezTo>
                    <a:pt x="482" y="441"/>
                    <a:pt x="511" y="413"/>
                    <a:pt x="511" y="37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1200" cap="none" spc="0" normalizeH="0" baseline="0" noProof="0">
                <a:ln>
                  <a:noFill/>
                </a:ln>
                <a:solidFill>
                  <a:prstClr val="black"/>
                </a:solidFill>
                <a:effectLst/>
                <a:uLnTx/>
                <a:uFillTx/>
                <a:ea typeface="+mn-ea"/>
                <a:cs typeface="+mn-cs"/>
              </a:endParaRPr>
            </a:p>
          </p:txBody>
        </p:sp>
      </p:grpSp>
      <p:grpSp>
        <p:nvGrpSpPr>
          <p:cNvPr id="26" name="Groupe 71">
            <a:extLst>
              <a:ext uri="{FF2B5EF4-FFF2-40B4-BE49-F238E27FC236}">
                <a16:creationId xmlns:a16="http://schemas.microsoft.com/office/drawing/2014/main" id="{91708097-CE2D-4C27-B68D-1268B108CCAA}"/>
              </a:ext>
            </a:extLst>
          </p:cNvPr>
          <p:cNvGrpSpPr>
            <a:grpSpLocks noChangeAspect="1"/>
          </p:cNvGrpSpPr>
          <p:nvPr/>
        </p:nvGrpSpPr>
        <p:grpSpPr>
          <a:xfrm>
            <a:off x="4134641" y="3499688"/>
            <a:ext cx="633720" cy="610592"/>
            <a:chOff x="2595563" y="5448301"/>
            <a:chExt cx="869950" cy="838200"/>
          </a:xfrm>
        </p:grpSpPr>
        <p:sp>
          <p:nvSpPr>
            <p:cNvPr id="27" name="Freeform 257">
              <a:extLst>
                <a:ext uri="{FF2B5EF4-FFF2-40B4-BE49-F238E27FC236}">
                  <a16:creationId xmlns:a16="http://schemas.microsoft.com/office/drawing/2014/main" id="{E31FEBEB-DB76-4368-92B8-8BDC85DC25E7}"/>
                </a:ext>
              </a:extLst>
            </p:cNvPr>
            <p:cNvSpPr>
              <a:spLocks/>
            </p:cNvSpPr>
            <p:nvPr/>
          </p:nvSpPr>
          <p:spPr bwMode="auto">
            <a:xfrm>
              <a:off x="2595563" y="5448301"/>
              <a:ext cx="869950" cy="838200"/>
            </a:xfrm>
            <a:custGeom>
              <a:avLst/>
              <a:gdLst>
                <a:gd name="T0" fmla="*/ 0 w 257"/>
                <a:gd name="T1" fmla="*/ 121 h 247"/>
                <a:gd name="T2" fmla="*/ 128 w 257"/>
                <a:gd name="T3" fmla="*/ 0 h 247"/>
                <a:gd name="T4" fmla="*/ 257 w 257"/>
                <a:gd name="T5" fmla="*/ 121 h 247"/>
                <a:gd name="T6" fmla="*/ 128 w 257"/>
                <a:gd name="T7" fmla="*/ 243 h 247"/>
                <a:gd name="T8" fmla="*/ 0 w 257"/>
                <a:gd name="T9" fmla="*/ 121 h 247"/>
              </a:gdLst>
              <a:ahLst/>
              <a:cxnLst>
                <a:cxn ang="0">
                  <a:pos x="T0" y="T1"/>
                </a:cxn>
                <a:cxn ang="0">
                  <a:pos x="T2" y="T3"/>
                </a:cxn>
                <a:cxn ang="0">
                  <a:pos x="T4" y="T5"/>
                </a:cxn>
                <a:cxn ang="0">
                  <a:pos x="T6" y="T7"/>
                </a:cxn>
                <a:cxn ang="0">
                  <a:pos x="T8" y="T9"/>
                </a:cxn>
              </a:cxnLst>
              <a:rect l="0" t="0" r="r" b="b"/>
              <a:pathLst>
                <a:path w="257" h="247">
                  <a:moveTo>
                    <a:pt x="0" y="121"/>
                  </a:moveTo>
                  <a:cubicBezTo>
                    <a:pt x="0" y="54"/>
                    <a:pt x="60" y="2"/>
                    <a:pt x="128" y="0"/>
                  </a:cubicBezTo>
                  <a:cubicBezTo>
                    <a:pt x="205" y="0"/>
                    <a:pt x="257" y="54"/>
                    <a:pt x="257" y="121"/>
                  </a:cubicBezTo>
                  <a:cubicBezTo>
                    <a:pt x="257" y="189"/>
                    <a:pt x="184" y="238"/>
                    <a:pt x="128" y="243"/>
                  </a:cubicBezTo>
                  <a:cubicBezTo>
                    <a:pt x="52" y="247"/>
                    <a:pt x="0" y="189"/>
                    <a:pt x="0" y="121"/>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grpSp>
          <p:nvGrpSpPr>
            <p:cNvPr id="28" name="Groupe 73">
              <a:extLst>
                <a:ext uri="{FF2B5EF4-FFF2-40B4-BE49-F238E27FC236}">
                  <a16:creationId xmlns:a16="http://schemas.microsoft.com/office/drawing/2014/main" id="{6E0C63B4-9149-486B-B249-196F8DC7E7AC}"/>
                </a:ext>
              </a:extLst>
            </p:cNvPr>
            <p:cNvGrpSpPr/>
            <p:nvPr/>
          </p:nvGrpSpPr>
          <p:grpSpPr>
            <a:xfrm>
              <a:off x="2738438" y="5557838"/>
              <a:ext cx="554038" cy="538163"/>
              <a:chOff x="2738438" y="5557838"/>
              <a:chExt cx="554038" cy="538163"/>
            </a:xfrm>
          </p:grpSpPr>
          <p:sp>
            <p:nvSpPr>
              <p:cNvPr id="29" name="Oval 258">
                <a:extLst>
                  <a:ext uri="{FF2B5EF4-FFF2-40B4-BE49-F238E27FC236}">
                    <a16:creationId xmlns:a16="http://schemas.microsoft.com/office/drawing/2014/main" id="{758D7CAF-444C-40B8-810D-638AB929998C}"/>
                  </a:ext>
                </a:extLst>
              </p:cNvPr>
              <p:cNvSpPr>
                <a:spLocks noChangeArrowheads="1"/>
              </p:cNvSpPr>
              <p:nvPr/>
            </p:nvSpPr>
            <p:spPr bwMode="auto">
              <a:xfrm>
                <a:off x="2947988" y="5961063"/>
                <a:ext cx="131763" cy="134938"/>
              </a:xfrm>
              <a:prstGeom prst="ellipse">
                <a:avLst/>
              </a:prstGeom>
              <a:solidFill>
                <a:srgbClr val="9AC01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30" name="Oval 259">
                <a:extLst>
                  <a:ext uri="{FF2B5EF4-FFF2-40B4-BE49-F238E27FC236}">
                    <a16:creationId xmlns:a16="http://schemas.microsoft.com/office/drawing/2014/main" id="{EEC2EA76-408C-4F98-9932-2FC56C26D65A}"/>
                  </a:ext>
                </a:extLst>
              </p:cNvPr>
              <p:cNvSpPr>
                <a:spLocks noChangeArrowheads="1"/>
              </p:cNvSpPr>
              <p:nvPr/>
            </p:nvSpPr>
            <p:spPr bwMode="auto">
              <a:xfrm>
                <a:off x="3160713" y="5961063"/>
                <a:ext cx="131763" cy="134938"/>
              </a:xfrm>
              <a:prstGeom prst="ellipse">
                <a:avLst/>
              </a:prstGeom>
              <a:solidFill>
                <a:srgbClr val="6232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31" name="Oval 260">
                <a:extLst>
                  <a:ext uri="{FF2B5EF4-FFF2-40B4-BE49-F238E27FC236}">
                    <a16:creationId xmlns:a16="http://schemas.microsoft.com/office/drawing/2014/main" id="{D1C67EA2-5B3D-4085-BF9D-D5A22E5555EA}"/>
                  </a:ext>
                </a:extLst>
              </p:cNvPr>
              <p:cNvSpPr>
                <a:spLocks noChangeArrowheads="1"/>
              </p:cNvSpPr>
              <p:nvPr/>
            </p:nvSpPr>
            <p:spPr bwMode="auto">
              <a:xfrm>
                <a:off x="2738438" y="5961063"/>
                <a:ext cx="131763" cy="134938"/>
              </a:xfrm>
              <a:prstGeom prst="ellipse">
                <a:avLst/>
              </a:prstGeom>
              <a:solidFill>
                <a:srgbClr val="0070A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32" name="Freeform 261">
                <a:extLst>
                  <a:ext uri="{FF2B5EF4-FFF2-40B4-BE49-F238E27FC236}">
                    <a16:creationId xmlns:a16="http://schemas.microsoft.com/office/drawing/2014/main" id="{4FA2E67C-9234-4C0B-986F-CD81A26D6E15}"/>
                  </a:ext>
                </a:extLst>
              </p:cNvPr>
              <p:cNvSpPr>
                <a:spLocks/>
              </p:cNvSpPr>
              <p:nvPr/>
            </p:nvSpPr>
            <p:spPr bwMode="auto">
              <a:xfrm>
                <a:off x="2757488" y="5557838"/>
                <a:ext cx="514350" cy="376238"/>
              </a:xfrm>
              <a:custGeom>
                <a:avLst/>
                <a:gdLst>
                  <a:gd name="T0" fmla="*/ 12 w 152"/>
                  <a:gd name="T1" fmla="*/ 110 h 111"/>
                  <a:gd name="T2" fmla="*/ 14 w 152"/>
                  <a:gd name="T3" fmla="*/ 110 h 111"/>
                  <a:gd name="T4" fmla="*/ 15 w 152"/>
                  <a:gd name="T5" fmla="*/ 110 h 111"/>
                  <a:gd name="T6" fmla="*/ 25 w 152"/>
                  <a:gd name="T7" fmla="*/ 96 h 111"/>
                  <a:gd name="T8" fmla="*/ 16 w 152"/>
                  <a:gd name="T9" fmla="*/ 102 h 111"/>
                  <a:gd name="T10" fmla="*/ 28 w 152"/>
                  <a:gd name="T11" fmla="*/ 73 h 111"/>
                  <a:gd name="T12" fmla="*/ 73 w 152"/>
                  <a:gd name="T13" fmla="*/ 69 h 111"/>
                  <a:gd name="T14" fmla="*/ 67 w 152"/>
                  <a:gd name="T15" fmla="*/ 96 h 111"/>
                  <a:gd name="T16" fmla="*/ 64 w 152"/>
                  <a:gd name="T17" fmla="*/ 100 h 111"/>
                  <a:gd name="T18" fmla="*/ 75 w 152"/>
                  <a:gd name="T19" fmla="*/ 110 h 111"/>
                  <a:gd name="T20" fmla="*/ 77 w 152"/>
                  <a:gd name="T21" fmla="*/ 110 h 111"/>
                  <a:gd name="T22" fmla="*/ 88 w 152"/>
                  <a:gd name="T23" fmla="*/ 100 h 111"/>
                  <a:gd name="T24" fmla="*/ 84 w 152"/>
                  <a:gd name="T25" fmla="*/ 96 h 111"/>
                  <a:gd name="T26" fmla="*/ 78 w 152"/>
                  <a:gd name="T27" fmla="*/ 69 h 111"/>
                  <a:gd name="T28" fmla="*/ 124 w 152"/>
                  <a:gd name="T29" fmla="*/ 73 h 111"/>
                  <a:gd name="T30" fmla="*/ 136 w 152"/>
                  <a:gd name="T31" fmla="*/ 102 h 111"/>
                  <a:gd name="T32" fmla="*/ 127 w 152"/>
                  <a:gd name="T33" fmla="*/ 96 h 111"/>
                  <a:gd name="T34" fmla="*/ 137 w 152"/>
                  <a:gd name="T35" fmla="*/ 110 h 111"/>
                  <a:gd name="T36" fmla="*/ 138 w 152"/>
                  <a:gd name="T37" fmla="*/ 110 h 111"/>
                  <a:gd name="T38" fmla="*/ 139 w 152"/>
                  <a:gd name="T39" fmla="*/ 110 h 111"/>
                  <a:gd name="T40" fmla="*/ 151 w 152"/>
                  <a:gd name="T41" fmla="*/ 100 h 111"/>
                  <a:gd name="T42" fmla="*/ 147 w 152"/>
                  <a:gd name="T43" fmla="*/ 96 h 111"/>
                  <a:gd name="T44" fmla="*/ 141 w 152"/>
                  <a:gd name="T45" fmla="*/ 85 h 111"/>
                  <a:gd name="T46" fmla="*/ 90 w 152"/>
                  <a:gd name="T47" fmla="*/ 68 h 111"/>
                  <a:gd name="T48" fmla="*/ 78 w 152"/>
                  <a:gd name="T49" fmla="*/ 49 h 111"/>
                  <a:gd name="T50" fmla="*/ 100 w 152"/>
                  <a:gd name="T51" fmla="*/ 24 h 111"/>
                  <a:gd name="T52" fmla="*/ 51 w 152"/>
                  <a:gd name="T53" fmla="*/ 24 h 111"/>
                  <a:gd name="T54" fmla="*/ 73 w 152"/>
                  <a:gd name="T55" fmla="*/ 49 h 111"/>
                  <a:gd name="T56" fmla="*/ 61 w 152"/>
                  <a:gd name="T57" fmla="*/ 68 h 111"/>
                  <a:gd name="T58" fmla="*/ 11 w 152"/>
                  <a:gd name="T59" fmla="*/ 85 h 111"/>
                  <a:gd name="T60" fmla="*/ 5 w 152"/>
                  <a:gd name="T61" fmla="*/ 96 h 111"/>
                  <a:gd name="T62" fmla="*/ 1 w 152"/>
                  <a:gd name="T63" fmla="*/ 100 h 111"/>
                  <a:gd name="T64" fmla="*/ 11 w 152"/>
                  <a:gd name="T65" fmla="*/ 11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2" h="111">
                    <a:moveTo>
                      <a:pt x="11" y="110"/>
                    </a:moveTo>
                    <a:cubicBezTo>
                      <a:pt x="12" y="110"/>
                      <a:pt x="12" y="110"/>
                      <a:pt x="12" y="110"/>
                    </a:cubicBezTo>
                    <a:cubicBezTo>
                      <a:pt x="13" y="111"/>
                      <a:pt x="13" y="111"/>
                      <a:pt x="13" y="111"/>
                    </a:cubicBezTo>
                    <a:cubicBezTo>
                      <a:pt x="14" y="111"/>
                      <a:pt x="14" y="111"/>
                      <a:pt x="14" y="110"/>
                    </a:cubicBezTo>
                    <a:cubicBezTo>
                      <a:pt x="14" y="110"/>
                      <a:pt x="15" y="110"/>
                      <a:pt x="15" y="110"/>
                    </a:cubicBezTo>
                    <a:cubicBezTo>
                      <a:pt x="15" y="110"/>
                      <a:pt x="15" y="110"/>
                      <a:pt x="15" y="110"/>
                    </a:cubicBezTo>
                    <a:cubicBezTo>
                      <a:pt x="25" y="100"/>
                      <a:pt x="25" y="100"/>
                      <a:pt x="25" y="100"/>
                    </a:cubicBezTo>
                    <a:cubicBezTo>
                      <a:pt x="26" y="99"/>
                      <a:pt x="26" y="97"/>
                      <a:pt x="25" y="96"/>
                    </a:cubicBezTo>
                    <a:cubicBezTo>
                      <a:pt x="24" y="95"/>
                      <a:pt x="23" y="95"/>
                      <a:pt x="22" y="96"/>
                    </a:cubicBezTo>
                    <a:cubicBezTo>
                      <a:pt x="16" y="102"/>
                      <a:pt x="16" y="102"/>
                      <a:pt x="16" y="102"/>
                    </a:cubicBezTo>
                    <a:cubicBezTo>
                      <a:pt x="16" y="85"/>
                      <a:pt x="16" y="85"/>
                      <a:pt x="16" y="85"/>
                    </a:cubicBezTo>
                    <a:cubicBezTo>
                      <a:pt x="16" y="78"/>
                      <a:pt x="21" y="73"/>
                      <a:pt x="28" y="73"/>
                    </a:cubicBezTo>
                    <a:cubicBezTo>
                      <a:pt x="61" y="73"/>
                      <a:pt x="61" y="73"/>
                      <a:pt x="61" y="73"/>
                    </a:cubicBezTo>
                    <a:cubicBezTo>
                      <a:pt x="66" y="73"/>
                      <a:pt x="70" y="71"/>
                      <a:pt x="73" y="69"/>
                    </a:cubicBezTo>
                    <a:cubicBezTo>
                      <a:pt x="73" y="102"/>
                      <a:pt x="73" y="102"/>
                      <a:pt x="73" y="102"/>
                    </a:cubicBezTo>
                    <a:cubicBezTo>
                      <a:pt x="67" y="96"/>
                      <a:pt x="67" y="96"/>
                      <a:pt x="67" y="96"/>
                    </a:cubicBezTo>
                    <a:cubicBezTo>
                      <a:pt x="66" y="95"/>
                      <a:pt x="65" y="95"/>
                      <a:pt x="64" y="96"/>
                    </a:cubicBezTo>
                    <a:cubicBezTo>
                      <a:pt x="63" y="97"/>
                      <a:pt x="63" y="99"/>
                      <a:pt x="64" y="100"/>
                    </a:cubicBezTo>
                    <a:cubicBezTo>
                      <a:pt x="74" y="110"/>
                      <a:pt x="74" y="110"/>
                      <a:pt x="74" y="110"/>
                    </a:cubicBezTo>
                    <a:cubicBezTo>
                      <a:pt x="74" y="110"/>
                      <a:pt x="75" y="110"/>
                      <a:pt x="75" y="110"/>
                    </a:cubicBezTo>
                    <a:cubicBezTo>
                      <a:pt x="75" y="111"/>
                      <a:pt x="76" y="111"/>
                      <a:pt x="76" y="111"/>
                    </a:cubicBezTo>
                    <a:cubicBezTo>
                      <a:pt x="76" y="111"/>
                      <a:pt x="77" y="111"/>
                      <a:pt x="77" y="110"/>
                    </a:cubicBezTo>
                    <a:cubicBezTo>
                      <a:pt x="77" y="110"/>
                      <a:pt x="77" y="110"/>
                      <a:pt x="78" y="110"/>
                    </a:cubicBezTo>
                    <a:cubicBezTo>
                      <a:pt x="88" y="100"/>
                      <a:pt x="88" y="100"/>
                      <a:pt x="88" y="100"/>
                    </a:cubicBezTo>
                    <a:cubicBezTo>
                      <a:pt x="89" y="99"/>
                      <a:pt x="89" y="97"/>
                      <a:pt x="88" y="96"/>
                    </a:cubicBezTo>
                    <a:cubicBezTo>
                      <a:pt x="87" y="95"/>
                      <a:pt x="85" y="95"/>
                      <a:pt x="84" y="96"/>
                    </a:cubicBezTo>
                    <a:cubicBezTo>
                      <a:pt x="78" y="102"/>
                      <a:pt x="78" y="102"/>
                      <a:pt x="78" y="102"/>
                    </a:cubicBezTo>
                    <a:cubicBezTo>
                      <a:pt x="78" y="69"/>
                      <a:pt x="78" y="69"/>
                      <a:pt x="78" y="69"/>
                    </a:cubicBezTo>
                    <a:cubicBezTo>
                      <a:pt x="81" y="71"/>
                      <a:pt x="86" y="73"/>
                      <a:pt x="90" y="73"/>
                    </a:cubicBezTo>
                    <a:cubicBezTo>
                      <a:pt x="124" y="73"/>
                      <a:pt x="124" y="73"/>
                      <a:pt x="124" y="73"/>
                    </a:cubicBezTo>
                    <a:cubicBezTo>
                      <a:pt x="131" y="73"/>
                      <a:pt x="136" y="78"/>
                      <a:pt x="136" y="85"/>
                    </a:cubicBezTo>
                    <a:cubicBezTo>
                      <a:pt x="136" y="102"/>
                      <a:pt x="136" y="102"/>
                      <a:pt x="136" y="102"/>
                    </a:cubicBezTo>
                    <a:cubicBezTo>
                      <a:pt x="130" y="96"/>
                      <a:pt x="130" y="96"/>
                      <a:pt x="130" y="96"/>
                    </a:cubicBezTo>
                    <a:cubicBezTo>
                      <a:pt x="129" y="95"/>
                      <a:pt x="127" y="95"/>
                      <a:pt x="127" y="96"/>
                    </a:cubicBezTo>
                    <a:cubicBezTo>
                      <a:pt x="126" y="97"/>
                      <a:pt x="126" y="99"/>
                      <a:pt x="127" y="100"/>
                    </a:cubicBezTo>
                    <a:cubicBezTo>
                      <a:pt x="137" y="110"/>
                      <a:pt x="137" y="110"/>
                      <a:pt x="137" y="110"/>
                    </a:cubicBezTo>
                    <a:cubicBezTo>
                      <a:pt x="137" y="110"/>
                      <a:pt x="137" y="110"/>
                      <a:pt x="137" y="110"/>
                    </a:cubicBezTo>
                    <a:cubicBezTo>
                      <a:pt x="137" y="110"/>
                      <a:pt x="137" y="110"/>
                      <a:pt x="138" y="110"/>
                    </a:cubicBezTo>
                    <a:cubicBezTo>
                      <a:pt x="138" y="111"/>
                      <a:pt x="138" y="111"/>
                      <a:pt x="139" y="111"/>
                    </a:cubicBezTo>
                    <a:cubicBezTo>
                      <a:pt x="139" y="111"/>
                      <a:pt x="139" y="111"/>
                      <a:pt x="139" y="110"/>
                    </a:cubicBezTo>
                    <a:cubicBezTo>
                      <a:pt x="140" y="110"/>
                      <a:pt x="140" y="110"/>
                      <a:pt x="140" y="110"/>
                    </a:cubicBezTo>
                    <a:cubicBezTo>
                      <a:pt x="151" y="100"/>
                      <a:pt x="151" y="100"/>
                      <a:pt x="151" y="100"/>
                    </a:cubicBezTo>
                    <a:cubicBezTo>
                      <a:pt x="152" y="99"/>
                      <a:pt x="152" y="97"/>
                      <a:pt x="151" y="96"/>
                    </a:cubicBezTo>
                    <a:cubicBezTo>
                      <a:pt x="150" y="95"/>
                      <a:pt x="148" y="95"/>
                      <a:pt x="147" y="96"/>
                    </a:cubicBezTo>
                    <a:cubicBezTo>
                      <a:pt x="141" y="102"/>
                      <a:pt x="141" y="102"/>
                      <a:pt x="141" y="102"/>
                    </a:cubicBezTo>
                    <a:cubicBezTo>
                      <a:pt x="141" y="85"/>
                      <a:pt x="141" y="85"/>
                      <a:pt x="141" y="85"/>
                    </a:cubicBezTo>
                    <a:cubicBezTo>
                      <a:pt x="141" y="75"/>
                      <a:pt x="133" y="68"/>
                      <a:pt x="124" y="68"/>
                    </a:cubicBezTo>
                    <a:cubicBezTo>
                      <a:pt x="90" y="68"/>
                      <a:pt x="90" y="68"/>
                      <a:pt x="90" y="68"/>
                    </a:cubicBezTo>
                    <a:cubicBezTo>
                      <a:pt x="84" y="68"/>
                      <a:pt x="78" y="64"/>
                      <a:pt x="78" y="60"/>
                    </a:cubicBezTo>
                    <a:cubicBezTo>
                      <a:pt x="78" y="49"/>
                      <a:pt x="78" y="49"/>
                      <a:pt x="78" y="49"/>
                    </a:cubicBezTo>
                    <a:cubicBezTo>
                      <a:pt x="78" y="49"/>
                      <a:pt x="78" y="49"/>
                      <a:pt x="78" y="49"/>
                    </a:cubicBezTo>
                    <a:cubicBezTo>
                      <a:pt x="91" y="48"/>
                      <a:pt x="100" y="37"/>
                      <a:pt x="100" y="24"/>
                    </a:cubicBezTo>
                    <a:cubicBezTo>
                      <a:pt x="100" y="11"/>
                      <a:pt x="89" y="0"/>
                      <a:pt x="76" y="0"/>
                    </a:cubicBezTo>
                    <a:cubicBezTo>
                      <a:pt x="62" y="0"/>
                      <a:pt x="51" y="11"/>
                      <a:pt x="51" y="24"/>
                    </a:cubicBezTo>
                    <a:cubicBezTo>
                      <a:pt x="51" y="37"/>
                      <a:pt x="61" y="48"/>
                      <a:pt x="73" y="49"/>
                    </a:cubicBezTo>
                    <a:cubicBezTo>
                      <a:pt x="73" y="49"/>
                      <a:pt x="73" y="49"/>
                      <a:pt x="73" y="49"/>
                    </a:cubicBezTo>
                    <a:cubicBezTo>
                      <a:pt x="73" y="60"/>
                      <a:pt x="73" y="60"/>
                      <a:pt x="73" y="60"/>
                    </a:cubicBezTo>
                    <a:cubicBezTo>
                      <a:pt x="73" y="64"/>
                      <a:pt x="68" y="68"/>
                      <a:pt x="61" y="68"/>
                    </a:cubicBezTo>
                    <a:cubicBezTo>
                      <a:pt x="28" y="68"/>
                      <a:pt x="28" y="68"/>
                      <a:pt x="28" y="68"/>
                    </a:cubicBezTo>
                    <a:cubicBezTo>
                      <a:pt x="18" y="68"/>
                      <a:pt x="11" y="75"/>
                      <a:pt x="11" y="85"/>
                    </a:cubicBezTo>
                    <a:cubicBezTo>
                      <a:pt x="11" y="102"/>
                      <a:pt x="11" y="102"/>
                      <a:pt x="11" y="102"/>
                    </a:cubicBezTo>
                    <a:cubicBezTo>
                      <a:pt x="5" y="96"/>
                      <a:pt x="5" y="96"/>
                      <a:pt x="5" y="96"/>
                    </a:cubicBezTo>
                    <a:cubicBezTo>
                      <a:pt x="4" y="95"/>
                      <a:pt x="2" y="95"/>
                      <a:pt x="1" y="96"/>
                    </a:cubicBezTo>
                    <a:cubicBezTo>
                      <a:pt x="0" y="97"/>
                      <a:pt x="0" y="99"/>
                      <a:pt x="1" y="100"/>
                    </a:cubicBezTo>
                    <a:cubicBezTo>
                      <a:pt x="11" y="110"/>
                      <a:pt x="11" y="110"/>
                      <a:pt x="11" y="110"/>
                    </a:cubicBezTo>
                    <a:cubicBezTo>
                      <a:pt x="11" y="110"/>
                      <a:pt x="11" y="110"/>
                      <a:pt x="11" y="1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grpSp>
      </p:grpSp>
      <p:grpSp>
        <p:nvGrpSpPr>
          <p:cNvPr id="46" name="Groupe 100">
            <a:extLst>
              <a:ext uri="{FF2B5EF4-FFF2-40B4-BE49-F238E27FC236}">
                <a16:creationId xmlns:a16="http://schemas.microsoft.com/office/drawing/2014/main" id="{CDE6B934-341D-4CB4-A14D-F622A5FE3B7B}"/>
              </a:ext>
            </a:extLst>
          </p:cNvPr>
          <p:cNvGrpSpPr>
            <a:grpSpLocks noChangeAspect="1"/>
          </p:cNvGrpSpPr>
          <p:nvPr/>
        </p:nvGrpSpPr>
        <p:grpSpPr>
          <a:xfrm>
            <a:off x="7510755" y="3470315"/>
            <a:ext cx="712656" cy="663508"/>
            <a:chOff x="7837488" y="5111750"/>
            <a:chExt cx="874713" cy="814388"/>
          </a:xfrm>
        </p:grpSpPr>
        <p:sp>
          <p:nvSpPr>
            <p:cNvPr id="47" name="Freeform 44">
              <a:extLst>
                <a:ext uri="{FF2B5EF4-FFF2-40B4-BE49-F238E27FC236}">
                  <a16:creationId xmlns:a16="http://schemas.microsoft.com/office/drawing/2014/main" id="{F98BE309-8B68-4271-8905-8C719F55D30F}"/>
                </a:ext>
              </a:extLst>
            </p:cNvPr>
            <p:cNvSpPr>
              <a:spLocks/>
            </p:cNvSpPr>
            <p:nvPr/>
          </p:nvSpPr>
          <p:spPr bwMode="auto">
            <a:xfrm>
              <a:off x="7837488" y="5111750"/>
              <a:ext cx="874713" cy="814388"/>
            </a:xfrm>
            <a:custGeom>
              <a:avLst/>
              <a:gdLst>
                <a:gd name="T0" fmla="*/ 34 w 233"/>
                <a:gd name="T1" fmla="*/ 169 h 217"/>
                <a:gd name="T2" fmla="*/ 56 w 233"/>
                <a:gd name="T3" fmla="*/ 32 h 217"/>
                <a:gd name="T4" fmla="*/ 199 w 233"/>
                <a:gd name="T5" fmla="*/ 52 h 217"/>
                <a:gd name="T6" fmla="*/ 173 w 233"/>
                <a:gd name="T7" fmla="*/ 184 h 217"/>
                <a:gd name="T8" fmla="*/ 34 w 233"/>
                <a:gd name="T9" fmla="*/ 169 h 217"/>
              </a:gdLst>
              <a:ahLst/>
              <a:cxnLst>
                <a:cxn ang="0">
                  <a:pos x="T0" y="T1"/>
                </a:cxn>
                <a:cxn ang="0">
                  <a:pos x="T2" y="T3"/>
                </a:cxn>
                <a:cxn ang="0">
                  <a:pos x="T4" y="T5"/>
                </a:cxn>
                <a:cxn ang="0">
                  <a:pos x="T6" y="T7"/>
                </a:cxn>
                <a:cxn ang="0">
                  <a:pos x="T8" y="T9"/>
                </a:cxn>
              </a:cxnLst>
              <a:rect l="0" t="0" r="r" b="b"/>
              <a:pathLst>
                <a:path w="233" h="217">
                  <a:moveTo>
                    <a:pt x="34" y="169"/>
                  </a:moveTo>
                  <a:cubicBezTo>
                    <a:pt x="0" y="126"/>
                    <a:pt x="10" y="64"/>
                    <a:pt x="56" y="32"/>
                  </a:cubicBezTo>
                  <a:cubicBezTo>
                    <a:pt x="102" y="0"/>
                    <a:pt x="166" y="9"/>
                    <a:pt x="199" y="52"/>
                  </a:cubicBezTo>
                  <a:cubicBezTo>
                    <a:pt x="233" y="96"/>
                    <a:pt x="219" y="152"/>
                    <a:pt x="173" y="184"/>
                  </a:cubicBezTo>
                  <a:cubicBezTo>
                    <a:pt x="128" y="217"/>
                    <a:pt x="67" y="213"/>
                    <a:pt x="34" y="169"/>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grpSp>
          <p:nvGrpSpPr>
            <p:cNvPr id="48" name="Groupe 102">
              <a:extLst>
                <a:ext uri="{FF2B5EF4-FFF2-40B4-BE49-F238E27FC236}">
                  <a16:creationId xmlns:a16="http://schemas.microsoft.com/office/drawing/2014/main" id="{83EBA0BF-02FA-4832-8D7D-E06F26220C13}"/>
                </a:ext>
              </a:extLst>
            </p:cNvPr>
            <p:cNvGrpSpPr/>
            <p:nvPr/>
          </p:nvGrpSpPr>
          <p:grpSpPr>
            <a:xfrm>
              <a:off x="8181976" y="5318125"/>
              <a:ext cx="214312" cy="420688"/>
              <a:chOff x="8181976" y="5318125"/>
              <a:chExt cx="214312" cy="420688"/>
            </a:xfrm>
          </p:grpSpPr>
          <p:sp>
            <p:nvSpPr>
              <p:cNvPr id="49" name="Freeform 178">
                <a:extLst>
                  <a:ext uri="{FF2B5EF4-FFF2-40B4-BE49-F238E27FC236}">
                    <a16:creationId xmlns:a16="http://schemas.microsoft.com/office/drawing/2014/main" id="{5B5E2F4F-C28C-4F64-9072-21FB353B7209}"/>
                  </a:ext>
                </a:extLst>
              </p:cNvPr>
              <p:cNvSpPr>
                <a:spLocks/>
              </p:cNvSpPr>
              <p:nvPr/>
            </p:nvSpPr>
            <p:spPr bwMode="auto">
              <a:xfrm>
                <a:off x="8272463" y="5475287"/>
                <a:ext cx="123825" cy="139700"/>
              </a:xfrm>
              <a:custGeom>
                <a:avLst/>
                <a:gdLst>
                  <a:gd name="T0" fmla="*/ 52 w 78"/>
                  <a:gd name="T1" fmla="*/ 43 h 88"/>
                  <a:gd name="T2" fmla="*/ 62 w 78"/>
                  <a:gd name="T3" fmla="*/ 52 h 88"/>
                  <a:gd name="T4" fmla="*/ 78 w 78"/>
                  <a:gd name="T5" fmla="*/ 0 h 88"/>
                  <a:gd name="T6" fmla="*/ 29 w 78"/>
                  <a:gd name="T7" fmla="*/ 17 h 88"/>
                  <a:gd name="T8" fmla="*/ 36 w 78"/>
                  <a:gd name="T9" fmla="*/ 29 h 88"/>
                  <a:gd name="T10" fmla="*/ 0 w 78"/>
                  <a:gd name="T11" fmla="*/ 59 h 88"/>
                  <a:gd name="T12" fmla="*/ 0 w 78"/>
                  <a:gd name="T13" fmla="*/ 88 h 88"/>
                  <a:gd name="T14" fmla="*/ 52 w 78"/>
                  <a:gd name="T15" fmla="*/ 43 h 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8" h="88">
                    <a:moveTo>
                      <a:pt x="52" y="43"/>
                    </a:moveTo>
                    <a:lnTo>
                      <a:pt x="62" y="52"/>
                    </a:lnTo>
                    <a:lnTo>
                      <a:pt x="78" y="0"/>
                    </a:lnTo>
                    <a:lnTo>
                      <a:pt x="29" y="17"/>
                    </a:lnTo>
                    <a:lnTo>
                      <a:pt x="36" y="29"/>
                    </a:lnTo>
                    <a:lnTo>
                      <a:pt x="0" y="59"/>
                    </a:lnTo>
                    <a:lnTo>
                      <a:pt x="0" y="88"/>
                    </a:lnTo>
                    <a:lnTo>
                      <a:pt x="52" y="43"/>
                    </a:lnTo>
                    <a:close/>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50" name="Freeform 179">
                <a:extLst>
                  <a:ext uri="{FF2B5EF4-FFF2-40B4-BE49-F238E27FC236}">
                    <a16:creationId xmlns:a16="http://schemas.microsoft.com/office/drawing/2014/main" id="{5859DDF4-483B-4FF5-96A9-C0D756EAA575}"/>
                  </a:ext>
                </a:extLst>
              </p:cNvPr>
              <p:cNvSpPr>
                <a:spLocks/>
              </p:cNvSpPr>
              <p:nvPr/>
            </p:nvSpPr>
            <p:spPr bwMode="auto">
              <a:xfrm>
                <a:off x="8181976" y="5318125"/>
                <a:ext cx="139700" cy="420688"/>
              </a:xfrm>
              <a:custGeom>
                <a:avLst/>
                <a:gdLst>
                  <a:gd name="T0" fmla="*/ 14 w 37"/>
                  <a:gd name="T1" fmla="*/ 110 h 112"/>
                  <a:gd name="T2" fmla="*/ 14 w 37"/>
                  <a:gd name="T3" fmla="*/ 35 h 112"/>
                  <a:gd name="T4" fmla="*/ 0 w 37"/>
                  <a:gd name="T5" fmla="*/ 35 h 112"/>
                  <a:gd name="T6" fmla="*/ 17 w 37"/>
                  <a:gd name="T7" fmla="*/ 0 h 112"/>
                  <a:gd name="T8" fmla="*/ 37 w 37"/>
                  <a:gd name="T9" fmla="*/ 35 h 112"/>
                  <a:gd name="T10" fmla="*/ 24 w 37"/>
                  <a:gd name="T11" fmla="*/ 35 h 112"/>
                  <a:gd name="T12" fmla="*/ 24 w 37"/>
                  <a:gd name="T13" fmla="*/ 40 h 112"/>
                  <a:gd name="T14" fmla="*/ 24 w 37"/>
                  <a:gd name="T15" fmla="*/ 67 h 112"/>
                  <a:gd name="T16" fmla="*/ 24 w 37"/>
                  <a:gd name="T17" fmla="*/ 79 h 112"/>
                  <a:gd name="T18" fmla="*/ 24 w 37"/>
                  <a:gd name="T19" fmla="*/ 87 h 112"/>
                  <a:gd name="T20" fmla="*/ 24 w 37"/>
                  <a:gd name="T21" fmla="*/ 110 h 112"/>
                  <a:gd name="T22" fmla="*/ 22 w 37"/>
                  <a:gd name="T23" fmla="*/ 110 h 112"/>
                  <a:gd name="T24" fmla="*/ 16 w 37"/>
                  <a:gd name="T25" fmla="*/ 112 h 112"/>
                  <a:gd name="T26" fmla="*/ 14 w 37"/>
                  <a:gd name="T27" fmla="*/ 11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112">
                    <a:moveTo>
                      <a:pt x="14" y="110"/>
                    </a:moveTo>
                    <a:cubicBezTo>
                      <a:pt x="14" y="35"/>
                      <a:pt x="14" y="35"/>
                      <a:pt x="14" y="35"/>
                    </a:cubicBezTo>
                    <a:cubicBezTo>
                      <a:pt x="0" y="35"/>
                      <a:pt x="0" y="35"/>
                      <a:pt x="0" y="35"/>
                    </a:cubicBezTo>
                    <a:cubicBezTo>
                      <a:pt x="17" y="0"/>
                      <a:pt x="17" y="0"/>
                      <a:pt x="17" y="0"/>
                    </a:cubicBezTo>
                    <a:cubicBezTo>
                      <a:pt x="37" y="35"/>
                      <a:pt x="37" y="35"/>
                      <a:pt x="37" y="35"/>
                    </a:cubicBezTo>
                    <a:cubicBezTo>
                      <a:pt x="24" y="35"/>
                      <a:pt x="24" y="35"/>
                      <a:pt x="24" y="35"/>
                    </a:cubicBezTo>
                    <a:cubicBezTo>
                      <a:pt x="24" y="40"/>
                      <a:pt x="24" y="40"/>
                      <a:pt x="24" y="40"/>
                    </a:cubicBezTo>
                    <a:cubicBezTo>
                      <a:pt x="24" y="67"/>
                      <a:pt x="24" y="67"/>
                      <a:pt x="24" y="67"/>
                    </a:cubicBezTo>
                    <a:cubicBezTo>
                      <a:pt x="24" y="79"/>
                      <a:pt x="24" y="79"/>
                      <a:pt x="24" y="79"/>
                    </a:cubicBezTo>
                    <a:cubicBezTo>
                      <a:pt x="24" y="87"/>
                      <a:pt x="24" y="87"/>
                      <a:pt x="24" y="87"/>
                    </a:cubicBezTo>
                    <a:cubicBezTo>
                      <a:pt x="24" y="110"/>
                      <a:pt x="24" y="110"/>
                      <a:pt x="24" y="110"/>
                    </a:cubicBezTo>
                    <a:cubicBezTo>
                      <a:pt x="23" y="109"/>
                      <a:pt x="22" y="109"/>
                      <a:pt x="22" y="110"/>
                    </a:cubicBezTo>
                    <a:cubicBezTo>
                      <a:pt x="20" y="110"/>
                      <a:pt x="18" y="112"/>
                      <a:pt x="16" y="112"/>
                    </a:cubicBezTo>
                    <a:cubicBezTo>
                      <a:pt x="14" y="112"/>
                      <a:pt x="14" y="110"/>
                      <a:pt x="14" y="1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grpSp>
      </p:grpSp>
      <p:grpSp>
        <p:nvGrpSpPr>
          <p:cNvPr id="51" name="Groupe 105">
            <a:extLst>
              <a:ext uri="{FF2B5EF4-FFF2-40B4-BE49-F238E27FC236}">
                <a16:creationId xmlns:a16="http://schemas.microsoft.com/office/drawing/2014/main" id="{57F37279-FC75-4739-B82C-3C2D2E4E9E56}"/>
              </a:ext>
            </a:extLst>
          </p:cNvPr>
          <p:cNvGrpSpPr>
            <a:grpSpLocks noChangeAspect="1"/>
          </p:cNvGrpSpPr>
          <p:nvPr/>
        </p:nvGrpSpPr>
        <p:grpSpPr>
          <a:xfrm>
            <a:off x="8689857" y="3470315"/>
            <a:ext cx="706636" cy="663508"/>
            <a:chOff x="6273800" y="1787525"/>
            <a:chExt cx="1014413" cy="952500"/>
          </a:xfrm>
        </p:grpSpPr>
        <p:sp>
          <p:nvSpPr>
            <p:cNvPr id="52" name="Freeform 93">
              <a:extLst>
                <a:ext uri="{FF2B5EF4-FFF2-40B4-BE49-F238E27FC236}">
                  <a16:creationId xmlns:a16="http://schemas.microsoft.com/office/drawing/2014/main" id="{7AB932C5-764F-498D-A4A9-FAC35A73D94C}"/>
                </a:ext>
              </a:extLst>
            </p:cNvPr>
            <p:cNvSpPr>
              <a:spLocks/>
            </p:cNvSpPr>
            <p:nvPr/>
          </p:nvSpPr>
          <p:spPr bwMode="auto">
            <a:xfrm>
              <a:off x="6273800" y="1787525"/>
              <a:ext cx="1014413" cy="952500"/>
            </a:xfrm>
            <a:custGeom>
              <a:avLst/>
              <a:gdLst>
                <a:gd name="T0" fmla="*/ 43 w 300"/>
                <a:gd name="T1" fmla="*/ 219 h 281"/>
                <a:gd name="T2" fmla="*/ 72 w 300"/>
                <a:gd name="T3" fmla="*/ 42 h 281"/>
                <a:gd name="T4" fmla="*/ 257 w 300"/>
                <a:gd name="T5" fmla="*/ 68 h 281"/>
                <a:gd name="T6" fmla="*/ 223 w 300"/>
                <a:gd name="T7" fmla="*/ 239 h 281"/>
                <a:gd name="T8" fmla="*/ 43 w 300"/>
                <a:gd name="T9" fmla="*/ 219 h 281"/>
              </a:gdLst>
              <a:ahLst/>
              <a:cxnLst>
                <a:cxn ang="0">
                  <a:pos x="T0" y="T1"/>
                </a:cxn>
                <a:cxn ang="0">
                  <a:pos x="T2" y="T3"/>
                </a:cxn>
                <a:cxn ang="0">
                  <a:pos x="T4" y="T5"/>
                </a:cxn>
                <a:cxn ang="0">
                  <a:pos x="T6" y="T7"/>
                </a:cxn>
                <a:cxn ang="0">
                  <a:pos x="T8" y="T9"/>
                </a:cxn>
              </a:cxnLst>
              <a:rect l="0" t="0" r="r" b="b"/>
              <a:pathLst>
                <a:path w="300" h="281">
                  <a:moveTo>
                    <a:pt x="43" y="219"/>
                  </a:moveTo>
                  <a:cubicBezTo>
                    <a:pt x="0" y="163"/>
                    <a:pt x="13" y="84"/>
                    <a:pt x="72" y="42"/>
                  </a:cubicBezTo>
                  <a:cubicBezTo>
                    <a:pt x="131" y="0"/>
                    <a:pt x="214" y="12"/>
                    <a:pt x="257" y="68"/>
                  </a:cubicBezTo>
                  <a:cubicBezTo>
                    <a:pt x="300" y="124"/>
                    <a:pt x="282" y="197"/>
                    <a:pt x="223" y="239"/>
                  </a:cubicBezTo>
                  <a:cubicBezTo>
                    <a:pt x="164" y="281"/>
                    <a:pt x="86" y="276"/>
                    <a:pt x="43" y="219"/>
                  </a:cubicBezTo>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a typeface="+mn-ea"/>
                <a:cs typeface="+mn-cs"/>
              </a:endParaRPr>
            </a:p>
          </p:txBody>
        </p:sp>
        <p:grpSp>
          <p:nvGrpSpPr>
            <p:cNvPr id="53" name="Groupe 107">
              <a:extLst>
                <a:ext uri="{FF2B5EF4-FFF2-40B4-BE49-F238E27FC236}">
                  <a16:creationId xmlns:a16="http://schemas.microsoft.com/office/drawing/2014/main" id="{E7218EC9-81DC-404F-8105-D4FFDB1AEEF0}"/>
                </a:ext>
              </a:extLst>
            </p:cNvPr>
            <p:cNvGrpSpPr/>
            <p:nvPr/>
          </p:nvGrpSpPr>
          <p:grpSpPr>
            <a:xfrm>
              <a:off x="6557963" y="1939925"/>
              <a:ext cx="544512" cy="644526"/>
              <a:chOff x="6557963" y="1939925"/>
              <a:chExt cx="544512" cy="644526"/>
            </a:xfrm>
          </p:grpSpPr>
          <p:sp>
            <p:nvSpPr>
              <p:cNvPr id="54" name="Rectangle 94">
                <a:extLst>
                  <a:ext uri="{FF2B5EF4-FFF2-40B4-BE49-F238E27FC236}">
                    <a16:creationId xmlns:a16="http://schemas.microsoft.com/office/drawing/2014/main" id="{1D1F9ED9-02C5-411F-91A0-52CA4A4077CA}"/>
                  </a:ext>
                </a:extLst>
              </p:cNvPr>
              <p:cNvSpPr>
                <a:spLocks noChangeArrowheads="1"/>
              </p:cNvSpPr>
              <p:nvPr/>
            </p:nvSpPr>
            <p:spPr bwMode="auto">
              <a:xfrm>
                <a:off x="6557963" y="1976438"/>
                <a:ext cx="412750" cy="566738"/>
              </a:xfrm>
              <a:prstGeom prst="rect">
                <a:avLst/>
              </a:prstGeom>
              <a:solidFill>
                <a:srgbClr val="E5335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a typeface="+mn-ea"/>
                  <a:cs typeface="+mn-cs"/>
                </a:endParaRPr>
              </a:p>
            </p:txBody>
          </p:sp>
          <p:sp>
            <p:nvSpPr>
              <p:cNvPr id="55" name="Freeform 95">
                <a:extLst>
                  <a:ext uri="{FF2B5EF4-FFF2-40B4-BE49-F238E27FC236}">
                    <a16:creationId xmlns:a16="http://schemas.microsoft.com/office/drawing/2014/main" id="{8F37B512-F928-4C7B-8FD5-DFCAEB7444CA}"/>
                  </a:ext>
                </a:extLst>
              </p:cNvPr>
              <p:cNvSpPr>
                <a:spLocks/>
              </p:cNvSpPr>
              <p:nvPr/>
            </p:nvSpPr>
            <p:spPr bwMode="auto">
              <a:xfrm>
                <a:off x="6584950" y="1997075"/>
                <a:ext cx="355600" cy="525463"/>
              </a:xfrm>
              <a:custGeom>
                <a:avLst/>
                <a:gdLst>
                  <a:gd name="T0" fmla="*/ 105 w 105"/>
                  <a:gd name="T1" fmla="*/ 149 h 155"/>
                  <a:gd name="T2" fmla="*/ 0 w 105"/>
                  <a:gd name="T3" fmla="*/ 149 h 155"/>
                  <a:gd name="T4" fmla="*/ 0 w 105"/>
                  <a:gd name="T5" fmla="*/ 0 h 155"/>
                  <a:gd name="T6" fmla="*/ 105 w 105"/>
                  <a:gd name="T7" fmla="*/ 0 h 155"/>
                  <a:gd name="T8" fmla="*/ 105 w 105"/>
                  <a:gd name="T9" fmla="*/ 149 h 155"/>
                </a:gdLst>
                <a:ahLst/>
                <a:cxnLst>
                  <a:cxn ang="0">
                    <a:pos x="T0" y="T1"/>
                  </a:cxn>
                  <a:cxn ang="0">
                    <a:pos x="T2" y="T3"/>
                  </a:cxn>
                  <a:cxn ang="0">
                    <a:pos x="T4" y="T5"/>
                  </a:cxn>
                  <a:cxn ang="0">
                    <a:pos x="T6" y="T7"/>
                  </a:cxn>
                  <a:cxn ang="0">
                    <a:pos x="T8" y="T9"/>
                  </a:cxn>
                </a:cxnLst>
                <a:rect l="0" t="0" r="r" b="b"/>
                <a:pathLst>
                  <a:path w="105" h="155">
                    <a:moveTo>
                      <a:pt x="105" y="149"/>
                    </a:moveTo>
                    <a:cubicBezTo>
                      <a:pt x="101" y="155"/>
                      <a:pt x="7" y="146"/>
                      <a:pt x="0" y="149"/>
                    </a:cubicBezTo>
                    <a:cubicBezTo>
                      <a:pt x="0" y="125"/>
                      <a:pt x="0" y="0"/>
                      <a:pt x="0" y="0"/>
                    </a:cubicBezTo>
                    <a:cubicBezTo>
                      <a:pt x="105" y="0"/>
                      <a:pt x="105" y="0"/>
                      <a:pt x="105" y="0"/>
                    </a:cubicBezTo>
                    <a:cubicBezTo>
                      <a:pt x="105" y="0"/>
                      <a:pt x="105" y="122"/>
                      <a:pt x="105" y="1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a typeface="+mn-ea"/>
                  <a:cs typeface="+mn-cs"/>
                </a:endParaRPr>
              </a:p>
            </p:txBody>
          </p:sp>
          <p:sp>
            <p:nvSpPr>
              <p:cNvPr id="56" name="Rectangle 96">
                <a:extLst>
                  <a:ext uri="{FF2B5EF4-FFF2-40B4-BE49-F238E27FC236}">
                    <a16:creationId xmlns:a16="http://schemas.microsoft.com/office/drawing/2014/main" id="{2B8328C2-91D1-47A8-99D5-8DD9CDEFE027}"/>
                  </a:ext>
                </a:extLst>
              </p:cNvPr>
              <p:cNvSpPr>
                <a:spLocks noChangeArrowheads="1"/>
              </p:cNvSpPr>
              <p:nvPr/>
            </p:nvSpPr>
            <p:spPr bwMode="auto">
              <a:xfrm>
                <a:off x="6672263" y="1963738"/>
                <a:ext cx="179388" cy="68263"/>
              </a:xfrm>
              <a:prstGeom prst="rect">
                <a:avLst/>
              </a:prstGeom>
              <a:solidFill>
                <a:srgbClr val="E5335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a typeface="+mn-ea"/>
                  <a:cs typeface="+mn-cs"/>
                </a:endParaRPr>
              </a:p>
            </p:txBody>
          </p:sp>
          <p:sp>
            <p:nvSpPr>
              <p:cNvPr id="57" name="Rectangle 97">
                <a:extLst>
                  <a:ext uri="{FF2B5EF4-FFF2-40B4-BE49-F238E27FC236}">
                    <a16:creationId xmlns:a16="http://schemas.microsoft.com/office/drawing/2014/main" id="{746FDC42-9795-49FF-BDDB-5B642419EF17}"/>
                  </a:ext>
                </a:extLst>
              </p:cNvPr>
              <p:cNvSpPr>
                <a:spLocks noChangeArrowheads="1"/>
              </p:cNvSpPr>
              <p:nvPr/>
            </p:nvSpPr>
            <p:spPr bwMode="auto">
              <a:xfrm>
                <a:off x="6723063" y="1939925"/>
                <a:ext cx="77788" cy="36513"/>
              </a:xfrm>
              <a:prstGeom prst="rect">
                <a:avLst/>
              </a:prstGeom>
              <a:solidFill>
                <a:srgbClr val="E5335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a typeface="+mn-ea"/>
                  <a:cs typeface="+mn-cs"/>
                </a:endParaRPr>
              </a:p>
            </p:txBody>
          </p:sp>
          <p:sp>
            <p:nvSpPr>
              <p:cNvPr id="58" name="Freeform 98">
                <a:extLst>
                  <a:ext uri="{FF2B5EF4-FFF2-40B4-BE49-F238E27FC236}">
                    <a16:creationId xmlns:a16="http://schemas.microsoft.com/office/drawing/2014/main" id="{1E8D75F9-F4F6-4DC6-8ADA-EF629696E813}"/>
                  </a:ext>
                </a:extLst>
              </p:cNvPr>
              <p:cNvSpPr>
                <a:spLocks/>
              </p:cNvSpPr>
              <p:nvPr/>
            </p:nvSpPr>
            <p:spPr bwMode="auto">
              <a:xfrm>
                <a:off x="6734175" y="2309813"/>
                <a:ext cx="368300" cy="274638"/>
              </a:xfrm>
              <a:custGeom>
                <a:avLst/>
                <a:gdLst>
                  <a:gd name="T0" fmla="*/ 39 w 109"/>
                  <a:gd name="T1" fmla="*/ 81 h 81"/>
                  <a:gd name="T2" fmla="*/ 34 w 109"/>
                  <a:gd name="T3" fmla="*/ 74 h 81"/>
                  <a:gd name="T4" fmla="*/ 3 w 109"/>
                  <a:gd name="T5" fmla="*/ 47 h 81"/>
                  <a:gd name="T6" fmla="*/ 2 w 109"/>
                  <a:gd name="T7" fmla="*/ 38 h 81"/>
                  <a:gd name="T8" fmla="*/ 11 w 109"/>
                  <a:gd name="T9" fmla="*/ 37 h 81"/>
                  <a:gd name="T10" fmla="*/ 38 w 109"/>
                  <a:gd name="T11" fmla="*/ 60 h 81"/>
                  <a:gd name="T12" fmla="*/ 99 w 109"/>
                  <a:gd name="T13" fmla="*/ 2 h 81"/>
                  <a:gd name="T14" fmla="*/ 108 w 109"/>
                  <a:gd name="T15" fmla="*/ 4 h 81"/>
                  <a:gd name="T16" fmla="*/ 105 w 109"/>
                  <a:gd name="T17" fmla="*/ 13 h 81"/>
                  <a:gd name="T18" fmla="*/ 44 w 109"/>
                  <a:gd name="T19" fmla="*/ 74 h 81"/>
                  <a:gd name="T20" fmla="*/ 39 w 109"/>
                  <a:gd name="T2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 h="81">
                    <a:moveTo>
                      <a:pt x="39" y="81"/>
                    </a:moveTo>
                    <a:cubicBezTo>
                      <a:pt x="34" y="74"/>
                      <a:pt x="34" y="74"/>
                      <a:pt x="34" y="74"/>
                    </a:cubicBezTo>
                    <a:cubicBezTo>
                      <a:pt x="26" y="65"/>
                      <a:pt x="4" y="47"/>
                      <a:pt x="3" y="47"/>
                    </a:cubicBezTo>
                    <a:cubicBezTo>
                      <a:pt x="1" y="45"/>
                      <a:pt x="0" y="41"/>
                      <a:pt x="2" y="38"/>
                    </a:cubicBezTo>
                    <a:cubicBezTo>
                      <a:pt x="4" y="35"/>
                      <a:pt x="9" y="35"/>
                      <a:pt x="11" y="37"/>
                    </a:cubicBezTo>
                    <a:cubicBezTo>
                      <a:pt x="12" y="38"/>
                      <a:pt x="28" y="50"/>
                      <a:pt x="38" y="60"/>
                    </a:cubicBezTo>
                    <a:cubicBezTo>
                      <a:pt x="50" y="43"/>
                      <a:pt x="72" y="17"/>
                      <a:pt x="99" y="2"/>
                    </a:cubicBezTo>
                    <a:cubicBezTo>
                      <a:pt x="102" y="0"/>
                      <a:pt x="106" y="1"/>
                      <a:pt x="108" y="4"/>
                    </a:cubicBezTo>
                    <a:cubicBezTo>
                      <a:pt x="109" y="7"/>
                      <a:pt x="108" y="11"/>
                      <a:pt x="105" y="13"/>
                    </a:cubicBezTo>
                    <a:cubicBezTo>
                      <a:pt x="77" y="29"/>
                      <a:pt x="55" y="58"/>
                      <a:pt x="44" y="74"/>
                    </a:cubicBezTo>
                    <a:lnTo>
                      <a:pt x="39" y="81"/>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a typeface="+mn-ea"/>
                  <a:cs typeface="+mn-cs"/>
                </a:endParaRPr>
              </a:p>
            </p:txBody>
          </p:sp>
          <p:sp>
            <p:nvSpPr>
              <p:cNvPr id="59" name="Freeform 99">
                <a:extLst>
                  <a:ext uri="{FF2B5EF4-FFF2-40B4-BE49-F238E27FC236}">
                    <a16:creationId xmlns:a16="http://schemas.microsoft.com/office/drawing/2014/main" id="{A3C2A7F6-FDD2-46C5-BE51-F5F78AFA6E54}"/>
                  </a:ext>
                </a:extLst>
              </p:cNvPr>
              <p:cNvSpPr>
                <a:spLocks/>
              </p:cNvSpPr>
              <p:nvPr/>
            </p:nvSpPr>
            <p:spPr bwMode="auto">
              <a:xfrm>
                <a:off x="6635750" y="2109788"/>
                <a:ext cx="53975" cy="44450"/>
              </a:xfrm>
              <a:custGeom>
                <a:avLst/>
                <a:gdLst>
                  <a:gd name="T0" fmla="*/ 6 w 16"/>
                  <a:gd name="T1" fmla="*/ 13 h 13"/>
                  <a:gd name="T2" fmla="*/ 5 w 16"/>
                  <a:gd name="T3" fmla="*/ 12 h 13"/>
                  <a:gd name="T4" fmla="*/ 0 w 16"/>
                  <a:gd name="T5" fmla="*/ 8 h 13"/>
                  <a:gd name="T6" fmla="*/ 0 w 16"/>
                  <a:gd name="T7" fmla="*/ 6 h 13"/>
                  <a:gd name="T8" fmla="*/ 1 w 16"/>
                  <a:gd name="T9" fmla="*/ 6 h 13"/>
                  <a:gd name="T10" fmla="*/ 5 w 16"/>
                  <a:gd name="T11" fmla="*/ 9 h 13"/>
                  <a:gd name="T12" fmla="*/ 14 w 16"/>
                  <a:gd name="T13" fmla="*/ 0 h 13"/>
                  <a:gd name="T14" fmla="*/ 16 w 16"/>
                  <a:gd name="T15" fmla="*/ 0 h 13"/>
                  <a:gd name="T16" fmla="*/ 15 w 16"/>
                  <a:gd name="T17" fmla="*/ 2 h 13"/>
                  <a:gd name="T18" fmla="*/ 6 w 16"/>
                  <a:gd name="T19" fmla="*/ 11 h 13"/>
                  <a:gd name="T20" fmla="*/ 6 w 16"/>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3">
                    <a:moveTo>
                      <a:pt x="6" y="13"/>
                    </a:moveTo>
                    <a:cubicBezTo>
                      <a:pt x="5" y="12"/>
                      <a:pt x="5" y="12"/>
                      <a:pt x="5" y="12"/>
                    </a:cubicBezTo>
                    <a:cubicBezTo>
                      <a:pt x="4" y="10"/>
                      <a:pt x="0" y="8"/>
                      <a:pt x="0" y="8"/>
                    </a:cubicBezTo>
                    <a:cubicBezTo>
                      <a:pt x="0" y="7"/>
                      <a:pt x="0" y="7"/>
                      <a:pt x="0" y="6"/>
                    </a:cubicBezTo>
                    <a:cubicBezTo>
                      <a:pt x="0" y="6"/>
                      <a:pt x="1" y="6"/>
                      <a:pt x="1" y="6"/>
                    </a:cubicBezTo>
                    <a:cubicBezTo>
                      <a:pt x="1" y="6"/>
                      <a:pt x="4" y="8"/>
                      <a:pt x="5" y="9"/>
                    </a:cubicBezTo>
                    <a:cubicBezTo>
                      <a:pt x="7" y="7"/>
                      <a:pt x="10" y="3"/>
                      <a:pt x="14" y="0"/>
                    </a:cubicBezTo>
                    <a:cubicBezTo>
                      <a:pt x="15" y="0"/>
                      <a:pt x="15" y="0"/>
                      <a:pt x="16" y="0"/>
                    </a:cubicBezTo>
                    <a:cubicBezTo>
                      <a:pt x="16" y="1"/>
                      <a:pt x="16" y="1"/>
                      <a:pt x="15" y="2"/>
                    </a:cubicBezTo>
                    <a:cubicBezTo>
                      <a:pt x="11" y="4"/>
                      <a:pt x="8" y="9"/>
                      <a:pt x="6" y="11"/>
                    </a:cubicBezTo>
                    <a:lnTo>
                      <a:pt x="6" y="13"/>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a typeface="+mn-ea"/>
                  <a:cs typeface="+mn-cs"/>
                </a:endParaRPr>
              </a:p>
            </p:txBody>
          </p:sp>
          <p:sp>
            <p:nvSpPr>
              <p:cNvPr id="60" name="Freeform 100">
                <a:extLst>
                  <a:ext uri="{FF2B5EF4-FFF2-40B4-BE49-F238E27FC236}">
                    <a16:creationId xmlns:a16="http://schemas.microsoft.com/office/drawing/2014/main" id="{5C9C4734-6921-438B-81C8-CE351207AA0B}"/>
                  </a:ext>
                </a:extLst>
              </p:cNvPr>
              <p:cNvSpPr>
                <a:spLocks/>
              </p:cNvSpPr>
              <p:nvPr/>
            </p:nvSpPr>
            <p:spPr bwMode="auto">
              <a:xfrm>
                <a:off x="6692900" y="2133600"/>
                <a:ext cx="161925" cy="6350"/>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1"/>
                      <a:pt x="0" y="1"/>
                    </a:cubicBezTo>
                    <a:cubicBezTo>
                      <a:pt x="0" y="0"/>
                      <a:pt x="0" y="0"/>
                      <a:pt x="1" y="0"/>
                    </a:cubicBezTo>
                    <a:cubicBezTo>
                      <a:pt x="48" y="0"/>
                      <a:pt x="48" y="0"/>
                      <a:pt x="48" y="0"/>
                    </a:cubicBezTo>
                    <a:cubicBezTo>
                      <a:pt x="48" y="0"/>
                      <a:pt x="48" y="0"/>
                      <a:pt x="48" y="1"/>
                    </a:cubicBezTo>
                    <a:cubicBezTo>
                      <a:pt x="48" y="1"/>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a typeface="+mn-ea"/>
                  <a:cs typeface="+mn-cs"/>
                </a:endParaRPr>
              </a:p>
            </p:txBody>
          </p:sp>
          <p:sp>
            <p:nvSpPr>
              <p:cNvPr id="61" name="Freeform 101">
                <a:extLst>
                  <a:ext uri="{FF2B5EF4-FFF2-40B4-BE49-F238E27FC236}">
                    <a16:creationId xmlns:a16="http://schemas.microsoft.com/office/drawing/2014/main" id="{DE4187B2-7874-47BB-A3DC-8C4B97FE628F}"/>
                  </a:ext>
                </a:extLst>
              </p:cNvPr>
              <p:cNvSpPr>
                <a:spLocks/>
              </p:cNvSpPr>
              <p:nvPr/>
            </p:nvSpPr>
            <p:spPr bwMode="auto">
              <a:xfrm>
                <a:off x="6635750" y="2178050"/>
                <a:ext cx="53975" cy="42863"/>
              </a:xfrm>
              <a:custGeom>
                <a:avLst/>
                <a:gdLst>
                  <a:gd name="T0" fmla="*/ 6 w 16"/>
                  <a:gd name="T1" fmla="*/ 13 h 13"/>
                  <a:gd name="T2" fmla="*/ 5 w 16"/>
                  <a:gd name="T3" fmla="*/ 12 h 13"/>
                  <a:gd name="T4" fmla="*/ 0 w 16"/>
                  <a:gd name="T5" fmla="*/ 8 h 13"/>
                  <a:gd name="T6" fmla="*/ 0 w 16"/>
                  <a:gd name="T7" fmla="*/ 7 h 13"/>
                  <a:gd name="T8" fmla="*/ 1 w 16"/>
                  <a:gd name="T9" fmla="*/ 6 h 13"/>
                  <a:gd name="T10" fmla="*/ 5 w 16"/>
                  <a:gd name="T11" fmla="*/ 10 h 13"/>
                  <a:gd name="T12" fmla="*/ 14 w 16"/>
                  <a:gd name="T13" fmla="*/ 0 h 13"/>
                  <a:gd name="T14" fmla="*/ 16 w 16"/>
                  <a:gd name="T15" fmla="*/ 1 h 13"/>
                  <a:gd name="T16" fmla="*/ 15 w 16"/>
                  <a:gd name="T17" fmla="*/ 2 h 13"/>
                  <a:gd name="T18" fmla="*/ 6 w 16"/>
                  <a:gd name="T19" fmla="*/ 12 h 13"/>
                  <a:gd name="T20" fmla="*/ 6 w 16"/>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3">
                    <a:moveTo>
                      <a:pt x="6" y="13"/>
                    </a:moveTo>
                    <a:cubicBezTo>
                      <a:pt x="5" y="12"/>
                      <a:pt x="5" y="12"/>
                      <a:pt x="5" y="12"/>
                    </a:cubicBezTo>
                    <a:cubicBezTo>
                      <a:pt x="4" y="10"/>
                      <a:pt x="0" y="8"/>
                      <a:pt x="0" y="8"/>
                    </a:cubicBezTo>
                    <a:cubicBezTo>
                      <a:pt x="0" y="8"/>
                      <a:pt x="0" y="7"/>
                      <a:pt x="0" y="7"/>
                    </a:cubicBezTo>
                    <a:cubicBezTo>
                      <a:pt x="0" y="6"/>
                      <a:pt x="1" y="6"/>
                      <a:pt x="1" y="6"/>
                    </a:cubicBezTo>
                    <a:cubicBezTo>
                      <a:pt x="1" y="6"/>
                      <a:pt x="4" y="8"/>
                      <a:pt x="5" y="10"/>
                    </a:cubicBezTo>
                    <a:cubicBezTo>
                      <a:pt x="7" y="7"/>
                      <a:pt x="10" y="3"/>
                      <a:pt x="14" y="0"/>
                    </a:cubicBezTo>
                    <a:cubicBezTo>
                      <a:pt x="15" y="0"/>
                      <a:pt x="15" y="0"/>
                      <a:pt x="16" y="1"/>
                    </a:cubicBezTo>
                    <a:cubicBezTo>
                      <a:pt x="16" y="1"/>
                      <a:pt x="16" y="2"/>
                      <a:pt x="15" y="2"/>
                    </a:cubicBezTo>
                    <a:cubicBezTo>
                      <a:pt x="11" y="5"/>
                      <a:pt x="8" y="9"/>
                      <a:pt x="6" y="12"/>
                    </a:cubicBezTo>
                    <a:lnTo>
                      <a:pt x="6" y="13"/>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a typeface="+mn-ea"/>
                  <a:cs typeface="+mn-cs"/>
                </a:endParaRPr>
              </a:p>
            </p:txBody>
          </p:sp>
          <p:sp>
            <p:nvSpPr>
              <p:cNvPr id="62" name="Freeform 102">
                <a:extLst>
                  <a:ext uri="{FF2B5EF4-FFF2-40B4-BE49-F238E27FC236}">
                    <a16:creationId xmlns:a16="http://schemas.microsoft.com/office/drawing/2014/main" id="{DD101F77-76E9-4C71-B92C-C51085637E72}"/>
                  </a:ext>
                </a:extLst>
              </p:cNvPr>
              <p:cNvSpPr>
                <a:spLocks/>
              </p:cNvSpPr>
              <p:nvPr/>
            </p:nvSpPr>
            <p:spPr bwMode="auto">
              <a:xfrm>
                <a:off x="6692900" y="2200275"/>
                <a:ext cx="161925" cy="7938"/>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2"/>
                      <a:pt x="0" y="1"/>
                    </a:cubicBezTo>
                    <a:cubicBezTo>
                      <a:pt x="0" y="1"/>
                      <a:pt x="0" y="0"/>
                      <a:pt x="1" y="0"/>
                    </a:cubicBezTo>
                    <a:cubicBezTo>
                      <a:pt x="48" y="0"/>
                      <a:pt x="48" y="0"/>
                      <a:pt x="48" y="0"/>
                    </a:cubicBezTo>
                    <a:cubicBezTo>
                      <a:pt x="48" y="0"/>
                      <a:pt x="48" y="1"/>
                      <a:pt x="48" y="1"/>
                    </a:cubicBezTo>
                    <a:cubicBezTo>
                      <a:pt x="48" y="2"/>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a typeface="+mn-ea"/>
                  <a:cs typeface="+mn-cs"/>
                </a:endParaRPr>
              </a:p>
            </p:txBody>
          </p:sp>
          <p:sp>
            <p:nvSpPr>
              <p:cNvPr id="63" name="Freeform 103">
                <a:extLst>
                  <a:ext uri="{FF2B5EF4-FFF2-40B4-BE49-F238E27FC236}">
                    <a16:creationId xmlns:a16="http://schemas.microsoft.com/office/drawing/2014/main" id="{3A0CE947-7DBE-4CC3-B847-72111C04FC0F}"/>
                  </a:ext>
                </a:extLst>
              </p:cNvPr>
              <p:cNvSpPr>
                <a:spLocks/>
              </p:cNvSpPr>
              <p:nvPr/>
            </p:nvSpPr>
            <p:spPr bwMode="auto">
              <a:xfrm>
                <a:off x="6635750" y="2244725"/>
                <a:ext cx="53975" cy="44450"/>
              </a:xfrm>
              <a:custGeom>
                <a:avLst/>
                <a:gdLst>
                  <a:gd name="T0" fmla="*/ 6 w 16"/>
                  <a:gd name="T1" fmla="*/ 13 h 13"/>
                  <a:gd name="T2" fmla="*/ 5 w 16"/>
                  <a:gd name="T3" fmla="*/ 12 h 13"/>
                  <a:gd name="T4" fmla="*/ 0 w 16"/>
                  <a:gd name="T5" fmla="*/ 8 h 13"/>
                  <a:gd name="T6" fmla="*/ 0 w 16"/>
                  <a:gd name="T7" fmla="*/ 7 h 13"/>
                  <a:gd name="T8" fmla="*/ 1 w 16"/>
                  <a:gd name="T9" fmla="*/ 7 h 13"/>
                  <a:gd name="T10" fmla="*/ 5 w 16"/>
                  <a:gd name="T11" fmla="*/ 10 h 13"/>
                  <a:gd name="T12" fmla="*/ 14 w 16"/>
                  <a:gd name="T13" fmla="*/ 1 h 13"/>
                  <a:gd name="T14" fmla="*/ 16 w 16"/>
                  <a:gd name="T15" fmla="*/ 1 h 13"/>
                  <a:gd name="T16" fmla="*/ 15 w 16"/>
                  <a:gd name="T17" fmla="*/ 2 h 13"/>
                  <a:gd name="T18" fmla="*/ 6 w 16"/>
                  <a:gd name="T19" fmla="*/ 12 h 13"/>
                  <a:gd name="T20" fmla="*/ 6 w 16"/>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3">
                    <a:moveTo>
                      <a:pt x="6" y="13"/>
                    </a:moveTo>
                    <a:cubicBezTo>
                      <a:pt x="5" y="12"/>
                      <a:pt x="5" y="12"/>
                      <a:pt x="5" y="12"/>
                    </a:cubicBezTo>
                    <a:cubicBezTo>
                      <a:pt x="4" y="11"/>
                      <a:pt x="0" y="8"/>
                      <a:pt x="0" y="8"/>
                    </a:cubicBezTo>
                    <a:cubicBezTo>
                      <a:pt x="0" y="8"/>
                      <a:pt x="0" y="7"/>
                      <a:pt x="0" y="7"/>
                    </a:cubicBezTo>
                    <a:cubicBezTo>
                      <a:pt x="0" y="6"/>
                      <a:pt x="1" y="6"/>
                      <a:pt x="1" y="7"/>
                    </a:cubicBezTo>
                    <a:cubicBezTo>
                      <a:pt x="1" y="7"/>
                      <a:pt x="4" y="8"/>
                      <a:pt x="5" y="10"/>
                    </a:cubicBezTo>
                    <a:cubicBezTo>
                      <a:pt x="7" y="7"/>
                      <a:pt x="10" y="3"/>
                      <a:pt x="14" y="1"/>
                    </a:cubicBezTo>
                    <a:cubicBezTo>
                      <a:pt x="15" y="0"/>
                      <a:pt x="15" y="1"/>
                      <a:pt x="16" y="1"/>
                    </a:cubicBezTo>
                    <a:cubicBezTo>
                      <a:pt x="16" y="1"/>
                      <a:pt x="16" y="2"/>
                      <a:pt x="15" y="2"/>
                    </a:cubicBezTo>
                    <a:cubicBezTo>
                      <a:pt x="11" y="5"/>
                      <a:pt x="8" y="10"/>
                      <a:pt x="6" y="12"/>
                    </a:cubicBezTo>
                    <a:lnTo>
                      <a:pt x="6" y="13"/>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a typeface="+mn-ea"/>
                  <a:cs typeface="+mn-cs"/>
                </a:endParaRPr>
              </a:p>
            </p:txBody>
          </p:sp>
          <p:sp>
            <p:nvSpPr>
              <p:cNvPr id="64" name="Freeform 104">
                <a:extLst>
                  <a:ext uri="{FF2B5EF4-FFF2-40B4-BE49-F238E27FC236}">
                    <a16:creationId xmlns:a16="http://schemas.microsoft.com/office/drawing/2014/main" id="{DFFC36EF-CF5C-4130-B793-5C5FBBA9A981}"/>
                  </a:ext>
                </a:extLst>
              </p:cNvPr>
              <p:cNvSpPr>
                <a:spLocks/>
              </p:cNvSpPr>
              <p:nvPr/>
            </p:nvSpPr>
            <p:spPr bwMode="auto">
              <a:xfrm>
                <a:off x="6692900" y="2271713"/>
                <a:ext cx="161925" cy="7938"/>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1"/>
                      <a:pt x="0" y="1"/>
                    </a:cubicBezTo>
                    <a:cubicBezTo>
                      <a:pt x="0" y="0"/>
                      <a:pt x="0" y="0"/>
                      <a:pt x="1" y="0"/>
                    </a:cubicBezTo>
                    <a:cubicBezTo>
                      <a:pt x="48" y="0"/>
                      <a:pt x="48" y="0"/>
                      <a:pt x="48" y="0"/>
                    </a:cubicBezTo>
                    <a:cubicBezTo>
                      <a:pt x="48" y="0"/>
                      <a:pt x="48" y="0"/>
                      <a:pt x="48" y="1"/>
                    </a:cubicBezTo>
                    <a:cubicBezTo>
                      <a:pt x="48" y="1"/>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a typeface="+mn-ea"/>
                  <a:cs typeface="+mn-cs"/>
                </a:endParaRPr>
              </a:p>
            </p:txBody>
          </p:sp>
          <p:sp>
            <p:nvSpPr>
              <p:cNvPr id="65" name="Freeform 105">
                <a:extLst>
                  <a:ext uri="{FF2B5EF4-FFF2-40B4-BE49-F238E27FC236}">
                    <a16:creationId xmlns:a16="http://schemas.microsoft.com/office/drawing/2014/main" id="{89B995F0-9F0C-4869-A86E-A114987EE6FB}"/>
                  </a:ext>
                </a:extLst>
              </p:cNvPr>
              <p:cNvSpPr>
                <a:spLocks/>
              </p:cNvSpPr>
              <p:nvPr/>
            </p:nvSpPr>
            <p:spPr bwMode="auto">
              <a:xfrm>
                <a:off x="6635750" y="2316163"/>
                <a:ext cx="53975" cy="41275"/>
              </a:xfrm>
              <a:custGeom>
                <a:avLst/>
                <a:gdLst>
                  <a:gd name="T0" fmla="*/ 6 w 16"/>
                  <a:gd name="T1" fmla="*/ 12 h 12"/>
                  <a:gd name="T2" fmla="*/ 5 w 16"/>
                  <a:gd name="T3" fmla="*/ 11 h 12"/>
                  <a:gd name="T4" fmla="*/ 0 w 16"/>
                  <a:gd name="T5" fmla="*/ 8 h 12"/>
                  <a:gd name="T6" fmla="*/ 0 w 16"/>
                  <a:gd name="T7" fmla="*/ 6 h 12"/>
                  <a:gd name="T8" fmla="*/ 1 w 16"/>
                  <a:gd name="T9" fmla="*/ 6 h 12"/>
                  <a:gd name="T10" fmla="*/ 5 w 16"/>
                  <a:gd name="T11" fmla="*/ 9 h 12"/>
                  <a:gd name="T12" fmla="*/ 14 w 16"/>
                  <a:gd name="T13" fmla="*/ 0 h 12"/>
                  <a:gd name="T14" fmla="*/ 16 w 16"/>
                  <a:gd name="T15" fmla="*/ 0 h 12"/>
                  <a:gd name="T16" fmla="*/ 15 w 16"/>
                  <a:gd name="T17" fmla="*/ 2 h 12"/>
                  <a:gd name="T18" fmla="*/ 6 w 16"/>
                  <a:gd name="T19" fmla="*/ 11 h 12"/>
                  <a:gd name="T20" fmla="*/ 6 w 16"/>
                  <a:gd name="T21"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2">
                    <a:moveTo>
                      <a:pt x="6" y="12"/>
                    </a:moveTo>
                    <a:cubicBezTo>
                      <a:pt x="5" y="11"/>
                      <a:pt x="5" y="11"/>
                      <a:pt x="5" y="11"/>
                    </a:cubicBezTo>
                    <a:cubicBezTo>
                      <a:pt x="4" y="10"/>
                      <a:pt x="0" y="8"/>
                      <a:pt x="0" y="8"/>
                    </a:cubicBezTo>
                    <a:cubicBezTo>
                      <a:pt x="0" y="7"/>
                      <a:pt x="0" y="7"/>
                      <a:pt x="0" y="6"/>
                    </a:cubicBezTo>
                    <a:cubicBezTo>
                      <a:pt x="0" y="6"/>
                      <a:pt x="1" y="6"/>
                      <a:pt x="1" y="6"/>
                    </a:cubicBezTo>
                    <a:cubicBezTo>
                      <a:pt x="1" y="6"/>
                      <a:pt x="4" y="8"/>
                      <a:pt x="5" y="9"/>
                    </a:cubicBezTo>
                    <a:cubicBezTo>
                      <a:pt x="7" y="7"/>
                      <a:pt x="10" y="3"/>
                      <a:pt x="14" y="0"/>
                    </a:cubicBezTo>
                    <a:cubicBezTo>
                      <a:pt x="15" y="0"/>
                      <a:pt x="15" y="0"/>
                      <a:pt x="16" y="0"/>
                    </a:cubicBezTo>
                    <a:cubicBezTo>
                      <a:pt x="16" y="1"/>
                      <a:pt x="16" y="1"/>
                      <a:pt x="15" y="2"/>
                    </a:cubicBezTo>
                    <a:cubicBezTo>
                      <a:pt x="11" y="4"/>
                      <a:pt x="8" y="9"/>
                      <a:pt x="6" y="11"/>
                    </a:cubicBezTo>
                    <a:lnTo>
                      <a:pt x="6" y="12"/>
                    </a:ln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a typeface="+mn-ea"/>
                  <a:cs typeface="+mn-cs"/>
                </a:endParaRPr>
              </a:p>
            </p:txBody>
          </p:sp>
          <p:sp>
            <p:nvSpPr>
              <p:cNvPr id="66" name="Freeform 106">
                <a:extLst>
                  <a:ext uri="{FF2B5EF4-FFF2-40B4-BE49-F238E27FC236}">
                    <a16:creationId xmlns:a16="http://schemas.microsoft.com/office/drawing/2014/main" id="{4162190C-01A9-4C0B-933E-5A93AE2F28DF}"/>
                  </a:ext>
                </a:extLst>
              </p:cNvPr>
              <p:cNvSpPr>
                <a:spLocks/>
              </p:cNvSpPr>
              <p:nvPr/>
            </p:nvSpPr>
            <p:spPr bwMode="auto">
              <a:xfrm>
                <a:off x="6692900" y="2339975"/>
                <a:ext cx="161925" cy="6350"/>
              </a:xfrm>
              <a:custGeom>
                <a:avLst/>
                <a:gdLst>
                  <a:gd name="T0" fmla="*/ 48 w 48"/>
                  <a:gd name="T1" fmla="*/ 2 h 2"/>
                  <a:gd name="T2" fmla="*/ 1 w 48"/>
                  <a:gd name="T3" fmla="*/ 2 h 2"/>
                  <a:gd name="T4" fmla="*/ 0 w 48"/>
                  <a:gd name="T5" fmla="*/ 1 h 2"/>
                  <a:gd name="T6" fmla="*/ 1 w 48"/>
                  <a:gd name="T7" fmla="*/ 0 h 2"/>
                  <a:gd name="T8" fmla="*/ 48 w 48"/>
                  <a:gd name="T9" fmla="*/ 0 h 2"/>
                  <a:gd name="T10" fmla="*/ 48 w 48"/>
                  <a:gd name="T11" fmla="*/ 1 h 2"/>
                  <a:gd name="T12" fmla="*/ 48 w 4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8" h="2">
                    <a:moveTo>
                      <a:pt x="48" y="2"/>
                    </a:moveTo>
                    <a:cubicBezTo>
                      <a:pt x="1" y="2"/>
                      <a:pt x="1" y="2"/>
                      <a:pt x="1" y="2"/>
                    </a:cubicBezTo>
                    <a:cubicBezTo>
                      <a:pt x="0" y="2"/>
                      <a:pt x="0" y="1"/>
                      <a:pt x="0" y="1"/>
                    </a:cubicBezTo>
                    <a:cubicBezTo>
                      <a:pt x="0" y="0"/>
                      <a:pt x="0" y="0"/>
                      <a:pt x="1" y="0"/>
                    </a:cubicBezTo>
                    <a:cubicBezTo>
                      <a:pt x="48" y="0"/>
                      <a:pt x="48" y="0"/>
                      <a:pt x="48" y="0"/>
                    </a:cubicBezTo>
                    <a:cubicBezTo>
                      <a:pt x="48" y="0"/>
                      <a:pt x="48" y="0"/>
                      <a:pt x="48" y="1"/>
                    </a:cubicBezTo>
                    <a:cubicBezTo>
                      <a:pt x="48" y="1"/>
                      <a:pt x="48" y="2"/>
                      <a:pt x="48" y="2"/>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ea typeface="+mn-ea"/>
                  <a:cs typeface="+mn-cs"/>
                </a:endParaRPr>
              </a:p>
            </p:txBody>
          </p:sp>
        </p:grpSp>
      </p:grpSp>
      <p:grpSp>
        <p:nvGrpSpPr>
          <p:cNvPr id="67" name="Groupe 134">
            <a:extLst>
              <a:ext uri="{FF2B5EF4-FFF2-40B4-BE49-F238E27FC236}">
                <a16:creationId xmlns:a16="http://schemas.microsoft.com/office/drawing/2014/main" id="{F6EEFD98-CC8C-446C-B0B0-3C19B06AA307}"/>
              </a:ext>
            </a:extLst>
          </p:cNvPr>
          <p:cNvGrpSpPr/>
          <p:nvPr/>
        </p:nvGrpSpPr>
        <p:grpSpPr>
          <a:xfrm>
            <a:off x="2564889" y="3650905"/>
            <a:ext cx="253100" cy="240305"/>
            <a:chOff x="3742125" y="4066482"/>
            <a:chExt cx="703653" cy="663508"/>
          </a:xfrm>
          <a:effectLst>
            <a:outerShdw blurRad="50800" dist="38100" dir="5400000" algn="t" rotWithShape="0">
              <a:prstClr val="black">
                <a:alpha val="40000"/>
              </a:prstClr>
            </a:outerShdw>
          </a:effectLst>
        </p:grpSpPr>
        <p:sp>
          <p:nvSpPr>
            <p:cNvPr id="68" name="Organigramme : Connecteur 133">
              <a:extLst>
                <a:ext uri="{FF2B5EF4-FFF2-40B4-BE49-F238E27FC236}">
                  <a16:creationId xmlns:a16="http://schemas.microsoft.com/office/drawing/2014/main" id="{8A8CBC72-23EB-4855-8021-92A46EDE16B8}"/>
                </a:ext>
              </a:extLst>
            </p:cNvPr>
            <p:cNvSpPr/>
            <p:nvPr/>
          </p:nvSpPr>
          <p:spPr>
            <a:xfrm>
              <a:off x="3742125" y="4066482"/>
              <a:ext cx="703653" cy="663508"/>
            </a:xfrm>
            <a:prstGeom prst="flowChartConnector">
              <a:avLst/>
            </a:prstGeom>
            <a:solidFill>
              <a:schemeClr val="bg1">
                <a:lumMod val="95000"/>
              </a:schemeClr>
            </a:solidFill>
            <a:ln>
              <a:solidFill>
                <a:schemeClr val="bg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sp>
          <p:nvSpPr>
            <p:cNvPr id="69" name="Chevron 36">
              <a:extLst>
                <a:ext uri="{FF2B5EF4-FFF2-40B4-BE49-F238E27FC236}">
                  <a16:creationId xmlns:a16="http://schemas.microsoft.com/office/drawing/2014/main" id="{CBD3AAC5-4686-470D-AA5D-C9F01DA9EB32}"/>
                </a:ext>
              </a:extLst>
            </p:cNvPr>
            <p:cNvSpPr/>
            <p:nvPr/>
          </p:nvSpPr>
          <p:spPr>
            <a:xfrm>
              <a:off x="3996713" y="4202141"/>
              <a:ext cx="232120" cy="398149"/>
            </a:xfrm>
            <a:prstGeom prst="chevron">
              <a:avLst/>
            </a:prstGeom>
            <a:solidFill>
              <a:schemeClr val="accent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a typeface="+mn-ea"/>
                <a:cs typeface="+mn-cs"/>
              </a:endParaRPr>
            </a:p>
          </p:txBody>
        </p:sp>
      </p:grpSp>
      <p:grpSp>
        <p:nvGrpSpPr>
          <p:cNvPr id="70" name="Groupe 137">
            <a:extLst>
              <a:ext uri="{FF2B5EF4-FFF2-40B4-BE49-F238E27FC236}">
                <a16:creationId xmlns:a16="http://schemas.microsoft.com/office/drawing/2014/main" id="{C840AD06-CD6D-4B75-BD86-6C7741B141DE}"/>
              </a:ext>
            </a:extLst>
          </p:cNvPr>
          <p:cNvGrpSpPr/>
          <p:nvPr/>
        </p:nvGrpSpPr>
        <p:grpSpPr>
          <a:xfrm>
            <a:off x="3739621" y="3650905"/>
            <a:ext cx="253100" cy="240305"/>
            <a:chOff x="3742125" y="4066482"/>
            <a:chExt cx="703653" cy="663508"/>
          </a:xfrm>
          <a:effectLst>
            <a:outerShdw blurRad="50800" dist="38100" dir="5400000" algn="t" rotWithShape="0">
              <a:prstClr val="black">
                <a:alpha val="40000"/>
              </a:prstClr>
            </a:outerShdw>
          </a:effectLst>
        </p:grpSpPr>
        <p:sp>
          <p:nvSpPr>
            <p:cNvPr id="71" name="Organigramme : Connecteur 138">
              <a:extLst>
                <a:ext uri="{FF2B5EF4-FFF2-40B4-BE49-F238E27FC236}">
                  <a16:creationId xmlns:a16="http://schemas.microsoft.com/office/drawing/2014/main" id="{08915768-0781-47E3-9EF5-ACF0079A3EB3}"/>
                </a:ext>
              </a:extLst>
            </p:cNvPr>
            <p:cNvSpPr/>
            <p:nvPr/>
          </p:nvSpPr>
          <p:spPr>
            <a:xfrm>
              <a:off x="3742125" y="4066482"/>
              <a:ext cx="703653" cy="663508"/>
            </a:xfrm>
            <a:prstGeom prst="flowChartConnector">
              <a:avLst/>
            </a:prstGeom>
            <a:solidFill>
              <a:schemeClr val="bg1">
                <a:lumMod val="95000"/>
              </a:schemeClr>
            </a:solidFill>
            <a:ln>
              <a:solidFill>
                <a:schemeClr val="bg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sp>
          <p:nvSpPr>
            <p:cNvPr id="72" name="Chevron 36">
              <a:extLst>
                <a:ext uri="{FF2B5EF4-FFF2-40B4-BE49-F238E27FC236}">
                  <a16:creationId xmlns:a16="http://schemas.microsoft.com/office/drawing/2014/main" id="{469DAD17-7E11-4F22-AAAB-05A59B3EC676}"/>
                </a:ext>
              </a:extLst>
            </p:cNvPr>
            <p:cNvSpPr/>
            <p:nvPr/>
          </p:nvSpPr>
          <p:spPr>
            <a:xfrm>
              <a:off x="3996713" y="4202141"/>
              <a:ext cx="232120" cy="398149"/>
            </a:xfrm>
            <a:prstGeom prst="chevron">
              <a:avLst/>
            </a:prstGeom>
            <a:solidFill>
              <a:schemeClr val="accent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a typeface="+mn-ea"/>
                <a:cs typeface="+mn-cs"/>
              </a:endParaRPr>
            </a:p>
          </p:txBody>
        </p:sp>
      </p:grpSp>
      <p:grpSp>
        <p:nvGrpSpPr>
          <p:cNvPr id="73" name="Groupe 140">
            <a:extLst>
              <a:ext uri="{FF2B5EF4-FFF2-40B4-BE49-F238E27FC236}">
                <a16:creationId xmlns:a16="http://schemas.microsoft.com/office/drawing/2014/main" id="{FC68A696-8F68-4227-AFB6-2606CF867F21}"/>
              </a:ext>
            </a:extLst>
          </p:cNvPr>
          <p:cNvGrpSpPr/>
          <p:nvPr/>
        </p:nvGrpSpPr>
        <p:grpSpPr>
          <a:xfrm>
            <a:off x="4904373" y="3645530"/>
            <a:ext cx="253100" cy="240305"/>
            <a:chOff x="3742125" y="4066482"/>
            <a:chExt cx="703653" cy="663508"/>
          </a:xfrm>
          <a:effectLst>
            <a:outerShdw blurRad="50800" dist="38100" dir="5400000" algn="t" rotWithShape="0">
              <a:prstClr val="black">
                <a:alpha val="40000"/>
              </a:prstClr>
            </a:outerShdw>
          </a:effectLst>
        </p:grpSpPr>
        <p:sp>
          <p:nvSpPr>
            <p:cNvPr id="74" name="Organigramme : Connecteur 141">
              <a:extLst>
                <a:ext uri="{FF2B5EF4-FFF2-40B4-BE49-F238E27FC236}">
                  <a16:creationId xmlns:a16="http://schemas.microsoft.com/office/drawing/2014/main" id="{1C51325D-F7C9-4CFD-A65C-E947F3C01F74}"/>
                </a:ext>
              </a:extLst>
            </p:cNvPr>
            <p:cNvSpPr/>
            <p:nvPr/>
          </p:nvSpPr>
          <p:spPr>
            <a:xfrm>
              <a:off x="3742125" y="4066482"/>
              <a:ext cx="703653" cy="663508"/>
            </a:xfrm>
            <a:prstGeom prst="flowChartConnector">
              <a:avLst/>
            </a:prstGeom>
            <a:solidFill>
              <a:schemeClr val="bg1">
                <a:lumMod val="95000"/>
              </a:schemeClr>
            </a:solidFill>
            <a:ln>
              <a:solidFill>
                <a:schemeClr val="bg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sp>
          <p:nvSpPr>
            <p:cNvPr id="75" name="Chevron 36">
              <a:extLst>
                <a:ext uri="{FF2B5EF4-FFF2-40B4-BE49-F238E27FC236}">
                  <a16:creationId xmlns:a16="http://schemas.microsoft.com/office/drawing/2014/main" id="{32281400-54EB-49C9-8BEC-3A5218A593FB}"/>
                </a:ext>
              </a:extLst>
            </p:cNvPr>
            <p:cNvSpPr/>
            <p:nvPr/>
          </p:nvSpPr>
          <p:spPr>
            <a:xfrm>
              <a:off x="3996713" y="4202141"/>
              <a:ext cx="232120" cy="398149"/>
            </a:xfrm>
            <a:prstGeom prst="chevron">
              <a:avLst/>
            </a:prstGeom>
            <a:solidFill>
              <a:schemeClr val="accent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a typeface="+mn-ea"/>
                <a:cs typeface="+mn-cs"/>
              </a:endParaRPr>
            </a:p>
          </p:txBody>
        </p:sp>
      </p:grpSp>
      <p:grpSp>
        <p:nvGrpSpPr>
          <p:cNvPr id="76" name="Groupe 143">
            <a:extLst>
              <a:ext uri="{FF2B5EF4-FFF2-40B4-BE49-F238E27FC236}">
                <a16:creationId xmlns:a16="http://schemas.microsoft.com/office/drawing/2014/main" id="{912B774E-8E86-448F-8519-0632039E777A}"/>
              </a:ext>
            </a:extLst>
          </p:cNvPr>
          <p:cNvGrpSpPr/>
          <p:nvPr/>
        </p:nvGrpSpPr>
        <p:grpSpPr>
          <a:xfrm>
            <a:off x="6023725" y="3637624"/>
            <a:ext cx="253100" cy="240305"/>
            <a:chOff x="3742125" y="4066482"/>
            <a:chExt cx="703653" cy="663508"/>
          </a:xfrm>
          <a:effectLst>
            <a:outerShdw blurRad="50800" dist="38100" dir="5400000" algn="t" rotWithShape="0">
              <a:prstClr val="black">
                <a:alpha val="40000"/>
              </a:prstClr>
            </a:outerShdw>
          </a:effectLst>
        </p:grpSpPr>
        <p:sp>
          <p:nvSpPr>
            <p:cNvPr id="77" name="Organigramme : Connecteur 144">
              <a:extLst>
                <a:ext uri="{FF2B5EF4-FFF2-40B4-BE49-F238E27FC236}">
                  <a16:creationId xmlns:a16="http://schemas.microsoft.com/office/drawing/2014/main" id="{DE2DF989-C64B-4753-AFD8-BD881BBC2772}"/>
                </a:ext>
              </a:extLst>
            </p:cNvPr>
            <p:cNvSpPr/>
            <p:nvPr/>
          </p:nvSpPr>
          <p:spPr>
            <a:xfrm>
              <a:off x="3742125" y="4066482"/>
              <a:ext cx="703653" cy="663508"/>
            </a:xfrm>
            <a:prstGeom prst="flowChartConnector">
              <a:avLst/>
            </a:prstGeom>
            <a:solidFill>
              <a:schemeClr val="bg1">
                <a:lumMod val="95000"/>
              </a:schemeClr>
            </a:solidFill>
            <a:ln>
              <a:solidFill>
                <a:schemeClr val="bg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sp>
          <p:nvSpPr>
            <p:cNvPr id="78" name="Chevron 36">
              <a:extLst>
                <a:ext uri="{FF2B5EF4-FFF2-40B4-BE49-F238E27FC236}">
                  <a16:creationId xmlns:a16="http://schemas.microsoft.com/office/drawing/2014/main" id="{2AA3F69F-6737-4928-ACED-D8916C498108}"/>
                </a:ext>
              </a:extLst>
            </p:cNvPr>
            <p:cNvSpPr/>
            <p:nvPr/>
          </p:nvSpPr>
          <p:spPr>
            <a:xfrm>
              <a:off x="3996713" y="4202141"/>
              <a:ext cx="232120" cy="398149"/>
            </a:xfrm>
            <a:prstGeom prst="chevron">
              <a:avLst/>
            </a:prstGeom>
            <a:solidFill>
              <a:schemeClr val="accent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a typeface="+mn-ea"/>
                <a:cs typeface="+mn-cs"/>
              </a:endParaRPr>
            </a:p>
          </p:txBody>
        </p:sp>
      </p:grpSp>
      <p:grpSp>
        <p:nvGrpSpPr>
          <p:cNvPr id="79" name="Groupe 146">
            <a:extLst>
              <a:ext uri="{FF2B5EF4-FFF2-40B4-BE49-F238E27FC236}">
                <a16:creationId xmlns:a16="http://schemas.microsoft.com/office/drawing/2014/main" id="{B680B6DD-8EDA-4826-8A6E-DB376551C4CB}"/>
              </a:ext>
            </a:extLst>
          </p:cNvPr>
          <p:cNvGrpSpPr/>
          <p:nvPr/>
        </p:nvGrpSpPr>
        <p:grpSpPr>
          <a:xfrm>
            <a:off x="7182621" y="3635219"/>
            <a:ext cx="253100" cy="240305"/>
            <a:chOff x="3742125" y="4066482"/>
            <a:chExt cx="703653" cy="663508"/>
          </a:xfrm>
          <a:effectLst>
            <a:outerShdw blurRad="50800" dist="38100" dir="5400000" algn="t" rotWithShape="0">
              <a:prstClr val="black">
                <a:alpha val="40000"/>
              </a:prstClr>
            </a:outerShdw>
          </a:effectLst>
        </p:grpSpPr>
        <p:sp>
          <p:nvSpPr>
            <p:cNvPr id="80" name="Organigramme : Connecteur 147">
              <a:extLst>
                <a:ext uri="{FF2B5EF4-FFF2-40B4-BE49-F238E27FC236}">
                  <a16:creationId xmlns:a16="http://schemas.microsoft.com/office/drawing/2014/main" id="{B3ED30BF-E3AB-474B-87A3-972A7E97B95F}"/>
                </a:ext>
              </a:extLst>
            </p:cNvPr>
            <p:cNvSpPr/>
            <p:nvPr/>
          </p:nvSpPr>
          <p:spPr>
            <a:xfrm>
              <a:off x="3742125" y="4066482"/>
              <a:ext cx="703653" cy="663508"/>
            </a:xfrm>
            <a:prstGeom prst="flowChartConnector">
              <a:avLst/>
            </a:prstGeom>
            <a:solidFill>
              <a:schemeClr val="bg1">
                <a:lumMod val="95000"/>
              </a:schemeClr>
            </a:solidFill>
            <a:ln>
              <a:solidFill>
                <a:schemeClr val="bg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sp>
          <p:nvSpPr>
            <p:cNvPr id="81" name="Chevron 36">
              <a:extLst>
                <a:ext uri="{FF2B5EF4-FFF2-40B4-BE49-F238E27FC236}">
                  <a16:creationId xmlns:a16="http://schemas.microsoft.com/office/drawing/2014/main" id="{7C3BCEB3-70F5-4D6C-A5C7-CE95F27688B1}"/>
                </a:ext>
              </a:extLst>
            </p:cNvPr>
            <p:cNvSpPr/>
            <p:nvPr/>
          </p:nvSpPr>
          <p:spPr>
            <a:xfrm>
              <a:off x="3996713" y="4202141"/>
              <a:ext cx="232120" cy="398149"/>
            </a:xfrm>
            <a:prstGeom prst="chevron">
              <a:avLst/>
            </a:prstGeom>
            <a:solidFill>
              <a:schemeClr val="accent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a typeface="+mn-ea"/>
                <a:cs typeface="+mn-cs"/>
              </a:endParaRPr>
            </a:p>
          </p:txBody>
        </p:sp>
      </p:grpSp>
      <p:grpSp>
        <p:nvGrpSpPr>
          <p:cNvPr id="82" name="Groupe 149">
            <a:extLst>
              <a:ext uri="{FF2B5EF4-FFF2-40B4-BE49-F238E27FC236}">
                <a16:creationId xmlns:a16="http://schemas.microsoft.com/office/drawing/2014/main" id="{7584A383-88D9-4EAF-9945-37010EB50257}"/>
              </a:ext>
            </a:extLst>
          </p:cNvPr>
          <p:cNvGrpSpPr/>
          <p:nvPr/>
        </p:nvGrpSpPr>
        <p:grpSpPr>
          <a:xfrm>
            <a:off x="8329656" y="3638301"/>
            <a:ext cx="253100" cy="240305"/>
            <a:chOff x="3742125" y="4066482"/>
            <a:chExt cx="703653" cy="663508"/>
          </a:xfrm>
          <a:effectLst>
            <a:outerShdw blurRad="50800" dist="38100" dir="5400000" algn="t" rotWithShape="0">
              <a:prstClr val="black">
                <a:alpha val="40000"/>
              </a:prstClr>
            </a:outerShdw>
          </a:effectLst>
        </p:grpSpPr>
        <p:sp>
          <p:nvSpPr>
            <p:cNvPr id="83" name="Organigramme : Connecteur 150">
              <a:extLst>
                <a:ext uri="{FF2B5EF4-FFF2-40B4-BE49-F238E27FC236}">
                  <a16:creationId xmlns:a16="http://schemas.microsoft.com/office/drawing/2014/main" id="{036A9191-14CC-43F8-A2BB-8ACD4A6C0503}"/>
                </a:ext>
              </a:extLst>
            </p:cNvPr>
            <p:cNvSpPr/>
            <p:nvPr/>
          </p:nvSpPr>
          <p:spPr>
            <a:xfrm>
              <a:off x="3742125" y="4066482"/>
              <a:ext cx="703653" cy="663508"/>
            </a:xfrm>
            <a:prstGeom prst="flowChartConnector">
              <a:avLst/>
            </a:prstGeom>
            <a:solidFill>
              <a:schemeClr val="bg1">
                <a:lumMod val="95000"/>
              </a:schemeClr>
            </a:solidFill>
            <a:ln>
              <a:solidFill>
                <a:schemeClr val="bg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sp>
          <p:nvSpPr>
            <p:cNvPr id="84" name="Chevron 36">
              <a:extLst>
                <a:ext uri="{FF2B5EF4-FFF2-40B4-BE49-F238E27FC236}">
                  <a16:creationId xmlns:a16="http://schemas.microsoft.com/office/drawing/2014/main" id="{C15D28E6-AB4A-407D-8763-432C10C69B96}"/>
                </a:ext>
              </a:extLst>
            </p:cNvPr>
            <p:cNvSpPr/>
            <p:nvPr/>
          </p:nvSpPr>
          <p:spPr>
            <a:xfrm>
              <a:off x="3996713" y="4202141"/>
              <a:ext cx="232120" cy="398149"/>
            </a:xfrm>
            <a:prstGeom prst="chevron">
              <a:avLst/>
            </a:prstGeom>
            <a:solidFill>
              <a:schemeClr val="accent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a typeface="+mn-ea"/>
                <a:cs typeface="+mn-cs"/>
              </a:endParaRPr>
            </a:p>
          </p:txBody>
        </p:sp>
      </p:grpSp>
      <p:cxnSp>
        <p:nvCxnSpPr>
          <p:cNvPr id="85" name="Straight Connector 23">
            <a:extLst>
              <a:ext uri="{FF2B5EF4-FFF2-40B4-BE49-F238E27FC236}">
                <a16:creationId xmlns:a16="http://schemas.microsoft.com/office/drawing/2014/main" id="{7CC3B8A1-A903-435D-8F1A-85B8AA6AA897}"/>
              </a:ext>
            </a:extLst>
          </p:cNvPr>
          <p:cNvCxnSpPr>
            <a:cxnSpLocks/>
            <a:endCxn id="92" idx="0"/>
          </p:cNvCxnSpPr>
          <p:nvPr/>
        </p:nvCxnSpPr>
        <p:spPr>
          <a:xfrm>
            <a:off x="2102992" y="4095007"/>
            <a:ext cx="1934" cy="438912"/>
          </a:xfrm>
          <a:prstGeom prst="line">
            <a:avLst/>
          </a:prstGeom>
          <a:ln>
            <a:solidFill>
              <a:srgbClr val="FDFDFD"/>
            </a:solidFill>
          </a:ln>
        </p:spPr>
        <p:style>
          <a:lnRef idx="1">
            <a:schemeClr val="accent1"/>
          </a:lnRef>
          <a:fillRef idx="0">
            <a:schemeClr val="accent1"/>
          </a:fillRef>
          <a:effectRef idx="0">
            <a:schemeClr val="accent1"/>
          </a:effectRef>
          <a:fontRef idx="minor">
            <a:schemeClr val="tx1"/>
          </a:fontRef>
        </p:style>
      </p:cxnSp>
      <p:cxnSp>
        <p:nvCxnSpPr>
          <p:cNvPr id="86" name="Straight Connector 23">
            <a:extLst>
              <a:ext uri="{FF2B5EF4-FFF2-40B4-BE49-F238E27FC236}">
                <a16:creationId xmlns:a16="http://schemas.microsoft.com/office/drawing/2014/main" id="{9C0DCAC1-3281-499F-AF13-6C1FF8461CC8}"/>
              </a:ext>
            </a:extLst>
          </p:cNvPr>
          <p:cNvCxnSpPr>
            <a:cxnSpLocks/>
            <a:stCxn id="93" idx="4"/>
            <a:endCxn id="24" idx="1"/>
          </p:cNvCxnSpPr>
          <p:nvPr/>
        </p:nvCxnSpPr>
        <p:spPr>
          <a:xfrm flipH="1">
            <a:off x="3283234" y="3056522"/>
            <a:ext cx="1223" cy="438912"/>
          </a:xfrm>
          <a:prstGeom prst="line">
            <a:avLst/>
          </a:prstGeom>
          <a:ln>
            <a:solidFill>
              <a:srgbClr val="FDFDFD"/>
            </a:solidFill>
          </a:ln>
        </p:spPr>
        <p:style>
          <a:lnRef idx="1">
            <a:schemeClr val="accent1"/>
          </a:lnRef>
          <a:fillRef idx="0">
            <a:schemeClr val="accent1"/>
          </a:fillRef>
          <a:effectRef idx="0">
            <a:schemeClr val="accent1"/>
          </a:effectRef>
          <a:fontRef idx="minor">
            <a:schemeClr val="tx1"/>
          </a:fontRef>
        </p:style>
      </p:cxnSp>
      <p:cxnSp>
        <p:nvCxnSpPr>
          <p:cNvPr id="87" name="Straight Connector 23">
            <a:extLst>
              <a:ext uri="{FF2B5EF4-FFF2-40B4-BE49-F238E27FC236}">
                <a16:creationId xmlns:a16="http://schemas.microsoft.com/office/drawing/2014/main" id="{06BD85B7-CBD4-4383-8574-D50784D7B99F}"/>
              </a:ext>
            </a:extLst>
          </p:cNvPr>
          <p:cNvCxnSpPr>
            <a:cxnSpLocks/>
            <a:endCxn id="94" idx="0"/>
          </p:cNvCxnSpPr>
          <p:nvPr/>
        </p:nvCxnSpPr>
        <p:spPr>
          <a:xfrm>
            <a:off x="4486211" y="4109737"/>
            <a:ext cx="1234" cy="438912"/>
          </a:xfrm>
          <a:prstGeom prst="line">
            <a:avLst/>
          </a:prstGeom>
          <a:ln>
            <a:solidFill>
              <a:srgbClr val="FDFDFD"/>
            </a:solidFill>
          </a:ln>
        </p:spPr>
        <p:style>
          <a:lnRef idx="1">
            <a:schemeClr val="accent1"/>
          </a:lnRef>
          <a:fillRef idx="0">
            <a:schemeClr val="accent1"/>
          </a:fillRef>
          <a:effectRef idx="0">
            <a:schemeClr val="accent1"/>
          </a:effectRef>
          <a:fontRef idx="minor">
            <a:schemeClr val="tx1"/>
          </a:fontRef>
        </p:style>
      </p:cxnSp>
      <p:cxnSp>
        <p:nvCxnSpPr>
          <p:cNvPr id="88" name="Straight Connector 23">
            <a:extLst>
              <a:ext uri="{FF2B5EF4-FFF2-40B4-BE49-F238E27FC236}">
                <a16:creationId xmlns:a16="http://schemas.microsoft.com/office/drawing/2014/main" id="{A050FF72-E2C0-43AE-8D9E-A4E456209F88}"/>
              </a:ext>
            </a:extLst>
          </p:cNvPr>
          <p:cNvCxnSpPr>
            <a:cxnSpLocks/>
            <a:stCxn id="95" idx="4"/>
          </p:cNvCxnSpPr>
          <p:nvPr/>
        </p:nvCxnSpPr>
        <p:spPr>
          <a:xfrm>
            <a:off x="5556203" y="3056522"/>
            <a:ext cx="0" cy="438912"/>
          </a:xfrm>
          <a:prstGeom prst="line">
            <a:avLst/>
          </a:prstGeom>
          <a:ln>
            <a:solidFill>
              <a:srgbClr val="FDFDFD"/>
            </a:solidFill>
          </a:ln>
        </p:spPr>
        <p:style>
          <a:lnRef idx="1">
            <a:schemeClr val="accent1"/>
          </a:lnRef>
          <a:fillRef idx="0">
            <a:schemeClr val="accent1"/>
          </a:fillRef>
          <a:effectRef idx="0">
            <a:schemeClr val="accent1"/>
          </a:effectRef>
          <a:fontRef idx="minor">
            <a:schemeClr val="tx1"/>
          </a:fontRef>
        </p:style>
      </p:cxnSp>
      <p:cxnSp>
        <p:nvCxnSpPr>
          <p:cNvPr id="89" name="Straight Connector 23">
            <a:extLst>
              <a:ext uri="{FF2B5EF4-FFF2-40B4-BE49-F238E27FC236}">
                <a16:creationId xmlns:a16="http://schemas.microsoft.com/office/drawing/2014/main" id="{6601D650-C0E3-4677-B0CB-0BD4963A6698}"/>
              </a:ext>
            </a:extLst>
          </p:cNvPr>
          <p:cNvCxnSpPr>
            <a:cxnSpLocks/>
            <a:endCxn id="96" idx="0"/>
          </p:cNvCxnSpPr>
          <p:nvPr/>
        </p:nvCxnSpPr>
        <p:spPr>
          <a:xfrm>
            <a:off x="6671555" y="4094055"/>
            <a:ext cx="1" cy="445470"/>
          </a:xfrm>
          <a:prstGeom prst="line">
            <a:avLst/>
          </a:prstGeom>
          <a:ln>
            <a:solidFill>
              <a:srgbClr val="FDFDFD"/>
            </a:solidFill>
          </a:ln>
        </p:spPr>
        <p:style>
          <a:lnRef idx="1">
            <a:schemeClr val="accent1"/>
          </a:lnRef>
          <a:fillRef idx="0">
            <a:schemeClr val="accent1"/>
          </a:fillRef>
          <a:effectRef idx="0">
            <a:schemeClr val="accent1"/>
          </a:effectRef>
          <a:fontRef idx="minor">
            <a:schemeClr val="tx1"/>
          </a:fontRef>
        </p:style>
      </p:cxnSp>
      <p:cxnSp>
        <p:nvCxnSpPr>
          <p:cNvPr id="90" name="Straight Connector 23">
            <a:extLst>
              <a:ext uri="{FF2B5EF4-FFF2-40B4-BE49-F238E27FC236}">
                <a16:creationId xmlns:a16="http://schemas.microsoft.com/office/drawing/2014/main" id="{B5C55F1E-DA60-4985-9112-999464CFC045}"/>
              </a:ext>
            </a:extLst>
          </p:cNvPr>
          <p:cNvCxnSpPr>
            <a:cxnSpLocks/>
            <a:stCxn id="97" idx="4"/>
          </p:cNvCxnSpPr>
          <p:nvPr/>
        </p:nvCxnSpPr>
        <p:spPr>
          <a:xfrm flipH="1">
            <a:off x="7828829" y="3056522"/>
            <a:ext cx="1941" cy="438912"/>
          </a:xfrm>
          <a:prstGeom prst="line">
            <a:avLst/>
          </a:prstGeom>
          <a:ln>
            <a:solidFill>
              <a:srgbClr val="FDFDFD"/>
            </a:solidFill>
          </a:ln>
        </p:spPr>
        <p:style>
          <a:lnRef idx="1">
            <a:schemeClr val="accent1"/>
          </a:lnRef>
          <a:fillRef idx="0">
            <a:schemeClr val="accent1"/>
          </a:fillRef>
          <a:effectRef idx="0">
            <a:schemeClr val="accent1"/>
          </a:effectRef>
          <a:fontRef idx="minor">
            <a:schemeClr val="tx1"/>
          </a:fontRef>
        </p:style>
      </p:cxnSp>
      <p:cxnSp>
        <p:nvCxnSpPr>
          <p:cNvPr id="91" name="Straight Connector 23">
            <a:extLst>
              <a:ext uri="{FF2B5EF4-FFF2-40B4-BE49-F238E27FC236}">
                <a16:creationId xmlns:a16="http://schemas.microsoft.com/office/drawing/2014/main" id="{B6BE1745-A03B-44DF-9B6F-863DBB95346A}"/>
              </a:ext>
            </a:extLst>
          </p:cNvPr>
          <p:cNvCxnSpPr>
            <a:cxnSpLocks/>
          </p:cNvCxnSpPr>
          <p:nvPr/>
        </p:nvCxnSpPr>
        <p:spPr>
          <a:xfrm>
            <a:off x="9043876" y="4091430"/>
            <a:ext cx="0" cy="438912"/>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92" name="Oval 35">
            <a:extLst>
              <a:ext uri="{FF2B5EF4-FFF2-40B4-BE49-F238E27FC236}">
                <a16:creationId xmlns:a16="http://schemas.microsoft.com/office/drawing/2014/main" id="{9A016308-5716-46C0-9A17-B7E6BEBAD6F0}"/>
              </a:ext>
            </a:extLst>
          </p:cNvPr>
          <p:cNvSpPr/>
          <p:nvPr/>
        </p:nvSpPr>
        <p:spPr>
          <a:xfrm>
            <a:off x="2061359" y="4530179"/>
            <a:ext cx="115241" cy="107652"/>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87552" rtl="0" eaLnBrk="1" fontAlgn="auto" latinLnBrk="0" hangingPunct="1">
              <a:lnSpc>
                <a:spcPct val="100000"/>
              </a:lnSpc>
              <a:spcBef>
                <a:spcPts val="0"/>
              </a:spcBef>
              <a:spcAft>
                <a:spcPts val="0"/>
              </a:spcAft>
              <a:buClrTx/>
              <a:buSzTx/>
              <a:buFontTx/>
              <a:buNone/>
              <a:tabLst/>
              <a:defRPr/>
            </a:pPr>
            <a:endParaRPr kumimoji="0" lang="fr-FR" sz="1512" b="0" i="0" u="none" strike="noStrike" kern="0" cap="none" spc="0" normalizeH="0" baseline="0" noProof="0">
              <a:ln>
                <a:noFill/>
              </a:ln>
              <a:solidFill>
                <a:sysClr val="windowText" lastClr="000000"/>
              </a:solidFill>
              <a:effectLst/>
              <a:uLnTx/>
              <a:uFillTx/>
              <a:ea typeface="+mn-ea"/>
              <a:cs typeface="Arial" panose="020B0604020202020204" pitchFamily="34" charset="0"/>
            </a:endParaRPr>
          </a:p>
        </p:txBody>
      </p:sp>
      <p:sp>
        <p:nvSpPr>
          <p:cNvPr id="93" name="Oval 35">
            <a:extLst>
              <a:ext uri="{FF2B5EF4-FFF2-40B4-BE49-F238E27FC236}">
                <a16:creationId xmlns:a16="http://schemas.microsoft.com/office/drawing/2014/main" id="{077EDB76-88BA-4EB2-AD1E-4E4BE24DD302}"/>
              </a:ext>
            </a:extLst>
          </p:cNvPr>
          <p:cNvSpPr/>
          <p:nvPr/>
        </p:nvSpPr>
        <p:spPr>
          <a:xfrm>
            <a:off x="3226836" y="2948870"/>
            <a:ext cx="115241" cy="107652"/>
          </a:xfrm>
          <a:prstGeom prst="ellipse">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87552" rtl="0" eaLnBrk="1" fontAlgn="auto" latinLnBrk="0" hangingPunct="1">
              <a:lnSpc>
                <a:spcPct val="100000"/>
              </a:lnSpc>
              <a:spcBef>
                <a:spcPts val="0"/>
              </a:spcBef>
              <a:spcAft>
                <a:spcPts val="0"/>
              </a:spcAft>
              <a:buClrTx/>
              <a:buSzTx/>
              <a:buFontTx/>
              <a:buNone/>
              <a:tabLst/>
              <a:defRPr/>
            </a:pPr>
            <a:endParaRPr kumimoji="0" lang="fr-FR" sz="1512" b="0" i="0" u="none" strike="noStrike" kern="0" cap="none" spc="0" normalizeH="0" baseline="0" noProof="0">
              <a:ln>
                <a:noFill/>
              </a:ln>
              <a:solidFill>
                <a:sysClr val="windowText" lastClr="000000"/>
              </a:solidFill>
              <a:effectLst/>
              <a:uLnTx/>
              <a:uFillTx/>
              <a:ea typeface="+mn-ea"/>
              <a:cs typeface="Arial" panose="020B0604020202020204" pitchFamily="34" charset="0"/>
            </a:endParaRPr>
          </a:p>
        </p:txBody>
      </p:sp>
      <p:sp>
        <p:nvSpPr>
          <p:cNvPr id="94" name="Oval 35">
            <a:extLst>
              <a:ext uri="{FF2B5EF4-FFF2-40B4-BE49-F238E27FC236}">
                <a16:creationId xmlns:a16="http://schemas.microsoft.com/office/drawing/2014/main" id="{B348A2CF-941B-4B53-8251-435B780BA721}"/>
              </a:ext>
            </a:extLst>
          </p:cNvPr>
          <p:cNvSpPr/>
          <p:nvPr/>
        </p:nvSpPr>
        <p:spPr>
          <a:xfrm>
            <a:off x="4393881" y="4530179"/>
            <a:ext cx="115241" cy="107652"/>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87552" rtl="0" eaLnBrk="1" fontAlgn="auto" latinLnBrk="0" hangingPunct="1">
              <a:lnSpc>
                <a:spcPct val="100000"/>
              </a:lnSpc>
              <a:spcBef>
                <a:spcPts val="0"/>
              </a:spcBef>
              <a:spcAft>
                <a:spcPts val="0"/>
              </a:spcAft>
              <a:buClrTx/>
              <a:buSzTx/>
              <a:buFontTx/>
              <a:buNone/>
              <a:tabLst/>
              <a:defRPr/>
            </a:pPr>
            <a:endParaRPr kumimoji="0" lang="fr-FR" sz="1512" b="0" i="0" u="none" strike="noStrike" kern="0" cap="none" spc="0" normalizeH="0" baseline="0" noProof="0">
              <a:ln>
                <a:noFill/>
              </a:ln>
              <a:solidFill>
                <a:sysClr val="windowText" lastClr="000000"/>
              </a:solidFill>
              <a:effectLst/>
              <a:uLnTx/>
              <a:uFillTx/>
              <a:ea typeface="+mn-ea"/>
              <a:cs typeface="Arial" panose="020B0604020202020204" pitchFamily="34" charset="0"/>
            </a:endParaRPr>
          </a:p>
        </p:txBody>
      </p:sp>
      <p:sp>
        <p:nvSpPr>
          <p:cNvPr id="95" name="Oval 35">
            <a:extLst>
              <a:ext uri="{FF2B5EF4-FFF2-40B4-BE49-F238E27FC236}">
                <a16:creationId xmlns:a16="http://schemas.microsoft.com/office/drawing/2014/main" id="{1B896841-34FA-40FC-A66E-CF65F30DAB1C}"/>
              </a:ext>
            </a:extLst>
          </p:cNvPr>
          <p:cNvSpPr/>
          <p:nvPr/>
        </p:nvSpPr>
        <p:spPr>
          <a:xfrm>
            <a:off x="5506016" y="2948870"/>
            <a:ext cx="115241" cy="107652"/>
          </a:xfrm>
          <a:prstGeom prst="ellipse">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87552" rtl="0" eaLnBrk="1" fontAlgn="auto" latinLnBrk="0" hangingPunct="1">
              <a:lnSpc>
                <a:spcPct val="100000"/>
              </a:lnSpc>
              <a:spcBef>
                <a:spcPts val="0"/>
              </a:spcBef>
              <a:spcAft>
                <a:spcPts val="0"/>
              </a:spcAft>
              <a:buClrTx/>
              <a:buSzTx/>
              <a:buFontTx/>
              <a:buNone/>
              <a:tabLst/>
              <a:defRPr/>
            </a:pPr>
            <a:endParaRPr kumimoji="0" lang="fr-FR" sz="1512" b="0" i="0" u="none" strike="noStrike" kern="0" cap="none" spc="0" normalizeH="0" baseline="0" noProof="0">
              <a:ln>
                <a:noFill/>
              </a:ln>
              <a:solidFill>
                <a:sysClr val="windowText" lastClr="000000"/>
              </a:solidFill>
              <a:effectLst/>
              <a:uLnTx/>
              <a:uFillTx/>
              <a:ea typeface="+mn-ea"/>
              <a:cs typeface="Arial" panose="020B0604020202020204" pitchFamily="34" charset="0"/>
            </a:endParaRPr>
          </a:p>
        </p:txBody>
      </p:sp>
      <p:sp>
        <p:nvSpPr>
          <p:cNvPr id="96" name="Oval 35">
            <a:extLst>
              <a:ext uri="{FF2B5EF4-FFF2-40B4-BE49-F238E27FC236}">
                <a16:creationId xmlns:a16="http://schemas.microsoft.com/office/drawing/2014/main" id="{EB9E89D4-E410-412E-8DC6-31FCF23A1D97}"/>
              </a:ext>
            </a:extLst>
          </p:cNvPr>
          <p:cNvSpPr/>
          <p:nvPr/>
        </p:nvSpPr>
        <p:spPr>
          <a:xfrm>
            <a:off x="6641622" y="4530179"/>
            <a:ext cx="115241" cy="107652"/>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87552" rtl="0" eaLnBrk="1" fontAlgn="auto" latinLnBrk="0" hangingPunct="1">
              <a:lnSpc>
                <a:spcPct val="100000"/>
              </a:lnSpc>
              <a:spcBef>
                <a:spcPts val="0"/>
              </a:spcBef>
              <a:spcAft>
                <a:spcPts val="0"/>
              </a:spcAft>
              <a:buClrTx/>
              <a:buSzTx/>
              <a:buFontTx/>
              <a:buNone/>
              <a:tabLst/>
              <a:defRPr/>
            </a:pPr>
            <a:endParaRPr kumimoji="0" lang="fr-FR" sz="1512" b="0" i="0" u="none" strike="noStrike" kern="0" cap="none" spc="0" normalizeH="0" baseline="0" noProof="0">
              <a:ln>
                <a:noFill/>
              </a:ln>
              <a:solidFill>
                <a:sysClr val="windowText" lastClr="000000"/>
              </a:solidFill>
              <a:effectLst/>
              <a:uLnTx/>
              <a:uFillTx/>
              <a:ea typeface="+mn-ea"/>
              <a:cs typeface="Arial" panose="020B0604020202020204" pitchFamily="34" charset="0"/>
            </a:endParaRPr>
          </a:p>
        </p:txBody>
      </p:sp>
      <p:sp>
        <p:nvSpPr>
          <p:cNvPr id="97" name="Oval 35">
            <a:extLst>
              <a:ext uri="{FF2B5EF4-FFF2-40B4-BE49-F238E27FC236}">
                <a16:creationId xmlns:a16="http://schemas.microsoft.com/office/drawing/2014/main" id="{03A91D59-2A04-46FD-9552-675F6C0BAA27}"/>
              </a:ext>
            </a:extLst>
          </p:cNvPr>
          <p:cNvSpPr/>
          <p:nvPr/>
        </p:nvSpPr>
        <p:spPr>
          <a:xfrm>
            <a:off x="7809463" y="2948870"/>
            <a:ext cx="115241" cy="107652"/>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87552" rtl="0" eaLnBrk="1" fontAlgn="auto" latinLnBrk="0" hangingPunct="1">
              <a:lnSpc>
                <a:spcPct val="100000"/>
              </a:lnSpc>
              <a:spcBef>
                <a:spcPts val="0"/>
              </a:spcBef>
              <a:spcAft>
                <a:spcPts val="0"/>
              </a:spcAft>
              <a:buClrTx/>
              <a:buSzTx/>
              <a:buFontTx/>
              <a:buNone/>
              <a:tabLst/>
              <a:defRPr/>
            </a:pPr>
            <a:endParaRPr kumimoji="0" lang="fr-FR" sz="1512" b="0" i="0" u="none" strike="noStrike" kern="0" cap="none" spc="0" normalizeH="0" baseline="0" noProof="0">
              <a:ln>
                <a:noFill/>
              </a:ln>
              <a:solidFill>
                <a:sysClr val="windowText" lastClr="000000"/>
              </a:solidFill>
              <a:effectLst/>
              <a:uLnTx/>
              <a:uFillTx/>
              <a:ea typeface="+mn-ea"/>
              <a:cs typeface="Arial" panose="020B0604020202020204" pitchFamily="34" charset="0"/>
            </a:endParaRPr>
          </a:p>
        </p:txBody>
      </p:sp>
      <p:sp>
        <p:nvSpPr>
          <p:cNvPr id="98" name="Oval 35">
            <a:extLst>
              <a:ext uri="{FF2B5EF4-FFF2-40B4-BE49-F238E27FC236}">
                <a16:creationId xmlns:a16="http://schemas.microsoft.com/office/drawing/2014/main" id="{B2C4F847-6C3C-4F8A-AD60-A0602CC25A5F}"/>
              </a:ext>
            </a:extLst>
          </p:cNvPr>
          <p:cNvSpPr/>
          <p:nvPr/>
        </p:nvSpPr>
        <p:spPr>
          <a:xfrm>
            <a:off x="8985555" y="4530179"/>
            <a:ext cx="115241" cy="107652"/>
          </a:xfrm>
          <a:prstGeom prst="ellipse">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87552" rtl="0" eaLnBrk="1" fontAlgn="auto" latinLnBrk="0" hangingPunct="1">
              <a:lnSpc>
                <a:spcPct val="100000"/>
              </a:lnSpc>
              <a:spcBef>
                <a:spcPts val="0"/>
              </a:spcBef>
              <a:spcAft>
                <a:spcPts val="0"/>
              </a:spcAft>
              <a:buClrTx/>
              <a:buSzTx/>
              <a:buFontTx/>
              <a:buNone/>
              <a:tabLst/>
              <a:defRPr/>
            </a:pPr>
            <a:endParaRPr kumimoji="0" lang="fr-FR" sz="1512" b="0" i="0" u="none" strike="noStrike" kern="0" cap="none" spc="0" normalizeH="0" baseline="0" noProof="0">
              <a:ln>
                <a:noFill/>
              </a:ln>
              <a:solidFill>
                <a:sysClr val="windowText" lastClr="000000"/>
              </a:solidFill>
              <a:effectLst/>
              <a:uLnTx/>
              <a:uFillTx/>
              <a:ea typeface="+mn-ea"/>
              <a:cs typeface="Arial" panose="020B0604020202020204" pitchFamily="34" charset="0"/>
            </a:endParaRPr>
          </a:p>
        </p:txBody>
      </p:sp>
      <p:sp>
        <p:nvSpPr>
          <p:cNvPr id="99" name="Oval 35">
            <a:extLst>
              <a:ext uri="{FF2B5EF4-FFF2-40B4-BE49-F238E27FC236}">
                <a16:creationId xmlns:a16="http://schemas.microsoft.com/office/drawing/2014/main" id="{98A84F3B-421B-4109-8976-6682101B1C71}"/>
              </a:ext>
            </a:extLst>
          </p:cNvPr>
          <p:cNvSpPr/>
          <p:nvPr/>
        </p:nvSpPr>
        <p:spPr>
          <a:xfrm>
            <a:off x="1401988" y="3726413"/>
            <a:ext cx="115241" cy="107652"/>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87552" rtl="0" eaLnBrk="1" fontAlgn="auto" latinLnBrk="0" hangingPunct="1">
              <a:lnSpc>
                <a:spcPct val="100000"/>
              </a:lnSpc>
              <a:spcBef>
                <a:spcPts val="0"/>
              </a:spcBef>
              <a:spcAft>
                <a:spcPts val="0"/>
              </a:spcAft>
              <a:buClrTx/>
              <a:buSzTx/>
              <a:buFontTx/>
              <a:buNone/>
              <a:tabLst/>
              <a:defRPr/>
            </a:pPr>
            <a:endParaRPr kumimoji="0" lang="fr-FR" sz="1512" b="0" i="0" u="none" strike="noStrike" kern="0" cap="none" spc="0" normalizeH="0" baseline="0" noProof="0">
              <a:ln>
                <a:noFill/>
              </a:ln>
              <a:solidFill>
                <a:sysClr val="windowText" lastClr="000000"/>
              </a:solidFill>
              <a:effectLst/>
              <a:uLnTx/>
              <a:uFillTx/>
              <a:ea typeface="+mn-ea"/>
              <a:cs typeface="Arial" panose="020B0604020202020204" pitchFamily="34" charset="0"/>
            </a:endParaRPr>
          </a:p>
        </p:txBody>
      </p:sp>
      <p:pic>
        <p:nvPicPr>
          <p:cNvPr id="100" name="Image 188">
            <a:extLst>
              <a:ext uri="{FF2B5EF4-FFF2-40B4-BE49-F238E27FC236}">
                <a16:creationId xmlns:a16="http://schemas.microsoft.com/office/drawing/2014/main" id="{7B5A3654-7BAA-4187-96E7-5402C34772BF}"/>
              </a:ext>
            </a:extLst>
          </p:cNvPr>
          <p:cNvPicPr>
            <a:picLocks noChangeAspect="1"/>
          </p:cNvPicPr>
          <p:nvPr/>
        </p:nvPicPr>
        <p:blipFill>
          <a:blip r:embed="rId7" cstate="email">
            <a:lum bright="70000" contrast="-70000"/>
            <a:extLst>
              <a:ext uri="{28A0092B-C50C-407E-A947-70E740481C1C}">
                <a14:useLocalDpi xmlns:a14="http://schemas.microsoft.com/office/drawing/2010/main"/>
              </a:ext>
            </a:extLst>
          </a:blip>
          <a:stretch>
            <a:fillRect/>
          </a:stretch>
        </p:blipFill>
        <p:spPr>
          <a:xfrm>
            <a:off x="416041" y="3378406"/>
            <a:ext cx="427216" cy="427216"/>
          </a:xfrm>
          <a:prstGeom prst="rect">
            <a:avLst/>
          </a:prstGeom>
        </p:spPr>
      </p:pic>
      <p:pic>
        <p:nvPicPr>
          <p:cNvPr id="101" name="Image 190" descr="Une image contenant objet, horloge&#10;&#10;Description générée automatiquement">
            <a:extLst>
              <a:ext uri="{FF2B5EF4-FFF2-40B4-BE49-F238E27FC236}">
                <a16:creationId xmlns:a16="http://schemas.microsoft.com/office/drawing/2014/main" id="{3DEAE3EE-F18F-4BC6-8538-C6846AD85D5B}"/>
              </a:ext>
            </a:extLst>
          </p:cNvPr>
          <p:cNvPicPr>
            <a:picLocks noChangeAspect="1"/>
          </p:cNvPicPr>
          <p:nvPr/>
        </p:nvPicPr>
        <p:blipFill>
          <a:blip r:embed="rId8" cstate="email">
            <a:lum bright="70000" contrast="-70000"/>
            <a:extLst>
              <a:ext uri="{28A0092B-C50C-407E-A947-70E740481C1C}">
                <a14:useLocalDpi xmlns:a14="http://schemas.microsoft.com/office/drawing/2010/main"/>
              </a:ext>
            </a:extLst>
          </a:blip>
          <a:stretch>
            <a:fillRect/>
          </a:stretch>
        </p:blipFill>
        <p:spPr>
          <a:xfrm>
            <a:off x="377138" y="3960548"/>
            <a:ext cx="477516" cy="477516"/>
          </a:xfrm>
          <a:prstGeom prst="rect">
            <a:avLst/>
          </a:prstGeom>
        </p:spPr>
      </p:pic>
      <p:pic>
        <p:nvPicPr>
          <p:cNvPr id="102" name="Image 192">
            <a:extLst>
              <a:ext uri="{FF2B5EF4-FFF2-40B4-BE49-F238E27FC236}">
                <a16:creationId xmlns:a16="http://schemas.microsoft.com/office/drawing/2014/main" id="{64427114-29CE-440F-82B5-F2F5F52466B5}"/>
              </a:ext>
            </a:extLst>
          </p:cNvPr>
          <p:cNvPicPr>
            <a:picLocks noChangeAspect="1"/>
          </p:cNvPicPr>
          <p:nvPr/>
        </p:nvPicPr>
        <p:blipFill>
          <a:blip r:embed="rId9" cstate="email">
            <a:lum bright="70000" contrast="-70000"/>
            <a:extLst>
              <a:ext uri="{28A0092B-C50C-407E-A947-70E740481C1C}">
                <a14:useLocalDpi xmlns:a14="http://schemas.microsoft.com/office/drawing/2010/main"/>
              </a:ext>
            </a:extLst>
          </a:blip>
          <a:stretch>
            <a:fillRect/>
          </a:stretch>
        </p:blipFill>
        <p:spPr>
          <a:xfrm>
            <a:off x="377138" y="4545365"/>
            <a:ext cx="447718" cy="447718"/>
          </a:xfrm>
          <a:prstGeom prst="rect">
            <a:avLst/>
          </a:prstGeom>
        </p:spPr>
      </p:pic>
      <p:grpSp>
        <p:nvGrpSpPr>
          <p:cNvPr id="103" name="Groupe 197">
            <a:extLst>
              <a:ext uri="{FF2B5EF4-FFF2-40B4-BE49-F238E27FC236}">
                <a16:creationId xmlns:a16="http://schemas.microsoft.com/office/drawing/2014/main" id="{1FB84CE1-A7B9-40E9-A04B-2D37E072E1C5}"/>
              </a:ext>
            </a:extLst>
          </p:cNvPr>
          <p:cNvGrpSpPr/>
          <p:nvPr/>
        </p:nvGrpSpPr>
        <p:grpSpPr>
          <a:xfrm>
            <a:off x="363882" y="4986086"/>
            <a:ext cx="645159" cy="663233"/>
            <a:chOff x="946055" y="3159137"/>
            <a:chExt cx="810952" cy="810952"/>
          </a:xfrm>
        </p:grpSpPr>
        <p:pic>
          <p:nvPicPr>
            <p:cNvPr id="104" name="Image 194">
              <a:extLst>
                <a:ext uri="{FF2B5EF4-FFF2-40B4-BE49-F238E27FC236}">
                  <a16:creationId xmlns:a16="http://schemas.microsoft.com/office/drawing/2014/main" id="{CEA32A7A-A1C5-44BE-9A0F-0B32A5F4B172}"/>
                </a:ext>
              </a:extLst>
            </p:cNvPr>
            <p:cNvPicPr>
              <a:picLocks noChangeAspect="1"/>
            </p:cNvPicPr>
            <p:nvPr/>
          </p:nvPicPr>
          <p:blipFill>
            <a:blip r:embed="rId10" cstate="email">
              <a:lum bright="70000" contrast="-70000"/>
              <a:extLst>
                <a:ext uri="{28A0092B-C50C-407E-A947-70E740481C1C}">
                  <a14:useLocalDpi xmlns:a14="http://schemas.microsoft.com/office/drawing/2010/main"/>
                </a:ext>
              </a:extLst>
            </a:blip>
            <a:stretch>
              <a:fillRect/>
            </a:stretch>
          </p:blipFill>
          <p:spPr>
            <a:xfrm>
              <a:off x="946055" y="3159137"/>
              <a:ext cx="810952" cy="810952"/>
            </a:xfrm>
            <a:prstGeom prst="rect">
              <a:avLst/>
            </a:prstGeom>
          </p:spPr>
        </p:pic>
        <p:pic>
          <p:nvPicPr>
            <p:cNvPr id="105" name="Image 196">
              <a:extLst>
                <a:ext uri="{FF2B5EF4-FFF2-40B4-BE49-F238E27FC236}">
                  <a16:creationId xmlns:a16="http://schemas.microsoft.com/office/drawing/2014/main" id="{591CB632-B216-48A5-ACD8-BAD30C1C6226}"/>
                </a:ext>
              </a:extLst>
            </p:cNvPr>
            <p:cNvPicPr>
              <a:picLocks noChangeAspect="1"/>
            </p:cNvPicPr>
            <p:nvPr/>
          </p:nvPicPr>
          <p:blipFill>
            <a:blip r:embed="rId11" cstate="email">
              <a:clrChange>
                <a:clrFrom>
                  <a:srgbClr val="FFFFFF"/>
                </a:clrFrom>
                <a:clrTo>
                  <a:srgbClr val="FFFFFF">
                    <a:alpha val="0"/>
                  </a:srgbClr>
                </a:clrTo>
              </a:clrChange>
              <a:lum bright="70000" contrast="-70000"/>
              <a:extLst>
                <a:ext uri="{28A0092B-C50C-407E-A947-70E740481C1C}">
                  <a14:useLocalDpi xmlns:a14="http://schemas.microsoft.com/office/drawing/2010/main"/>
                </a:ext>
              </a:extLst>
            </a:blip>
            <a:stretch>
              <a:fillRect/>
            </a:stretch>
          </p:blipFill>
          <p:spPr>
            <a:xfrm>
              <a:off x="1287909" y="3564613"/>
              <a:ext cx="249652" cy="210607"/>
            </a:xfrm>
            <a:prstGeom prst="rect">
              <a:avLst/>
            </a:prstGeom>
          </p:spPr>
        </p:pic>
      </p:grpSp>
      <p:sp>
        <p:nvSpPr>
          <p:cNvPr id="106" name="ZoneTexte 198">
            <a:extLst>
              <a:ext uri="{FF2B5EF4-FFF2-40B4-BE49-F238E27FC236}">
                <a16:creationId xmlns:a16="http://schemas.microsoft.com/office/drawing/2014/main" id="{A384E64A-02A8-4775-A00C-B716098179B3}"/>
              </a:ext>
            </a:extLst>
          </p:cNvPr>
          <p:cNvSpPr txBox="1"/>
          <p:nvPr/>
        </p:nvSpPr>
        <p:spPr>
          <a:xfrm>
            <a:off x="-65008" y="2125002"/>
            <a:ext cx="1422000"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000" b="1" i="0" u="none" strike="noStrike" kern="1200" cap="none" spc="0" normalizeH="0" baseline="0" noProof="0">
                <a:ln>
                  <a:noFill/>
                </a:ln>
                <a:solidFill>
                  <a:srgbClr val="FF304C"/>
                </a:solidFill>
                <a:effectLst/>
                <a:uLnTx/>
                <a:uFillTx/>
                <a:ea typeface="+mn-ea"/>
                <a:cs typeface="DIN Next LT Pro Condensed"/>
              </a:rPr>
              <a:t>ALARMES</a:t>
            </a:r>
            <a:endParaRPr kumimoji="0" lang="fr-FR" sz="1800" b="1" i="0" u="none" strike="noStrike" kern="1200" cap="none" spc="0" normalizeH="0" baseline="0" noProof="0">
              <a:ln>
                <a:noFill/>
              </a:ln>
              <a:solidFill>
                <a:srgbClr val="FF304C"/>
              </a:solidFill>
              <a:effectLst/>
              <a:uLnTx/>
              <a:uFillTx/>
              <a:ea typeface="+mn-ea"/>
              <a:cs typeface="DIN Next LT Pro Condensed"/>
            </a:endParaRPr>
          </a:p>
        </p:txBody>
      </p:sp>
      <p:pic>
        <p:nvPicPr>
          <p:cNvPr id="107" name="Image 200">
            <a:extLst>
              <a:ext uri="{FF2B5EF4-FFF2-40B4-BE49-F238E27FC236}">
                <a16:creationId xmlns:a16="http://schemas.microsoft.com/office/drawing/2014/main" id="{10AF52DE-AF3A-4947-B267-98C34A975375}"/>
              </a:ext>
            </a:extLst>
          </p:cNvPr>
          <p:cNvPicPr>
            <a:picLocks noChangeAspect="1"/>
          </p:cNvPicPr>
          <p:nvPr/>
        </p:nvPicPr>
        <p:blipFill>
          <a:blip r:embed="rId12" cstate="email">
            <a:clrChange>
              <a:clrFrom>
                <a:srgbClr val="FFFFFF"/>
              </a:clrFrom>
              <a:clrTo>
                <a:srgbClr val="FFFFFF">
                  <a:alpha val="0"/>
                </a:srgbClr>
              </a:clrTo>
            </a:clrChange>
            <a:lum bright="70000" contrast="-70000"/>
            <a:extLst>
              <a:ext uri="{28A0092B-C50C-407E-A947-70E740481C1C}">
                <a14:useLocalDpi xmlns:a14="http://schemas.microsoft.com/office/drawing/2010/main"/>
              </a:ext>
            </a:extLst>
          </a:blip>
          <a:stretch>
            <a:fillRect/>
          </a:stretch>
        </p:blipFill>
        <p:spPr>
          <a:xfrm>
            <a:off x="363882" y="2720464"/>
            <a:ext cx="493491" cy="493491"/>
          </a:xfrm>
          <a:prstGeom prst="rect">
            <a:avLst/>
          </a:prstGeom>
        </p:spPr>
      </p:pic>
      <p:grpSp>
        <p:nvGrpSpPr>
          <p:cNvPr id="108" name="Group 25">
            <a:extLst>
              <a:ext uri="{FF2B5EF4-FFF2-40B4-BE49-F238E27FC236}">
                <a16:creationId xmlns:a16="http://schemas.microsoft.com/office/drawing/2014/main" id="{8213FF26-1CC0-41A7-BDBD-A21A65E99093}"/>
              </a:ext>
            </a:extLst>
          </p:cNvPr>
          <p:cNvGrpSpPr/>
          <p:nvPr/>
        </p:nvGrpSpPr>
        <p:grpSpPr>
          <a:xfrm>
            <a:off x="10071001" y="1736722"/>
            <a:ext cx="1943476" cy="1898870"/>
            <a:chOff x="4893342" y="1630700"/>
            <a:chExt cx="1262585" cy="1445023"/>
          </a:xfrm>
        </p:grpSpPr>
        <p:sp>
          <p:nvSpPr>
            <p:cNvPr id="109" name="Oval 20">
              <a:extLst>
                <a:ext uri="{FF2B5EF4-FFF2-40B4-BE49-F238E27FC236}">
                  <a16:creationId xmlns:a16="http://schemas.microsoft.com/office/drawing/2014/main" id="{5E39BA95-8180-450E-B467-8437EF251320}"/>
                </a:ext>
              </a:extLst>
            </p:cNvPr>
            <p:cNvSpPr/>
            <p:nvPr/>
          </p:nvSpPr>
          <p:spPr>
            <a:xfrm>
              <a:off x="4894993" y="1630700"/>
              <a:ext cx="1234509" cy="1348313"/>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PT" sz="1800" b="0" i="0" u="none" strike="noStrike" kern="1200" cap="none" spc="0" normalizeH="0" baseline="0" noProof="0">
                <a:ln>
                  <a:noFill/>
                </a:ln>
                <a:solidFill>
                  <a:srgbClr val="FFFFFF"/>
                </a:solidFill>
                <a:effectLst/>
                <a:uLnTx/>
                <a:uFillTx/>
                <a:ea typeface="+mn-ea"/>
                <a:cs typeface="+mn-cs"/>
              </a:endParaRPr>
            </a:p>
          </p:txBody>
        </p:sp>
        <p:sp>
          <p:nvSpPr>
            <p:cNvPr id="110" name="Rectangle 109">
              <a:extLst>
                <a:ext uri="{FF2B5EF4-FFF2-40B4-BE49-F238E27FC236}">
                  <a16:creationId xmlns:a16="http://schemas.microsoft.com/office/drawing/2014/main" id="{84B21ECA-4FF6-4957-AA50-CF057234CDDB}"/>
                </a:ext>
              </a:extLst>
            </p:cNvPr>
            <p:cNvSpPr/>
            <p:nvPr/>
          </p:nvSpPr>
          <p:spPr>
            <a:xfrm>
              <a:off x="4893342" y="1696347"/>
              <a:ext cx="1262585" cy="1379376"/>
            </a:xfrm>
            <a:prstGeom prst="rect">
              <a:avLst/>
            </a:prstGeom>
          </p:spPr>
          <p:txBody>
            <a:bodyPr wrap="square">
              <a:spAutoFit/>
            </a:bodyPr>
            <a:lstStyle/>
            <a:p>
              <a:pPr marL="0" marR="0" lvl="0" indent="0" algn="ctr" defTabSz="957756" rtl="0" eaLnBrk="1" fontAlgn="auto" latinLnBrk="0" hangingPunct="1">
                <a:lnSpc>
                  <a:spcPct val="250000"/>
                </a:lnSpc>
                <a:spcBef>
                  <a:spcPts val="0"/>
                </a:spcBef>
                <a:spcAft>
                  <a:spcPts val="0"/>
                </a:spcAft>
                <a:buClrTx/>
                <a:buSzTx/>
                <a:buFontTx/>
                <a:buNone/>
                <a:tabLst/>
                <a:defRPr/>
              </a:pPr>
              <a:r>
                <a:rPr kumimoji="0" lang="fr-FR" sz="1100" b="1" i="0" u="none" strike="noStrike" kern="1200" cap="none" spc="0" normalizeH="0" baseline="0" noProof="0">
                  <a:ln>
                    <a:noFill/>
                  </a:ln>
                  <a:solidFill>
                    <a:srgbClr val="FFFFFF"/>
                  </a:solidFill>
                  <a:effectLst/>
                  <a:uLnTx/>
                  <a:uFillTx/>
                  <a:ea typeface="+mn-ea"/>
                  <a:cs typeface="+mn-cs"/>
                </a:rPr>
                <a:t>Problème résolu</a:t>
              </a:r>
            </a:p>
            <a:p>
              <a:pPr marL="0" marR="0" lvl="0" indent="0" algn="ctr" defTabSz="957756" rtl="0" eaLnBrk="1" fontAlgn="auto" latinLnBrk="0" hangingPunct="1">
                <a:lnSpc>
                  <a:spcPct val="250000"/>
                </a:lnSpc>
                <a:spcBef>
                  <a:spcPts val="0"/>
                </a:spcBef>
                <a:spcAft>
                  <a:spcPts val="0"/>
                </a:spcAft>
                <a:buClrTx/>
                <a:buSzTx/>
                <a:buFontTx/>
                <a:buNone/>
                <a:tabLst/>
                <a:defRPr/>
              </a:pPr>
              <a:r>
                <a:rPr kumimoji="0" lang="fr-FR" sz="1100" b="1" i="0" u="none" strike="noStrike" kern="1200" cap="none" spc="0" normalizeH="0" baseline="0" noProof="0">
                  <a:ln>
                    <a:noFill/>
                  </a:ln>
                  <a:solidFill>
                    <a:srgbClr val="FFFFFF"/>
                  </a:solidFill>
                  <a:effectLst/>
                  <a:uLnTx/>
                  <a:uFillTx/>
                  <a:ea typeface="+mn-ea"/>
                  <a:cs typeface="+mn-cs"/>
                </a:rPr>
                <a:t>Clôture</a:t>
              </a:r>
            </a:p>
            <a:p>
              <a:pPr marL="0" marR="0" lvl="0" indent="0" algn="ctr" defTabSz="957756" rtl="0" eaLnBrk="1" fontAlgn="auto" latinLnBrk="0" hangingPunct="1">
                <a:lnSpc>
                  <a:spcPct val="250000"/>
                </a:lnSpc>
                <a:spcBef>
                  <a:spcPts val="0"/>
                </a:spcBef>
                <a:spcAft>
                  <a:spcPts val="0"/>
                </a:spcAft>
                <a:buClrTx/>
                <a:buSzTx/>
                <a:buFontTx/>
                <a:buNone/>
                <a:tabLst/>
                <a:defRPr/>
              </a:pPr>
              <a:r>
                <a:rPr kumimoji="0" lang="fr-FR" sz="1100" b="1" i="0" u="none" strike="noStrike" kern="1200" cap="none" spc="0" normalizeH="0" baseline="0" noProof="0" err="1">
                  <a:ln>
                    <a:noFill/>
                  </a:ln>
                  <a:solidFill>
                    <a:srgbClr val="FF304C"/>
                  </a:solidFill>
                  <a:effectLst/>
                  <a:uLnTx/>
                  <a:uFillTx/>
                  <a:ea typeface="+mn-ea"/>
                  <a:cs typeface="+mn-cs"/>
                </a:rPr>
                <a:t>Lessons</a:t>
              </a:r>
              <a:r>
                <a:rPr kumimoji="0" lang="fr-FR" sz="1100" b="1" i="0" u="none" strike="noStrike" kern="1200" cap="none" spc="0" normalizeH="0" baseline="0" noProof="0">
                  <a:ln>
                    <a:noFill/>
                  </a:ln>
                  <a:solidFill>
                    <a:srgbClr val="FF304C"/>
                  </a:solidFill>
                  <a:effectLst/>
                  <a:uLnTx/>
                  <a:uFillTx/>
                  <a:ea typeface="+mn-ea"/>
                  <a:cs typeface="+mn-cs"/>
                </a:rPr>
                <a:t> apprises</a:t>
              </a:r>
            </a:p>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fr-FR" sz="1400" b="1" i="0" u="none" strike="noStrike" kern="1200" cap="none" spc="0" normalizeH="0" baseline="0" noProof="0">
                <a:ln>
                  <a:noFill/>
                </a:ln>
                <a:solidFill>
                  <a:srgbClr val="FFFFFF"/>
                </a:solidFill>
                <a:effectLst/>
                <a:uLnTx/>
                <a:uFillTx/>
                <a:ea typeface="+mn-ea"/>
                <a:cs typeface="+mn-cs"/>
              </a:endParaRPr>
            </a:p>
            <a:p>
              <a:pPr marL="0" marR="0" lvl="0" indent="0" algn="ctr" defTabSz="957756"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a:ln>
                  <a:noFill/>
                </a:ln>
                <a:solidFill>
                  <a:srgbClr val="FFFFFF"/>
                </a:solidFill>
                <a:effectLst/>
                <a:uLnTx/>
                <a:uFillTx/>
                <a:ea typeface="+mn-ea"/>
                <a:cs typeface="+mn-cs"/>
              </a:endParaRPr>
            </a:p>
          </p:txBody>
        </p:sp>
      </p:grpSp>
      <p:cxnSp>
        <p:nvCxnSpPr>
          <p:cNvPr id="111" name="Straight Connector 23">
            <a:extLst>
              <a:ext uri="{FF2B5EF4-FFF2-40B4-BE49-F238E27FC236}">
                <a16:creationId xmlns:a16="http://schemas.microsoft.com/office/drawing/2014/main" id="{E8A837DE-8259-40A7-A035-4A926854FC54}"/>
              </a:ext>
            </a:extLst>
          </p:cNvPr>
          <p:cNvCxnSpPr>
            <a:cxnSpLocks/>
          </p:cNvCxnSpPr>
          <p:nvPr/>
        </p:nvCxnSpPr>
        <p:spPr>
          <a:xfrm flipV="1">
            <a:off x="9295209" y="3040038"/>
            <a:ext cx="856985" cy="590841"/>
          </a:xfrm>
          <a:prstGeom prst="line">
            <a:avLst/>
          </a:prstGeom>
          <a:ln>
            <a:solidFill>
              <a:srgbClr val="FDFDFD"/>
            </a:solidFill>
          </a:ln>
        </p:spPr>
        <p:style>
          <a:lnRef idx="1">
            <a:schemeClr val="accent1"/>
          </a:lnRef>
          <a:fillRef idx="0">
            <a:schemeClr val="accent1"/>
          </a:fillRef>
          <a:effectRef idx="0">
            <a:schemeClr val="accent1"/>
          </a:effectRef>
          <a:fontRef idx="minor">
            <a:schemeClr val="tx1"/>
          </a:fontRef>
        </p:style>
      </p:cxnSp>
      <p:cxnSp>
        <p:nvCxnSpPr>
          <p:cNvPr id="112" name="Straight Connector 23">
            <a:extLst>
              <a:ext uri="{FF2B5EF4-FFF2-40B4-BE49-F238E27FC236}">
                <a16:creationId xmlns:a16="http://schemas.microsoft.com/office/drawing/2014/main" id="{916BBF15-3150-448C-94AC-BB3CB518CB10}"/>
              </a:ext>
            </a:extLst>
          </p:cNvPr>
          <p:cNvCxnSpPr>
            <a:cxnSpLocks/>
          </p:cNvCxnSpPr>
          <p:nvPr/>
        </p:nvCxnSpPr>
        <p:spPr>
          <a:xfrm>
            <a:off x="9215123" y="4034651"/>
            <a:ext cx="962103" cy="715156"/>
          </a:xfrm>
          <a:prstGeom prst="line">
            <a:avLst/>
          </a:prstGeom>
          <a:ln>
            <a:solidFill>
              <a:srgbClr val="FDFDFD"/>
            </a:solidFill>
          </a:ln>
        </p:spPr>
        <p:style>
          <a:lnRef idx="1">
            <a:schemeClr val="accent1"/>
          </a:lnRef>
          <a:fillRef idx="0">
            <a:schemeClr val="accent1"/>
          </a:fillRef>
          <a:effectRef idx="0">
            <a:schemeClr val="accent1"/>
          </a:effectRef>
          <a:fontRef idx="minor">
            <a:schemeClr val="tx1"/>
          </a:fontRef>
        </p:style>
      </p:cxnSp>
      <p:grpSp>
        <p:nvGrpSpPr>
          <p:cNvPr id="113" name="Groupe 219">
            <a:extLst>
              <a:ext uri="{FF2B5EF4-FFF2-40B4-BE49-F238E27FC236}">
                <a16:creationId xmlns:a16="http://schemas.microsoft.com/office/drawing/2014/main" id="{C0D3B10B-3852-4D78-A3E3-4AACCE0C7300}"/>
              </a:ext>
            </a:extLst>
          </p:cNvPr>
          <p:cNvGrpSpPr/>
          <p:nvPr/>
        </p:nvGrpSpPr>
        <p:grpSpPr>
          <a:xfrm rot="19212771">
            <a:off x="9562312" y="3214273"/>
            <a:ext cx="253100" cy="240305"/>
            <a:chOff x="3742125" y="4066482"/>
            <a:chExt cx="703653" cy="663508"/>
          </a:xfrm>
          <a:effectLst>
            <a:outerShdw blurRad="50800" dist="38100" dir="5400000" algn="t" rotWithShape="0">
              <a:prstClr val="black">
                <a:alpha val="40000"/>
              </a:prstClr>
            </a:outerShdw>
          </a:effectLst>
        </p:grpSpPr>
        <p:sp>
          <p:nvSpPr>
            <p:cNvPr id="114" name="Organigramme : Connecteur 220">
              <a:extLst>
                <a:ext uri="{FF2B5EF4-FFF2-40B4-BE49-F238E27FC236}">
                  <a16:creationId xmlns:a16="http://schemas.microsoft.com/office/drawing/2014/main" id="{9FE19E21-0F6B-4080-9F31-ABCD74B2AD6A}"/>
                </a:ext>
              </a:extLst>
            </p:cNvPr>
            <p:cNvSpPr/>
            <p:nvPr/>
          </p:nvSpPr>
          <p:spPr>
            <a:xfrm>
              <a:off x="3742125" y="4066482"/>
              <a:ext cx="703653" cy="663508"/>
            </a:xfrm>
            <a:prstGeom prst="flowChartConnector">
              <a:avLst/>
            </a:prstGeom>
            <a:solidFill>
              <a:schemeClr val="bg1">
                <a:lumMod val="95000"/>
              </a:schemeClr>
            </a:solidFill>
            <a:ln>
              <a:solidFill>
                <a:schemeClr val="bg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sp>
          <p:nvSpPr>
            <p:cNvPr id="115" name="Chevron 36">
              <a:extLst>
                <a:ext uri="{FF2B5EF4-FFF2-40B4-BE49-F238E27FC236}">
                  <a16:creationId xmlns:a16="http://schemas.microsoft.com/office/drawing/2014/main" id="{7BB22163-BAB4-428B-BF3E-B88933DC5A47}"/>
                </a:ext>
              </a:extLst>
            </p:cNvPr>
            <p:cNvSpPr/>
            <p:nvPr/>
          </p:nvSpPr>
          <p:spPr>
            <a:xfrm>
              <a:off x="3996713" y="4202141"/>
              <a:ext cx="232120" cy="398149"/>
            </a:xfrm>
            <a:prstGeom prst="chevron">
              <a:avLst/>
            </a:prstGeom>
            <a:solidFill>
              <a:schemeClr val="accent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a typeface="+mn-ea"/>
                <a:cs typeface="+mn-cs"/>
              </a:endParaRPr>
            </a:p>
          </p:txBody>
        </p:sp>
      </p:grpSp>
      <p:grpSp>
        <p:nvGrpSpPr>
          <p:cNvPr id="116" name="Groupe 225">
            <a:extLst>
              <a:ext uri="{FF2B5EF4-FFF2-40B4-BE49-F238E27FC236}">
                <a16:creationId xmlns:a16="http://schemas.microsoft.com/office/drawing/2014/main" id="{28F25740-5242-494F-8A72-28D19CB44134}"/>
              </a:ext>
            </a:extLst>
          </p:cNvPr>
          <p:cNvGrpSpPr/>
          <p:nvPr/>
        </p:nvGrpSpPr>
        <p:grpSpPr>
          <a:xfrm rot="1983860">
            <a:off x="9545531" y="4233551"/>
            <a:ext cx="253100" cy="240305"/>
            <a:chOff x="3742125" y="4066482"/>
            <a:chExt cx="703653" cy="663508"/>
          </a:xfrm>
          <a:effectLst>
            <a:outerShdw blurRad="50800" dist="38100" dir="5400000" algn="t" rotWithShape="0">
              <a:prstClr val="black">
                <a:alpha val="40000"/>
              </a:prstClr>
            </a:outerShdw>
          </a:effectLst>
        </p:grpSpPr>
        <p:sp>
          <p:nvSpPr>
            <p:cNvPr id="117" name="Organigramme : Connecteur 226">
              <a:extLst>
                <a:ext uri="{FF2B5EF4-FFF2-40B4-BE49-F238E27FC236}">
                  <a16:creationId xmlns:a16="http://schemas.microsoft.com/office/drawing/2014/main" id="{6795AEDF-D036-47F9-8164-76715E863496}"/>
                </a:ext>
              </a:extLst>
            </p:cNvPr>
            <p:cNvSpPr/>
            <p:nvPr/>
          </p:nvSpPr>
          <p:spPr>
            <a:xfrm>
              <a:off x="3742125" y="4066482"/>
              <a:ext cx="703653" cy="663508"/>
            </a:xfrm>
            <a:prstGeom prst="flowChartConnector">
              <a:avLst/>
            </a:prstGeom>
            <a:solidFill>
              <a:schemeClr val="bg1">
                <a:lumMod val="95000"/>
              </a:schemeClr>
            </a:solidFill>
            <a:ln>
              <a:solidFill>
                <a:schemeClr val="bg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sp>
          <p:nvSpPr>
            <p:cNvPr id="118" name="Chevron 36">
              <a:extLst>
                <a:ext uri="{FF2B5EF4-FFF2-40B4-BE49-F238E27FC236}">
                  <a16:creationId xmlns:a16="http://schemas.microsoft.com/office/drawing/2014/main" id="{6E431DBD-372C-4AA2-BE02-E0B54B71EA51}"/>
                </a:ext>
              </a:extLst>
            </p:cNvPr>
            <p:cNvSpPr/>
            <p:nvPr/>
          </p:nvSpPr>
          <p:spPr>
            <a:xfrm>
              <a:off x="3996713" y="4202141"/>
              <a:ext cx="232120" cy="398149"/>
            </a:xfrm>
            <a:prstGeom prst="chevron">
              <a:avLst/>
            </a:prstGeom>
            <a:solidFill>
              <a:schemeClr val="accent1"/>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a typeface="+mn-ea"/>
                <a:cs typeface="+mn-cs"/>
              </a:endParaRPr>
            </a:p>
          </p:txBody>
        </p:sp>
      </p:grpSp>
      <p:grpSp>
        <p:nvGrpSpPr>
          <p:cNvPr id="119" name="Groupe 228">
            <a:extLst>
              <a:ext uri="{FF2B5EF4-FFF2-40B4-BE49-F238E27FC236}">
                <a16:creationId xmlns:a16="http://schemas.microsoft.com/office/drawing/2014/main" id="{A1820DE8-E14C-41E3-A6E0-1E0AACA68827}"/>
              </a:ext>
            </a:extLst>
          </p:cNvPr>
          <p:cNvGrpSpPr/>
          <p:nvPr/>
        </p:nvGrpSpPr>
        <p:grpSpPr>
          <a:xfrm rot="5400000">
            <a:off x="10931327" y="2257063"/>
            <a:ext cx="137160" cy="137160"/>
            <a:chOff x="3742125" y="4066482"/>
            <a:chExt cx="703653" cy="663508"/>
          </a:xfrm>
          <a:effectLst>
            <a:outerShdw blurRad="50800" dist="38100" dir="5400000" algn="t" rotWithShape="0">
              <a:prstClr val="black">
                <a:alpha val="40000"/>
              </a:prstClr>
            </a:outerShdw>
          </a:effectLst>
        </p:grpSpPr>
        <p:sp>
          <p:nvSpPr>
            <p:cNvPr id="120" name="Organigramme : Connecteur 229">
              <a:extLst>
                <a:ext uri="{FF2B5EF4-FFF2-40B4-BE49-F238E27FC236}">
                  <a16:creationId xmlns:a16="http://schemas.microsoft.com/office/drawing/2014/main" id="{1DEE491E-11FD-46C0-AFAA-1458340D14D8}"/>
                </a:ext>
              </a:extLst>
            </p:cNvPr>
            <p:cNvSpPr/>
            <p:nvPr/>
          </p:nvSpPr>
          <p:spPr>
            <a:xfrm>
              <a:off x="3742125" y="4066482"/>
              <a:ext cx="703653" cy="663508"/>
            </a:xfrm>
            <a:prstGeom prst="flowChartConnector">
              <a:avLst/>
            </a:prstGeom>
            <a:solidFill>
              <a:schemeClr val="bg1">
                <a:lumMod val="95000"/>
              </a:schemeClr>
            </a:solidFill>
            <a:ln>
              <a:solidFill>
                <a:schemeClr val="bg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sp>
          <p:nvSpPr>
            <p:cNvPr id="121" name="Chevron 36">
              <a:extLst>
                <a:ext uri="{FF2B5EF4-FFF2-40B4-BE49-F238E27FC236}">
                  <a16:creationId xmlns:a16="http://schemas.microsoft.com/office/drawing/2014/main" id="{20F83652-0AF6-4937-95DE-CB5931976FE8}"/>
                </a:ext>
              </a:extLst>
            </p:cNvPr>
            <p:cNvSpPr/>
            <p:nvPr/>
          </p:nvSpPr>
          <p:spPr>
            <a:xfrm>
              <a:off x="3996713" y="4202141"/>
              <a:ext cx="232120" cy="398149"/>
            </a:xfrm>
            <a:prstGeom prst="chevron">
              <a:avLst/>
            </a:prstGeom>
            <a:solidFill>
              <a:schemeClr val="accent4"/>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a typeface="+mn-ea"/>
                <a:cs typeface="+mn-cs"/>
              </a:endParaRPr>
            </a:p>
          </p:txBody>
        </p:sp>
      </p:grpSp>
      <p:grpSp>
        <p:nvGrpSpPr>
          <p:cNvPr id="122" name="Groupe 231">
            <a:extLst>
              <a:ext uri="{FF2B5EF4-FFF2-40B4-BE49-F238E27FC236}">
                <a16:creationId xmlns:a16="http://schemas.microsoft.com/office/drawing/2014/main" id="{0A55591C-CBEA-4AD4-AD9C-FA291F895DDD}"/>
              </a:ext>
            </a:extLst>
          </p:cNvPr>
          <p:cNvGrpSpPr/>
          <p:nvPr/>
        </p:nvGrpSpPr>
        <p:grpSpPr>
          <a:xfrm rot="5400000">
            <a:off x="10931327" y="2691471"/>
            <a:ext cx="137160" cy="137160"/>
            <a:chOff x="3742125" y="4066482"/>
            <a:chExt cx="703653" cy="663508"/>
          </a:xfrm>
          <a:effectLst>
            <a:outerShdw blurRad="50800" dist="38100" dir="5400000" algn="t" rotWithShape="0">
              <a:prstClr val="black">
                <a:alpha val="40000"/>
              </a:prstClr>
            </a:outerShdw>
          </a:effectLst>
        </p:grpSpPr>
        <p:sp>
          <p:nvSpPr>
            <p:cNvPr id="123" name="Organigramme : Connecteur 232">
              <a:extLst>
                <a:ext uri="{FF2B5EF4-FFF2-40B4-BE49-F238E27FC236}">
                  <a16:creationId xmlns:a16="http://schemas.microsoft.com/office/drawing/2014/main" id="{CC6D1792-8426-4835-B32A-2CACCD017C8E}"/>
                </a:ext>
              </a:extLst>
            </p:cNvPr>
            <p:cNvSpPr/>
            <p:nvPr/>
          </p:nvSpPr>
          <p:spPr>
            <a:xfrm>
              <a:off x="3742125" y="4066482"/>
              <a:ext cx="703653" cy="663508"/>
            </a:xfrm>
            <a:prstGeom prst="flowChartConnector">
              <a:avLst/>
            </a:prstGeom>
            <a:solidFill>
              <a:schemeClr val="bg1">
                <a:lumMod val="95000"/>
              </a:schemeClr>
            </a:solidFill>
            <a:ln>
              <a:solidFill>
                <a:schemeClr val="bg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sp>
          <p:nvSpPr>
            <p:cNvPr id="124" name="Chevron 36">
              <a:extLst>
                <a:ext uri="{FF2B5EF4-FFF2-40B4-BE49-F238E27FC236}">
                  <a16:creationId xmlns:a16="http://schemas.microsoft.com/office/drawing/2014/main" id="{9C1E7D9B-6015-485E-A69F-74C0DB837550}"/>
                </a:ext>
              </a:extLst>
            </p:cNvPr>
            <p:cNvSpPr/>
            <p:nvPr/>
          </p:nvSpPr>
          <p:spPr>
            <a:xfrm>
              <a:off x="3996713" y="4202141"/>
              <a:ext cx="232120" cy="398149"/>
            </a:xfrm>
            <a:prstGeom prst="chevron">
              <a:avLst/>
            </a:prstGeom>
            <a:solidFill>
              <a:schemeClr val="accent4"/>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a typeface="+mn-ea"/>
                <a:cs typeface="+mn-cs"/>
              </a:endParaRPr>
            </a:p>
          </p:txBody>
        </p:sp>
      </p:grpSp>
      <p:grpSp>
        <p:nvGrpSpPr>
          <p:cNvPr id="125" name="Groupe 234">
            <a:extLst>
              <a:ext uri="{FF2B5EF4-FFF2-40B4-BE49-F238E27FC236}">
                <a16:creationId xmlns:a16="http://schemas.microsoft.com/office/drawing/2014/main" id="{1E5282E9-0242-4EFC-85D4-95815FE21384}"/>
              </a:ext>
            </a:extLst>
          </p:cNvPr>
          <p:cNvGrpSpPr/>
          <p:nvPr/>
        </p:nvGrpSpPr>
        <p:grpSpPr>
          <a:xfrm rot="5400000">
            <a:off x="10931327" y="5228458"/>
            <a:ext cx="137160" cy="137160"/>
            <a:chOff x="3742125" y="4066482"/>
            <a:chExt cx="703653" cy="663508"/>
          </a:xfrm>
          <a:effectLst>
            <a:outerShdw blurRad="50800" dist="38100" dir="5400000" algn="t" rotWithShape="0">
              <a:prstClr val="black">
                <a:alpha val="40000"/>
              </a:prstClr>
            </a:outerShdw>
          </a:effectLst>
        </p:grpSpPr>
        <p:sp>
          <p:nvSpPr>
            <p:cNvPr id="126" name="Organigramme : Connecteur 235">
              <a:extLst>
                <a:ext uri="{FF2B5EF4-FFF2-40B4-BE49-F238E27FC236}">
                  <a16:creationId xmlns:a16="http://schemas.microsoft.com/office/drawing/2014/main" id="{441732B9-21F8-4E17-8A07-7089FDC25C64}"/>
                </a:ext>
              </a:extLst>
            </p:cNvPr>
            <p:cNvSpPr/>
            <p:nvPr/>
          </p:nvSpPr>
          <p:spPr>
            <a:xfrm>
              <a:off x="3742125" y="4066482"/>
              <a:ext cx="703653" cy="663508"/>
            </a:xfrm>
            <a:prstGeom prst="flowChartConnector">
              <a:avLst/>
            </a:prstGeom>
            <a:solidFill>
              <a:schemeClr val="bg1">
                <a:lumMod val="95000"/>
              </a:schemeClr>
            </a:solidFill>
            <a:ln>
              <a:solidFill>
                <a:schemeClr val="bg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sp>
          <p:nvSpPr>
            <p:cNvPr id="127" name="Chevron 36">
              <a:extLst>
                <a:ext uri="{FF2B5EF4-FFF2-40B4-BE49-F238E27FC236}">
                  <a16:creationId xmlns:a16="http://schemas.microsoft.com/office/drawing/2014/main" id="{7EEFD903-9F0A-4370-9BF8-12D14F31F232}"/>
                </a:ext>
              </a:extLst>
            </p:cNvPr>
            <p:cNvSpPr/>
            <p:nvPr/>
          </p:nvSpPr>
          <p:spPr>
            <a:xfrm>
              <a:off x="3996713" y="4202141"/>
              <a:ext cx="232120" cy="398149"/>
            </a:xfrm>
            <a:prstGeom prst="chevron">
              <a:avLst/>
            </a:prstGeom>
            <a:solidFill>
              <a:schemeClr val="accent4"/>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a typeface="+mn-ea"/>
                <a:cs typeface="+mn-cs"/>
              </a:endParaRPr>
            </a:p>
          </p:txBody>
        </p:sp>
      </p:grpSp>
      <p:grpSp>
        <p:nvGrpSpPr>
          <p:cNvPr id="128" name="Groupe 237">
            <a:extLst>
              <a:ext uri="{FF2B5EF4-FFF2-40B4-BE49-F238E27FC236}">
                <a16:creationId xmlns:a16="http://schemas.microsoft.com/office/drawing/2014/main" id="{FE16777A-6579-4786-BB9F-B5378E84CF9E}"/>
              </a:ext>
            </a:extLst>
          </p:cNvPr>
          <p:cNvGrpSpPr/>
          <p:nvPr/>
        </p:nvGrpSpPr>
        <p:grpSpPr>
          <a:xfrm rot="5400000">
            <a:off x="10931327" y="4881708"/>
            <a:ext cx="137160" cy="137160"/>
            <a:chOff x="3742125" y="4066482"/>
            <a:chExt cx="703653" cy="663508"/>
          </a:xfrm>
          <a:effectLst>
            <a:outerShdw blurRad="50800" dist="38100" dir="5400000" algn="t" rotWithShape="0">
              <a:prstClr val="black">
                <a:alpha val="40000"/>
              </a:prstClr>
            </a:outerShdw>
          </a:effectLst>
        </p:grpSpPr>
        <p:sp>
          <p:nvSpPr>
            <p:cNvPr id="129" name="Organigramme : Connecteur 238">
              <a:extLst>
                <a:ext uri="{FF2B5EF4-FFF2-40B4-BE49-F238E27FC236}">
                  <a16:creationId xmlns:a16="http://schemas.microsoft.com/office/drawing/2014/main" id="{41BB241F-97CE-4997-AB92-593DD1890878}"/>
                </a:ext>
              </a:extLst>
            </p:cNvPr>
            <p:cNvSpPr/>
            <p:nvPr/>
          </p:nvSpPr>
          <p:spPr>
            <a:xfrm>
              <a:off x="3742125" y="4066482"/>
              <a:ext cx="703653" cy="663508"/>
            </a:xfrm>
            <a:prstGeom prst="flowChartConnector">
              <a:avLst/>
            </a:prstGeom>
            <a:solidFill>
              <a:schemeClr val="bg1">
                <a:lumMod val="95000"/>
              </a:schemeClr>
            </a:solidFill>
            <a:ln>
              <a:solidFill>
                <a:schemeClr val="bg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sp>
          <p:nvSpPr>
            <p:cNvPr id="130" name="Chevron 36">
              <a:extLst>
                <a:ext uri="{FF2B5EF4-FFF2-40B4-BE49-F238E27FC236}">
                  <a16:creationId xmlns:a16="http://schemas.microsoft.com/office/drawing/2014/main" id="{C4DDA510-DA5D-493E-9004-2FD1F212A404}"/>
                </a:ext>
              </a:extLst>
            </p:cNvPr>
            <p:cNvSpPr/>
            <p:nvPr/>
          </p:nvSpPr>
          <p:spPr>
            <a:xfrm>
              <a:off x="3996713" y="4202141"/>
              <a:ext cx="232120" cy="398149"/>
            </a:xfrm>
            <a:prstGeom prst="chevron">
              <a:avLst/>
            </a:prstGeom>
            <a:solidFill>
              <a:schemeClr val="accent4"/>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000000"/>
                </a:solidFill>
                <a:effectLst/>
                <a:uLnTx/>
                <a:uFillTx/>
                <a:ea typeface="+mn-ea"/>
                <a:cs typeface="+mn-cs"/>
              </a:endParaRPr>
            </a:p>
          </p:txBody>
        </p:sp>
      </p:grpSp>
      <p:sp>
        <p:nvSpPr>
          <p:cNvPr id="131" name="ZoneTexte 240">
            <a:extLst>
              <a:ext uri="{FF2B5EF4-FFF2-40B4-BE49-F238E27FC236}">
                <a16:creationId xmlns:a16="http://schemas.microsoft.com/office/drawing/2014/main" id="{662B7E62-9F6C-4E09-85D8-A2FBB3FA816A}"/>
              </a:ext>
            </a:extLst>
          </p:cNvPr>
          <p:cNvSpPr txBox="1"/>
          <p:nvPr/>
        </p:nvSpPr>
        <p:spPr>
          <a:xfrm>
            <a:off x="595172" y="2614290"/>
            <a:ext cx="173736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ea typeface="+mn-ea"/>
                <a:cs typeface="DIN Next LT Pro Condensed"/>
              </a:rPr>
              <a:t>ALARME</a:t>
            </a:r>
            <a:endParaRPr kumimoji="0" lang="fr-FR" sz="1800" b="1" i="0" u="none" strike="noStrike" kern="1200" cap="none" spc="0" normalizeH="0" baseline="0" noProof="0">
              <a:ln>
                <a:noFill/>
              </a:ln>
              <a:solidFill>
                <a:srgbClr val="FFFFFF"/>
              </a:solidFill>
              <a:effectLst/>
              <a:uLnTx/>
              <a:uFillTx/>
              <a:ea typeface="+mn-ea"/>
              <a:cs typeface="DIN Next LT Pro Condensed"/>
            </a:endParaRPr>
          </a:p>
        </p:txBody>
      </p:sp>
      <p:cxnSp>
        <p:nvCxnSpPr>
          <p:cNvPr id="132" name="Straight Connector 23">
            <a:extLst>
              <a:ext uri="{FF2B5EF4-FFF2-40B4-BE49-F238E27FC236}">
                <a16:creationId xmlns:a16="http://schemas.microsoft.com/office/drawing/2014/main" id="{9C50B5BE-A5A8-4102-A487-2ED028029F50}"/>
              </a:ext>
            </a:extLst>
          </p:cNvPr>
          <p:cNvCxnSpPr>
            <a:cxnSpLocks/>
          </p:cNvCxnSpPr>
          <p:nvPr/>
        </p:nvCxnSpPr>
        <p:spPr>
          <a:xfrm>
            <a:off x="1463852" y="3056522"/>
            <a:ext cx="0" cy="438912"/>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33" name="Oval 35">
            <a:extLst>
              <a:ext uri="{FF2B5EF4-FFF2-40B4-BE49-F238E27FC236}">
                <a16:creationId xmlns:a16="http://schemas.microsoft.com/office/drawing/2014/main" id="{1850404F-5BAD-4D2C-9878-2B2DBDAFD990}"/>
              </a:ext>
            </a:extLst>
          </p:cNvPr>
          <p:cNvSpPr/>
          <p:nvPr/>
        </p:nvSpPr>
        <p:spPr>
          <a:xfrm>
            <a:off x="1402788" y="2948870"/>
            <a:ext cx="115241" cy="107652"/>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87552" rtl="0" eaLnBrk="1" fontAlgn="auto" latinLnBrk="0" hangingPunct="1">
              <a:lnSpc>
                <a:spcPct val="100000"/>
              </a:lnSpc>
              <a:spcBef>
                <a:spcPts val="0"/>
              </a:spcBef>
              <a:spcAft>
                <a:spcPts val="0"/>
              </a:spcAft>
              <a:buClrTx/>
              <a:buSzTx/>
              <a:buFontTx/>
              <a:buNone/>
              <a:tabLst/>
              <a:defRPr/>
            </a:pPr>
            <a:endParaRPr kumimoji="0" lang="fr-FR" sz="1512" b="0" i="0" u="none" strike="noStrike" kern="0" cap="none" spc="0" normalizeH="0" baseline="0" noProof="0">
              <a:ln>
                <a:noFill/>
              </a:ln>
              <a:solidFill>
                <a:sysClr val="windowText" lastClr="000000"/>
              </a:solidFill>
              <a:effectLst/>
              <a:uLnTx/>
              <a:uFillTx/>
              <a:ea typeface="+mn-ea"/>
              <a:cs typeface="Arial" panose="020B0604020202020204" pitchFamily="34" charset="0"/>
            </a:endParaRPr>
          </a:p>
        </p:txBody>
      </p:sp>
      <p:grpSp>
        <p:nvGrpSpPr>
          <p:cNvPr id="134" name="Groupe 259">
            <a:extLst>
              <a:ext uri="{FF2B5EF4-FFF2-40B4-BE49-F238E27FC236}">
                <a16:creationId xmlns:a16="http://schemas.microsoft.com/office/drawing/2014/main" id="{9676BD6C-4993-4173-9BDF-F9B133E171E1}"/>
              </a:ext>
            </a:extLst>
          </p:cNvPr>
          <p:cNvGrpSpPr>
            <a:grpSpLocks noChangeAspect="1"/>
          </p:cNvGrpSpPr>
          <p:nvPr/>
        </p:nvGrpSpPr>
        <p:grpSpPr>
          <a:xfrm>
            <a:off x="5210582" y="3430719"/>
            <a:ext cx="706108" cy="663509"/>
            <a:chOff x="4640154" y="5220508"/>
            <a:chExt cx="938995" cy="882346"/>
          </a:xfrm>
        </p:grpSpPr>
        <p:sp>
          <p:nvSpPr>
            <p:cNvPr id="135" name="Freeform 31">
              <a:extLst>
                <a:ext uri="{FF2B5EF4-FFF2-40B4-BE49-F238E27FC236}">
                  <a16:creationId xmlns:a16="http://schemas.microsoft.com/office/drawing/2014/main" id="{A8C2405D-A19E-43A5-8D1D-5D6B07C0AA2F}"/>
                </a:ext>
              </a:extLst>
            </p:cNvPr>
            <p:cNvSpPr>
              <a:spLocks/>
            </p:cNvSpPr>
            <p:nvPr/>
          </p:nvSpPr>
          <p:spPr bwMode="auto">
            <a:xfrm>
              <a:off x="4640154" y="5220508"/>
              <a:ext cx="938995" cy="882346"/>
            </a:xfrm>
            <a:custGeom>
              <a:avLst/>
              <a:gdLst>
                <a:gd name="T0" fmla="*/ 65 w 456"/>
                <a:gd name="T1" fmla="*/ 333 h 426"/>
                <a:gd name="T2" fmla="*/ 109 w 456"/>
                <a:gd name="T3" fmla="*/ 63 h 426"/>
                <a:gd name="T4" fmla="*/ 391 w 456"/>
                <a:gd name="T5" fmla="*/ 103 h 426"/>
                <a:gd name="T6" fmla="*/ 340 w 456"/>
                <a:gd name="T7" fmla="*/ 363 h 426"/>
                <a:gd name="T8" fmla="*/ 65 w 456"/>
                <a:gd name="T9" fmla="*/ 333 h 426"/>
              </a:gdLst>
              <a:ahLst/>
              <a:cxnLst>
                <a:cxn ang="0">
                  <a:pos x="T0" y="T1"/>
                </a:cxn>
                <a:cxn ang="0">
                  <a:pos x="T2" y="T3"/>
                </a:cxn>
                <a:cxn ang="0">
                  <a:pos x="T4" y="T5"/>
                </a:cxn>
                <a:cxn ang="0">
                  <a:pos x="T6" y="T7"/>
                </a:cxn>
                <a:cxn ang="0">
                  <a:pos x="T8" y="T9"/>
                </a:cxn>
              </a:cxnLst>
              <a:rect l="0" t="0" r="r" b="b"/>
              <a:pathLst>
                <a:path w="456" h="426">
                  <a:moveTo>
                    <a:pt x="65" y="333"/>
                  </a:moveTo>
                  <a:cubicBezTo>
                    <a:pt x="0" y="248"/>
                    <a:pt x="19" y="127"/>
                    <a:pt x="109" y="63"/>
                  </a:cubicBezTo>
                  <a:cubicBezTo>
                    <a:pt x="199" y="0"/>
                    <a:pt x="325" y="17"/>
                    <a:pt x="391" y="103"/>
                  </a:cubicBezTo>
                  <a:cubicBezTo>
                    <a:pt x="456" y="189"/>
                    <a:pt x="429" y="299"/>
                    <a:pt x="340" y="363"/>
                  </a:cubicBezTo>
                  <a:cubicBezTo>
                    <a:pt x="250" y="426"/>
                    <a:pt x="131" y="419"/>
                    <a:pt x="65" y="333"/>
                  </a:cubicBezTo>
                </a:path>
              </a:pathLst>
            </a:custGeom>
            <a:solidFill>
              <a:schemeClr val="accent3"/>
            </a:solidFill>
            <a:ln>
              <a:noFill/>
            </a:ln>
          </p:spPr>
          <p:txBody>
            <a:bodyPr vert="horz" wrap="square" lIns="74295" tIns="37148" rIns="74295" bIns="37148" numCol="1" anchor="t" anchorCtr="0" compatLnSpc="1">
              <a:prstTxWarp prst="textNoShape">
                <a:avLst/>
              </a:prstTxWarp>
            </a:bodyPr>
            <a:lstStyle/>
            <a:p>
              <a:pPr marL="0" marR="0" lvl="0" indent="0" algn="l" defTabSz="7429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ea typeface="+mn-ea"/>
                <a:cs typeface="+mn-cs"/>
              </a:endParaRPr>
            </a:p>
          </p:txBody>
        </p:sp>
        <p:grpSp>
          <p:nvGrpSpPr>
            <p:cNvPr id="136" name="Groupe 261">
              <a:extLst>
                <a:ext uri="{FF2B5EF4-FFF2-40B4-BE49-F238E27FC236}">
                  <a16:creationId xmlns:a16="http://schemas.microsoft.com/office/drawing/2014/main" id="{4AEE52F3-45D5-45F0-B1D1-EBB00CE029F4}"/>
                </a:ext>
              </a:extLst>
            </p:cNvPr>
            <p:cNvGrpSpPr/>
            <p:nvPr/>
          </p:nvGrpSpPr>
          <p:grpSpPr>
            <a:xfrm>
              <a:off x="4848559" y="5399234"/>
              <a:ext cx="528240" cy="474487"/>
              <a:chOff x="4848559" y="5399234"/>
              <a:chExt cx="528240" cy="474487"/>
            </a:xfrm>
          </p:grpSpPr>
          <p:grpSp>
            <p:nvGrpSpPr>
              <p:cNvPr id="137" name="Group 43">
                <a:extLst>
                  <a:ext uri="{FF2B5EF4-FFF2-40B4-BE49-F238E27FC236}">
                    <a16:creationId xmlns:a16="http://schemas.microsoft.com/office/drawing/2014/main" id="{15663113-F6B8-4E7E-A566-92796DA470E5}"/>
                  </a:ext>
                </a:extLst>
              </p:cNvPr>
              <p:cNvGrpSpPr/>
              <p:nvPr/>
            </p:nvGrpSpPr>
            <p:grpSpPr>
              <a:xfrm>
                <a:off x="5025534" y="5399234"/>
                <a:ext cx="161528" cy="209894"/>
                <a:chOff x="663784" y="1229638"/>
                <a:chExt cx="303843" cy="394826"/>
              </a:xfrm>
            </p:grpSpPr>
            <p:sp>
              <p:nvSpPr>
                <p:cNvPr id="146" name="Freeform 32">
                  <a:extLst>
                    <a:ext uri="{FF2B5EF4-FFF2-40B4-BE49-F238E27FC236}">
                      <a16:creationId xmlns:a16="http://schemas.microsoft.com/office/drawing/2014/main" id="{9433103C-503A-45A9-B474-778BD8E48963}"/>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algn="l" defTabSz="7429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ea typeface="+mn-ea"/>
                    <a:cs typeface="+mn-cs"/>
                  </a:endParaRPr>
                </a:p>
              </p:txBody>
            </p:sp>
            <p:sp>
              <p:nvSpPr>
                <p:cNvPr id="147" name="Freeform 33">
                  <a:extLst>
                    <a:ext uri="{FF2B5EF4-FFF2-40B4-BE49-F238E27FC236}">
                      <a16:creationId xmlns:a16="http://schemas.microsoft.com/office/drawing/2014/main" id="{B925D7DB-BC5B-43C4-97DE-7FA05B9317AB}"/>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chemeClr val="accent2"/>
                </a:solidFill>
                <a:ln>
                  <a:noFill/>
                </a:ln>
              </p:spPr>
              <p:txBody>
                <a:bodyPr vert="horz" wrap="square" lIns="74295" tIns="37148" rIns="74295" bIns="37148" numCol="1" anchor="t" anchorCtr="0" compatLnSpc="1">
                  <a:prstTxWarp prst="textNoShape">
                    <a:avLst/>
                  </a:prstTxWarp>
                </a:bodyPr>
                <a:lstStyle/>
                <a:p>
                  <a:pPr marL="0" marR="0" lvl="0" indent="0" algn="l" defTabSz="7429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ea typeface="+mn-ea"/>
                    <a:cs typeface="+mn-cs"/>
                  </a:endParaRPr>
                </a:p>
              </p:txBody>
            </p:sp>
          </p:grpSp>
          <p:grpSp>
            <p:nvGrpSpPr>
              <p:cNvPr id="138" name="Group 613">
                <a:extLst>
                  <a:ext uri="{FF2B5EF4-FFF2-40B4-BE49-F238E27FC236}">
                    <a16:creationId xmlns:a16="http://schemas.microsoft.com/office/drawing/2014/main" id="{EB450EC1-609A-4B7D-8108-69CA661A1844}"/>
                  </a:ext>
                </a:extLst>
              </p:cNvPr>
              <p:cNvGrpSpPr/>
              <p:nvPr/>
            </p:nvGrpSpPr>
            <p:grpSpPr>
              <a:xfrm>
                <a:off x="4848559" y="5663827"/>
                <a:ext cx="161528" cy="209894"/>
                <a:chOff x="663784" y="1229638"/>
                <a:chExt cx="303843" cy="394826"/>
              </a:xfrm>
            </p:grpSpPr>
            <p:sp>
              <p:nvSpPr>
                <p:cNvPr id="144" name="Freeform 32">
                  <a:extLst>
                    <a:ext uri="{FF2B5EF4-FFF2-40B4-BE49-F238E27FC236}">
                      <a16:creationId xmlns:a16="http://schemas.microsoft.com/office/drawing/2014/main" id="{7B20C6C3-DA36-4698-A977-2D1536A5915C}"/>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algn="l" defTabSz="7429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ea typeface="+mn-ea"/>
                    <a:cs typeface="+mn-cs"/>
                  </a:endParaRPr>
                </a:p>
              </p:txBody>
            </p:sp>
            <p:sp>
              <p:nvSpPr>
                <p:cNvPr id="145" name="Freeform 33">
                  <a:extLst>
                    <a:ext uri="{FF2B5EF4-FFF2-40B4-BE49-F238E27FC236}">
                      <a16:creationId xmlns:a16="http://schemas.microsoft.com/office/drawing/2014/main" id="{EAB6B279-D2E8-43BD-ADDF-DE60A306F221}"/>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chemeClr val="accent2"/>
                </a:solidFill>
                <a:ln>
                  <a:noFill/>
                </a:ln>
              </p:spPr>
              <p:txBody>
                <a:bodyPr vert="horz" wrap="square" lIns="74295" tIns="37148" rIns="74295" bIns="37148" numCol="1" anchor="t" anchorCtr="0" compatLnSpc="1">
                  <a:prstTxWarp prst="textNoShape">
                    <a:avLst/>
                  </a:prstTxWarp>
                </a:bodyPr>
                <a:lstStyle/>
                <a:p>
                  <a:pPr marL="0" marR="0" lvl="0" indent="0" algn="l" defTabSz="7429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ea typeface="+mn-ea"/>
                    <a:cs typeface="+mn-cs"/>
                  </a:endParaRPr>
                </a:p>
              </p:txBody>
            </p:sp>
          </p:grpSp>
          <p:grpSp>
            <p:nvGrpSpPr>
              <p:cNvPr id="139" name="Group 616">
                <a:extLst>
                  <a:ext uri="{FF2B5EF4-FFF2-40B4-BE49-F238E27FC236}">
                    <a16:creationId xmlns:a16="http://schemas.microsoft.com/office/drawing/2014/main" id="{AC30F4BD-983A-4E51-A933-A62D800E22B0}"/>
                  </a:ext>
                </a:extLst>
              </p:cNvPr>
              <p:cNvGrpSpPr/>
              <p:nvPr/>
            </p:nvGrpSpPr>
            <p:grpSpPr>
              <a:xfrm>
                <a:off x="5215271" y="5663827"/>
                <a:ext cx="161528" cy="209894"/>
                <a:chOff x="663784" y="1229638"/>
                <a:chExt cx="303843" cy="394826"/>
              </a:xfrm>
            </p:grpSpPr>
            <p:sp>
              <p:nvSpPr>
                <p:cNvPr id="142" name="Freeform 32">
                  <a:extLst>
                    <a:ext uri="{FF2B5EF4-FFF2-40B4-BE49-F238E27FC236}">
                      <a16:creationId xmlns:a16="http://schemas.microsoft.com/office/drawing/2014/main" id="{80AC3450-923E-4230-AB44-27AA03461ECB}"/>
                    </a:ext>
                  </a:extLst>
                </p:cNvPr>
                <p:cNvSpPr>
                  <a:spLocks/>
                </p:cNvSpPr>
                <p:nvPr/>
              </p:nvSpPr>
              <p:spPr bwMode="auto">
                <a:xfrm>
                  <a:off x="735883" y="1229638"/>
                  <a:ext cx="161363" cy="173380"/>
                </a:xfrm>
                <a:custGeom>
                  <a:avLst/>
                  <a:gdLst>
                    <a:gd name="T0" fmla="*/ 42 w 79"/>
                    <a:gd name="T1" fmla="*/ 83 h 84"/>
                    <a:gd name="T2" fmla="*/ 78 w 79"/>
                    <a:gd name="T3" fmla="*/ 39 h 84"/>
                    <a:gd name="T4" fmla="*/ 39 w 79"/>
                    <a:gd name="T5" fmla="*/ 1 h 84"/>
                    <a:gd name="T6" fmla="*/ 1 w 79"/>
                    <a:gd name="T7" fmla="*/ 45 h 84"/>
                    <a:gd name="T8" fmla="*/ 42 w 79"/>
                    <a:gd name="T9" fmla="*/ 83 h 84"/>
                  </a:gdLst>
                  <a:ahLst/>
                  <a:cxnLst>
                    <a:cxn ang="0">
                      <a:pos x="T0" y="T1"/>
                    </a:cxn>
                    <a:cxn ang="0">
                      <a:pos x="T2" y="T3"/>
                    </a:cxn>
                    <a:cxn ang="0">
                      <a:pos x="T4" y="T5"/>
                    </a:cxn>
                    <a:cxn ang="0">
                      <a:pos x="T6" y="T7"/>
                    </a:cxn>
                    <a:cxn ang="0">
                      <a:pos x="T8" y="T9"/>
                    </a:cxn>
                  </a:cxnLst>
                  <a:rect l="0" t="0" r="r" b="b"/>
                  <a:pathLst>
                    <a:path w="79" h="84">
                      <a:moveTo>
                        <a:pt x="42" y="83"/>
                      </a:moveTo>
                      <a:cubicBezTo>
                        <a:pt x="64" y="81"/>
                        <a:pt x="79" y="62"/>
                        <a:pt x="78" y="39"/>
                      </a:cubicBezTo>
                      <a:cubicBezTo>
                        <a:pt x="77" y="17"/>
                        <a:pt x="61" y="0"/>
                        <a:pt x="39" y="1"/>
                      </a:cubicBezTo>
                      <a:cubicBezTo>
                        <a:pt x="17" y="3"/>
                        <a:pt x="0" y="22"/>
                        <a:pt x="1" y="45"/>
                      </a:cubicBezTo>
                      <a:cubicBezTo>
                        <a:pt x="1" y="67"/>
                        <a:pt x="20" y="84"/>
                        <a:pt x="42" y="83"/>
                      </a:cubicBezTo>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74295" tIns="37148" rIns="74295" bIns="37148" numCol="1" anchor="t" anchorCtr="0" compatLnSpc="1">
                  <a:prstTxWarp prst="textNoShape">
                    <a:avLst/>
                  </a:prstTxWarp>
                </a:bodyPr>
                <a:lstStyle/>
                <a:p>
                  <a:pPr marL="0" marR="0" lvl="0" indent="0" algn="l" defTabSz="7429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ea typeface="+mn-ea"/>
                    <a:cs typeface="+mn-cs"/>
                  </a:endParaRPr>
                </a:p>
              </p:txBody>
            </p:sp>
            <p:sp>
              <p:nvSpPr>
                <p:cNvPr id="143" name="Freeform 33">
                  <a:extLst>
                    <a:ext uri="{FF2B5EF4-FFF2-40B4-BE49-F238E27FC236}">
                      <a16:creationId xmlns:a16="http://schemas.microsoft.com/office/drawing/2014/main" id="{04048E6B-6A7D-4967-9484-3D37200E7A81}"/>
                    </a:ext>
                  </a:extLst>
                </p:cNvPr>
                <p:cNvSpPr>
                  <a:spLocks/>
                </p:cNvSpPr>
                <p:nvPr/>
              </p:nvSpPr>
              <p:spPr bwMode="auto">
                <a:xfrm>
                  <a:off x="663784" y="1423618"/>
                  <a:ext cx="303843" cy="200846"/>
                </a:xfrm>
                <a:custGeom>
                  <a:avLst/>
                  <a:gdLst>
                    <a:gd name="T0" fmla="*/ 1 w 148"/>
                    <a:gd name="T1" fmla="*/ 83 h 97"/>
                    <a:gd name="T2" fmla="*/ 2 w 148"/>
                    <a:gd name="T3" fmla="*/ 65 h 97"/>
                    <a:gd name="T4" fmla="*/ 55 w 148"/>
                    <a:gd name="T5" fmla="*/ 11 h 97"/>
                    <a:gd name="T6" fmla="*/ 142 w 148"/>
                    <a:gd name="T7" fmla="*/ 53 h 97"/>
                    <a:gd name="T8" fmla="*/ 121 w 148"/>
                    <a:gd name="T9" fmla="*/ 87 h 97"/>
                    <a:gd name="T10" fmla="*/ 1 w 148"/>
                    <a:gd name="T11" fmla="*/ 83 h 97"/>
                  </a:gdLst>
                  <a:ahLst/>
                  <a:cxnLst>
                    <a:cxn ang="0">
                      <a:pos x="T0" y="T1"/>
                    </a:cxn>
                    <a:cxn ang="0">
                      <a:pos x="T2" y="T3"/>
                    </a:cxn>
                    <a:cxn ang="0">
                      <a:pos x="T4" y="T5"/>
                    </a:cxn>
                    <a:cxn ang="0">
                      <a:pos x="T6" y="T7"/>
                    </a:cxn>
                    <a:cxn ang="0">
                      <a:pos x="T8" y="T9"/>
                    </a:cxn>
                    <a:cxn ang="0">
                      <a:pos x="T10" y="T11"/>
                    </a:cxn>
                  </a:cxnLst>
                  <a:rect l="0" t="0" r="r" b="b"/>
                  <a:pathLst>
                    <a:path w="148" h="97">
                      <a:moveTo>
                        <a:pt x="1" y="83"/>
                      </a:moveTo>
                      <a:cubicBezTo>
                        <a:pt x="0" y="77"/>
                        <a:pt x="1" y="71"/>
                        <a:pt x="2" y="65"/>
                      </a:cubicBezTo>
                      <a:cubicBezTo>
                        <a:pt x="8" y="38"/>
                        <a:pt x="29" y="17"/>
                        <a:pt x="55" y="11"/>
                      </a:cubicBezTo>
                      <a:cubicBezTo>
                        <a:pt x="104" y="0"/>
                        <a:pt x="133" y="25"/>
                        <a:pt x="142" y="53"/>
                      </a:cubicBezTo>
                      <a:cubicBezTo>
                        <a:pt x="148" y="68"/>
                        <a:pt x="137" y="85"/>
                        <a:pt x="121" y="87"/>
                      </a:cubicBezTo>
                      <a:cubicBezTo>
                        <a:pt x="66" y="97"/>
                        <a:pt x="34" y="81"/>
                        <a:pt x="1" y="83"/>
                      </a:cubicBezTo>
                    </a:path>
                  </a:pathLst>
                </a:custGeom>
                <a:solidFill>
                  <a:schemeClr val="accent2"/>
                </a:solidFill>
                <a:ln>
                  <a:noFill/>
                </a:ln>
              </p:spPr>
              <p:txBody>
                <a:bodyPr vert="horz" wrap="square" lIns="74295" tIns="37148" rIns="74295" bIns="37148" numCol="1" anchor="t" anchorCtr="0" compatLnSpc="1">
                  <a:prstTxWarp prst="textNoShape">
                    <a:avLst/>
                  </a:prstTxWarp>
                </a:bodyPr>
                <a:lstStyle/>
                <a:p>
                  <a:pPr marL="0" marR="0" lvl="0" indent="0" algn="l" defTabSz="74295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ea typeface="+mn-ea"/>
                    <a:cs typeface="+mn-cs"/>
                  </a:endParaRPr>
                </a:p>
              </p:txBody>
            </p:sp>
          </p:grpSp>
          <p:sp>
            <p:nvSpPr>
              <p:cNvPr id="140" name="Freeform: Shape 366">
                <a:extLst>
                  <a:ext uri="{FF2B5EF4-FFF2-40B4-BE49-F238E27FC236}">
                    <a16:creationId xmlns:a16="http://schemas.microsoft.com/office/drawing/2014/main" id="{A1A7A63B-291A-4400-9699-EA3531D79DFA}"/>
                  </a:ext>
                </a:extLst>
              </p:cNvPr>
              <p:cNvSpPr/>
              <p:nvPr/>
            </p:nvSpPr>
            <p:spPr>
              <a:xfrm>
                <a:off x="5022737" y="5620905"/>
                <a:ext cx="87313" cy="178594"/>
              </a:xfrm>
              <a:custGeom>
                <a:avLst/>
                <a:gdLst>
                  <a:gd name="connsiteX0" fmla="*/ 76200 w 76200"/>
                  <a:gd name="connsiteY0" fmla="*/ 0 h 178594"/>
                  <a:gd name="connsiteX1" fmla="*/ 76200 w 76200"/>
                  <a:gd name="connsiteY1" fmla="*/ 102394 h 178594"/>
                  <a:gd name="connsiteX2" fmla="*/ 0 w 76200"/>
                  <a:gd name="connsiteY2" fmla="*/ 178594 h 178594"/>
                </a:gdLst>
                <a:ahLst/>
                <a:cxnLst>
                  <a:cxn ang="0">
                    <a:pos x="connsiteX0" y="connsiteY0"/>
                  </a:cxn>
                  <a:cxn ang="0">
                    <a:pos x="connsiteX1" y="connsiteY1"/>
                  </a:cxn>
                  <a:cxn ang="0">
                    <a:pos x="connsiteX2" y="connsiteY2"/>
                  </a:cxn>
                </a:cxnLst>
                <a:rect l="l" t="t" r="r" b="b"/>
                <a:pathLst>
                  <a:path w="76200" h="178594">
                    <a:moveTo>
                      <a:pt x="76200" y="0"/>
                    </a:moveTo>
                    <a:lnTo>
                      <a:pt x="76200" y="102394"/>
                    </a:lnTo>
                    <a:lnTo>
                      <a:pt x="0" y="178594"/>
                    </a:lnTo>
                  </a:path>
                </a:pathLst>
              </a:custGeom>
              <a:noFill/>
              <a:ln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ea typeface="+mn-ea"/>
                  <a:cs typeface="+mn-cs"/>
                </a:endParaRPr>
              </a:p>
            </p:txBody>
          </p:sp>
          <p:sp>
            <p:nvSpPr>
              <p:cNvPr id="141" name="Freeform: Shape 624">
                <a:extLst>
                  <a:ext uri="{FF2B5EF4-FFF2-40B4-BE49-F238E27FC236}">
                    <a16:creationId xmlns:a16="http://schemas.microsoft.com/office/drawing/2014/main" id="{3276C473-4183-4A71-9F48-3332308B2381}"/>
                  </a:ext>
                </a:extLst>
              </p:cNvPr>
              <p:cNvSpPr/>
              <p:nvPr/>
            </p:nvSpPr>
            <p:spPr>
              <a:xfrm flipH="1">
                <a:off x="5108462" y="5620905"/>
                <a:ext cx="87313" cy="178594"/>
              </a:xfrm>
              <a:custGeom>
                <a:avLst/>
                <a:gdLst>
                  <a:gd name="connsiteX0" fmla="*/ 76200 w 76200"/>
                  <a:gd name="connsiteY0" fmla="*/ 0 h 178594"/>
                  <a:gd name="connsiteX1" fmla="*/ 76200 w 76200"/>
                  <a:gd name="connsiteY1" fmla="*/ 102394 h 178594"/>
                  <a:gd name="connsiteX2" fmla="*/ 0 w 76200"/>
                  <a:gd name="connsiteY2" fmla="*/ 178594 h 178594"/>
                </a:gdLst>
                <a:ahLst/>
                <a:cxnLst>
                  <a:cxn ang="0">
                    <a:pos x="connsiteX0" y="connsiteY0"/>
                  </a:cxn>
                  <a:cxn ang="0">
                    <a:pos x="connsiteX1" y="connsiteY1"/>
                  </a:cxn>
                  <a:cxn ang="0">
                    <a:pos x="connsiteX2" y="connsiteY2"/>
                  </a:cxn>
                </a:cxnLst>
                <a:rect l="l" t="t" r="r" b="b"/>
                <a:pathLst>
                  <a:path w="76200" h="178594">
                    <a:moveTo>
                      <a:pt x="76200" y="0"/>
                    </a:moveTo>
                    <a:lnTo>
                      <a:pt x="76200" y="102394"/>
                    </a:lnTo>
                    <a:lnTo>
                      <a:pt x="0" y="178594"/>
                    </a:lnTo>
                  </a:path>
                </a:pathLst>
              </a:custGeom>
              <a:noFill/>
              <a:ln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ea typeface="+mn-ea"/>
                  <a:cs typeface="+mn-cs"/>
                </a:endParaRPr>
              </a:p>
            </p:txBody>
          </p:sp>
        </p:grpSp>
      </p:grpSp>
      <p:sp>
        <p:nvSpPr>
          <p:cNvPr id="148" name="Oval 35">
            <a:extLst>
              <a:ext uri="{FF2B5EF4-FFF2-40B4-BE49-F238E27FC236}">
                <a16:creationId xmlns:a16="http://schemas.microsoft.com/office/drawing/2014/main" id="{8E1F7FBB-F578-41F0-BA26-E0D84785297A}"/>
              </a:ext>
            </a:extLst>
          </p:cNvPr>
          <p:cNvSpPr/>
          <p:nvPr/>
        </p:nvSpPr>
        <p:spPr>
          <a:xfrm>
            <a:off x="896708" y="3740283"/>
            <a:ext cx="115241" cy="107652"/>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87552" rtl="0" eaLnBrk="1" fontAlgn="auto" latinLnBrk="0" hangingPunct="1">
              <a:lnSpc>
                <a:spcPct val="100000"/>
              </a:lnSpc>
              <a:spcBef>
                <a:spcPts val="0"/>
              </a:spcBef>
              <a:spcAft>
                <a:spcPts val="0"/>
              </a:spcAft>
              <a:buClrTx/>
              <a:buSzTx/>
              <a:buFontTx/>
              <a:buNone/>
              <a:tabLst/>
              <a:defRPr/>
            </a:pPr>
            <a:endParaRPr kumimoji="0" lang="fr-FR" sz="1512" b="0" i="0" u="none" strike="noStrike" kern="0" cap="none" spc="0" normalizeH="0" baseline="0" noProof="0">
              <a:ln>
                <a:noFill/>
              </a:ln>
              <a:solidFill>
                <a:sysClr val="windowText" lastClr="000000"/>
              </a:solidFill>
              <a:effectLst/>
              <a:uLnTx/>
              <a:uFillTx/>
              <a:ea typeface="+mn-ea"/>
              <a:cs typeface="Arial" panose="020B0604020202020204" pitchFamily="34" charset="0"/>
            </a:endParaRPr>
          </a:p>
        </p:txBody>
      </p:sp>
      <p:grpSp>
        <p:nvGrpSpPr>
          <p:cNvPr id="153" name="Groupe 87">
            <a:extLst>
              <a:ext uri="{FF2B5EF4-FFF2-40B4-BE49-F238E27FC236}">
                <a16:creationId xmlns:a16="http://schemas.microsoft.com/office/drawing/2014/main" id="{DA246144-AE25-4A6C-B70A-9FF637AB44F2}"/>
              </a:ext>
            </a:extLst>
          </p:cNvPr>
          <p:cNvGrpSpPr>
            <a:grpSpLocks noChangeAspect="1"/>
          </p:cNvGrpSpPr>
          <p:nvPr/>
        </p:nvGrpSpPr>
        <p:grpSpPr>
          <a:xfrm>
            <a:off x="6347775" y="3470315"/>
            <a:ext cx="702935" cy="663508"/>
            <a:chOff x="5010150" y="552451"/>
            <a:chExt cx="990600" cy="935038"/>
          </a:xfrm>
        </p:grpSpPr>
        <p:sp>
          <p:nvSpPr>
            <p:cNvPr id="154" name="Freeform 86">
              <a:extLst>
                <a:ext uri="{FF2B5EF4-FFF2-40B4-BE49-F238E27FC236}">
                  <a16:creationId xmlns:a16="http://schemas.microsoft.com/office/drawing/2014/main" id="{A00E77C2-A6F8-409A-8557-87FCB6BD8CD9}"/>
                </a:ext>
              </a:extLst>
            </p:cNvPr>
            <p:cNvSpPr>
              <a:spLocks/>
            </p:cNvSpPr>
            <p:nvPr/>
          </p:nvSpPr>
          <p:spPr bwMode="auto">
            <a:xfrm>
              <a:off x="5010150" y="552451"/>
              <a:ext cx="990600" cy="935038"/>
            </a:xfrm>
            <a:custGeom>
              <a:avLst/>
              <a:gdLst>
                <a:gd name="T0" fmla="*/ 42 w 293"/>
                <a:gd name="T1" fmla="*/ 214 h 274"/>
                <a:gd name="T2" fmla="*/ 70 w 293"/>
                <a:gd name="T3" fmla="*/ 41 h 274"/>
                <a:gd name="T4" fmla="*/ 251 w 293"/>
                <a:gd name="T5" fmla="*/ 67 h 274"/>
                <a:gd name="T6" fmla="*/ 218 w 293"/>
                <a:gd name="T7" fmla="*/ 233 h 274"/>
                <a:gd name="T8" fmla="*/ 42 w 293"/>
                <a:gd name="T9" fmla="*/ 214 h 274"/>
              </a:gdLst>
              <a:ahLst/>
              <a:cxnLst>
                <a:cxn ang="0">
                  <a:pos x="T0" y="T1"/>
                </a:cxn>
                <a:cxn ang="0">
                  <a:pos x="T2" y="T3"/>
                </a:cxn>
                <a:cxn ang="0">
                  <a:pos x="T4" y="T5"/>
                </a:cxn>
                <a:cxn ang="0">
                  <a:pos x="T6" y="T7"/>
                </a:cxn>
                <a:cxn ang="0">
                  <a:pos x="T8" y="T9"/>
                </a:cxn>
              </a:cxnLst>
              <a:rect l="0" t="0" r="r" b="b"/>
              <a:pathLst>
                <a:path w="293" h="274">
                  <a:moveTo>
                    <a:pt x="42" y="214"/>
                  </a:moveTo>
                  <a:cubicBezTo>
                    <a:pt x="0" y="159"/>
                    <a:pt x="13" y="82"/>
                    <a:pt x="70" y="41"/>
                  </a:cubicBezTo>
                  <a:cubicBezTo>
                    <a:pt x="128" y="0"/>
                    <a:pt x="209" y="12"/>
                    <a:pt x="251" y="67"/>
                  </a:cubicBezTo>
                  <a:cubicBezTo>
                    <a:pt x="293" y="121"/>
                    <a:pt x="276" y="192"/>
                    <a:pt x="218" y="233"/>
                  </a:cubicBezTo>
                  <a:cubicBezTo>
                    <a:pt x="161" y="274"/>
                    <a:pt x="84" y="269"/>
                    <a:pt x="42" y="214"/>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grpSp>
          <p:nvGrpSpPr>
            <p:cNvPr id="155" name="Groupe 89">
              <a:extLst>
                <a:ext uri="{FF2B5EF4-FFF2-40B4-BE49-F238E27FC236}">
                  <a16:creationId xmlns:a16="http://schemas.microsoft.com/office/drawing/2014/main" id="{4117BD3A-8FF8-4DA1-958E-31BB9B2D61B9}"/>
                </a:ext>
              </a:extLst>
            </p:cNvPr>
            <p:cNvGrpSpPr/>
            <p:nvPr/>
          </p:nvGrpSpPr>
          <p:grpSpPr>
            <a:xfrm>
              <a:off x="5291138" y="730251"/>
              <a:ext cx="388938" cy="590550"/>
              <a:chOff x="5291138" y="730251"/>
              <a:chExt cx="388938" cy="590550"/>
            </a:xfrm>
          </p:grpSpPr>
          <p:sp>
            <p:nvSpPr>
              <p:cNvPr id="156" name="Rectangle 87">
                <a:extLst>
                  <a:ext uri="{FF2B5EF4-FFF2-40B4-BE49-F238E27FC236}">
                    <a16:creationId xmlns:a16="http://schemas.microsoft.com/office/drawing/2014/main" id="{6A505D84-6A83-4029-8F2F-3500B4E2CEF4}"/>
                  </a:ext>
                </a:extLst>
              </p:cNvPr>
              <p:cNvSpPr>
                <a:spLocks noChangeArrowheads="1"/>
              </p:cNvSpPr>
              <p:nvPr/>
            </p:nvSpPr>
            <p:spPr bwMode="auto">
              <a:xfrm>
                <a:off x="5411788" y="1208088"/>
                <a:ext cx="149225" cy="77788"/>
              </a:xfrm>
              <a:prstGeom prst="rect">
                <a:avLst/>
              </a:prstGeom>
              <a:solidFill>
                <a:srgbClr val="44AD7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157" name="Freeform 88">
                <a:extLst>
                  <a:ext uri="{FF2B5EF4-FFF2-40B4-BE49-F238E27FC236}">
                    <a16:creationId xmlns:a16="http://schemas.microsoft.com/office/drawing/2014/main" id="{7C92647F-ED80-4D4B-AEA6-C9CE33DCD7A5}"/>
                  </a:ext>
                </a:extLst>
              </p:cNvPr>
              <p:cNvSpPr>
                <a:spLocks/>
              </p:cNvSpPr>
              <p:nvPr/>
            </p:nvSpPr>
            <p:spPr bwMode="auto">
              <a:xfrm>
                <a:off x="5291138" y="730251"/>
                <a:ext cx="388938" cy="481013"/>
              </a:xfrm>
              <a:custGeom>
                <a:avLst/>
                <a:gdLst>
                  <a:gd name="T0" fmla="*/ 58 w 115"/>
                  <a:gd name="T1" fmla="*/ 0 h 141"/>
                  <a:gd name="T2" fmla="*/ 0 w 115"/>
                  <a:gd name="T3" fmla="*/ 57 h 141"/>
                  <a:gd name="T4" fmla="*/ 19 w 115"/>
                  <a:gd name="T5" fmla="*/ 100 h 141"/>
                  <a:gd name="T6" fmla="*/ 21 w 115"/>
                  <a:gd name="T7" fmla="*/ 101 h 141"/>
                  <a:gd name="T8" fmla="*/ 35 w 115"/>
                  <a:gd name="T9" fmla="*/ 133 h 141"/>
                  <a:gd name="T10" fmla="*/ 35 w 115"/>
                  <a:gd name="T11" fmla="*/ 139 h 141"/>
                  <a:gd name="T12" fmla="*/ 32 w 115"/>
                  <a:gd name="T13" fmla="*/ 139 h 141"/>
                  <a:gd name="T14" fmla="*/ 32 w 115"/>
                  <a:gd name="T15" fmla="*/ 141 h 141"/>
                  <a:gd name="T16" fmla="*/ 84 w 115"/>
                  <a:gd name="T17" fmla="*/ 141 h 141"/>
                  <a:gd name="T18" fmla="*/ 84 w 115"/>
                  <a:gd name="T19" fmla="*/ 139 h 141"/>
                  <a:gd name="T20" fmla="*/ 81 w 115"/>
                  <a:gd name="T21" fmla="*/ 139 h 141"/>
                  <a:gd name="T22" fmla="*/ 81 w 115"/>
                  <a:gd name="T23" fmla="*/ 133 h 141"/>
                  <a:gd name="T24" fmla="*/ 95 w 115"/>
                  <a:gd name="T25" fmla="*/ 101 h 141"/>
                  <a:gd name="T26" fmla="*/ 96 w 115"/>
                  <a:gd name="T27" fmla="*/ 100 h 141"/>
                  <a:gd name="T28" fmla="*/ 115 w 115"/>
                  <a:gd name="T29" fmla="*/ 57 h 141"/>
                  <a:gd name="T30" fmla="*/ 58 w 115"/>
                  <a:gd name="T31"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141">
                    <a:moveTo>
                      <a:pt x="58" y="0"/>
                    </a:moveTo>
                    <a:cubicBezTo>
                      <a:pt x="26" y="0"/>
                      <a:pt x="0" y="26"/>
                      <a:pt x="0" y="57"/>
                    </a:cubicBezTo>
                    <a:cubicBezTo>
                      <a:pt x="0" y="73"/>
                      <a:pt x="7" y="89"/>
                      <a:pt x="19" y="100"/>
                    </a:cubicBezTo>
                    <a:cubicBezTo>
                      <a:pt x="21" y="101"/>
                      <a:pt x="21" y="101"/>
                      <a:pt x="21" y="101"/>
                    </a:cubicBezTo>
                    <a:cubicBezTo>
                      <a:pt x="30" y="109"/>
                      <a:pt x="35" y="121"/>
                      <a:pt x="35" y="133"/>
                    </a:cubicBezTo>
                    <a:cubicBezTo>
                      <a:pt x="35" y="139"/>
                      <a:pt x="35" y="139"/>
                      <a:pt x="35" y="139"/>
                    </a:cubicBezTo>
                    <a:cubicBezTo>
                      <a:pt x="32" y="139"/>
                      <a:pt x="32" y="139"/>
                      <a:pt x="32" y="139"/>
                    </a:cubicBezTo>
                    <a:cubicBezTo>
                      <a:pt x="32" y="141"/>
                      <a:pt x="32" y="141"/>
                      <a:pt x="32" y="141"/>
                    </a:cubicBezTo>
                    <a:cubicBezTo>
                      <a:pt x="84" y="141"/>
                      <a:pt x="84" y="141"/>
                      <a:pt x="84" y="141"/>
                    </a:cubicBezTo>
                    <a:cubicBezTo>
                      <a:pt x="84" y="139"/>
                      <a:pt x="84" y="139"/>
                      <a:pt x="84" y="139"/>
                    </a:cubicBezTo>
                    <a:cubicBezTo>
                      <a:pt x="81" y="139"/>
                      <a:pt x="81" y="139"/>
                      <a:pt x="81" y="139"/>
                    </a:cubicBezTo>
                    <a:cubicBezTo>
                      <a:pt x="81" y="133"/>
                      <a:pt x="81" y="133"/>
                      <a:pt x="81" y="133"/>
                    </a:cubicBezTo>
                    <a:cubicBezTo>
                      <a:pt x="81" y="121"/>
                      <a:pt x="86" y="109"/>
                      <a:pt x="95" y="101"/>
                    </a:cubicBezTo>
                    <a:cubicBezTo>
                      <a:pt x="96" y="100"/>
                      <a:pt x="96" y="100"/>
                      <a:pt x="96" y="100"/>
                    </a:cubicBezTo>
                    <a:cubicBezTo>
                      <a:pt x="108" y="89"/>
                      <a:pt x="115" y="73"/>
                      <a:pt x="115" y="57"/>
                    </a:cubicBezTo>
                    <a:cubicBezTo>
                      <a:pt x="115" y="26"/>
                      <a:pt x="89" y="0"/>
                      <a:pt x="58" y="0"/>
                    </a:cubicBezTo>
                    <a:close/>
                  </a:path>
                </a:pathLst>
              </a:custGeom>
              <a:solidFill>
                <a:srgbClr val="C4D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158" name="Rectangle 89">
                <a:extLst>
                  <a:ext uri="{FF2B5EF4-FFF2-40B4-BE49-F238E27FC236}">
                    <a16:creationId xmlns:a16="http://schemas.microsoft.com/office/drawing/2014/main" id="{3BE774F7-C487-4E98-8B54-7BAEA73C9C00}"/>
                  </a:ext>
                </a:extLst>
              </p:cNvPr>
              <p:cNvSpPr>
                <a:spLocks noChangeArrowheads="1"/>
              </p:cNvSpPr>
              <p:nvPr/>
            </p:nvSpPr>
            <p:spPr bwMode="auto">
              <a:xfrm>
                <a:off x="5399088" y="1220788"/>
                <a:ext cx="176213" cy="14288"/>
              </a:xfrm>
              <a:prstGeom prst="rect">
                <a:avLst/>
              </a:prstGeom>
              <a:solidFill>
                <a:srgbClr val="C4D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159" name="Rectangle 90">
                <a:extLst>
                  <a:ext uri="{FF2B5EF4-FFF2-40B4-BE49-F238E27FC236}">
                    <a16:creationId xmlns:a16="http://schemas.microsoft.com/office/drawing/2014/main" id="{34B7E7A5-7059-415D-B76E-8E8D33680718}"/>
                  </a:ext>
                </a:extLst>
              </p:cNvPr>
              <p:cNvSpPr>
                <a:spLocks noChangeArrowheads="1"/>
              </p:cNvSpPr>
              <p:nvPr/>
            </p:nvSpPr>
            <p:spPr bwMode="auto">
              <a:xfrm>
                <a:off x="5399088" y="1244601"/>
                <a:ext cx="176213" cy="14288"/>
              </a:xfrm>
              <a:prstGeom prst="rect">
                <a:avLst/>
              </a:prstGeom>
              <a:solidFill>
                <a:srgbClr val="C4D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160" name="Freeform 91">
                <a:extLst>
                  <a:ext uri="{FF2B5EF4-FFF2-40B4-BE49-F238E27FC236}">
                    <a16:creationId xmlns:a16="http://schemas.microsoft.com/office/drawing/2014/main" id="{331F9467-D748-46B8-BCD2-A4AFE9310232}"/>
                  </a:ext>
                </a:extLst>
              </p:cNvPr>
              <p:cNvSpPr>
                <a:spLocks/>
              </p:cNvSpPr>
              <p:nvPr/>
            </p:nvSpPr>
            <p:spPr bwMode="auto">
              <a:xfrm>
                <a:off x="5449888" y="1282701"/>
                <a:ext cx="71438" cy="38100"/>
              </a:xfrm>
              <a:custGeom>
                <a:avLst/>
                <a:gdLst>
                  <a:gd name="T0" fmla="*/ 16 w 21"/>
                  <a:gd name="T1" fmla="*/ 11 h 11"/>
                  <a:gd name="T2" fmla="*/ 6 w 21"/>
                  <a:gd name="T3" fmla="*/ 11 h 11"/>
                  <a:gd name="T4" fmla="*/ 2 w 21"/>
                  <a:gd name="T5" fmla="*/ 10 h 11"/>
                  <a:gd name="T6" fmla="*/ 0 w 21"/>
                  <a:gd name="T7" fmla="*/ 6 h 11"/>
                  <a:gd name="T8" fmla="*/ 0 w 21"/>
                  <a:gd name="T9" fmla="*/ 0 h 11"/>
                  <a:gd name="T10" fmla="*/ 21 w 21"/>
                  <a:gd name="T11" fmla="*/ 0 h 11"/>
                  <a:gd name="T12" fmla="*/ 21 w 21"/>
                  <a:gd name="T13" fmla="*/ 6 h 11"/>
                  <a:gd name="T14" fmla="*/ 19 w 21"/>
                  <a:gd name="T15" fmla="*/ 10 h 11"/>
                  <a:gd name="T16" fmla="*/ 16 w 21"/>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11">
                    <a:moveTo>
                      <a:pt x="16" y="11"/>
                    </a:moveTo>
                    <a:cubicBezTo>
                      <a:pt x="6" y="11"/>
                      <a:pt x="6" y="11"/>
                      <a:pt x="6" y="11"/>
                    </a:cubicBezTo>
                    <a:cubicBezTo>
                      <a:pt x="4" y="11"/>
                      <a:pt x="3" y="11"/>
                      <a:pt x="2" y="10"/>
                    </a:cubicBezTo>
                    <a:cubicBezTo>
                      <a:pt x="1" y="8"/>
                      <a:pt x="0" y="7"/>
                      <a:pt x="0" y="6"/>
                    </a:cubicBezTo>
                    <a:cubicBezTo>
                      <a:pt x="0" y="0"/>
                      <a:pt x="0" y="0"/>
                      <a:pt x="0" y="0"/>
                    </a:cubicBezTo>
                    <a:cubicBezTo>
                      <a:pt x="21" y="0"/>
                      <a:pt x="21" y="0"/>
                      <a:pt x="21" y="0"/>
                    </a:cubicBezTo>
                    <a:cubicBezTo>
                      <a:pt x="21" y="6"/>
                      <a:pt x="21" y="6"/>
                      <a:pt x="21" y="6"/>
                    </a:cubicBezTo>
                    <a:cubicBezTo>
                      <a:pt x="21" y="7"/>
                      <a:pt x="20" y="8"/>
                      <a:pt x="19" y="10"/>
                    </a:cubicBezTo>
                    <a:cubicBezTo>
                      <a:pt x="18" y="11"/>
                      <a:pt x="17" y="11"/>
                      <a:pt x="16" y="11"/>
                    </a:cubicBezTo>
                    <a:close/>
                  </a:path>
                </a:pathLst>
              </a:custGeom>
              <a:solidFill>
                <a:srgbClr val="44AD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161" name="Oval 92">
                <a:extLst>
                  <a:ext uri="{FF2B5EF4-FFF2-40B4-BE49-F238E27FC236}">
                    <a16:creationId xmlns:a16="http://schemas.microsoft.com/office/drawing/2014/main" id="{86200939-6DF1-4FC4-BEDB-97572A989917}"/>
                  </a:ext>
                </a:extLst>
              </p:cNvPr>
              <p:cNvSpPr>
                <a:spLocks noChangeArrowheads="1"/>
              </p:cNvSpPr>
              <p:nvPr/>
            </p:nvSpPr>
            <p:spPr bwMode="auto">
              <a:xfrm>
                <a:off x="5341938" y="781051"/>
                <a:ext cx="287338" cy="290513"/>
              </a:xfrm>
              <a:prstGeom prst="ellipse">
                <a:avLst/>
              </a:pr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162" name="Freeform 93">
                <a:extLst>
                  <a:ext uri="{FF2B5EF4-FFF2-40B4-BE49-F238E27FC236}">
                    <a16:creationId xmlns:a16="http://schemas.microsoft.com/office/drawing/2014/main" id="{67795C1A-281A-40AC-8986-9928566D48D1}"/>
                  </a:ext>
                </a:extLst>
              </p:cNvPr>
              <p:cNvSpPr>
                <a:spLocks/>
              </p:cNvSpPr>
              <p:nvPr/>
            </p:nvSpPr>
            <p:spPr bwMode="auto">
              <a:xfrm>
                <a:off x="5446713" y="876301"/>
                <a:ext cx="155575" cy="157163"/>
              </a:xfrm>
              <a:custGeom>
                <a:avLst/>
                <a:gdLst>
                  <a:gd name="T0" fmla="*/ 22 w 46"/>
                  <a:gd name="T1" fmla="*/ 46 h 46"/>
                  <a:gd name="T2" fmla="*/ 31 w 46"/>
                  <a:gd name="T3" fmla="*/ 44 h 46"/>
                  <a:gd name="T4" fmla="*/ 32 w 46"/>
                  <a:gd name="T5" fmla="*/ 43 h 46"/>
                  <a:gd name="T6" fmla="*/ 32 w 46"/>
                  <a:gd name="T7" fmla="*/ 39 h 46"/>
                  <a:gd name="T8" fmla="*/ 33 w 46"/>
                  <a:gd name="T9" fmla="*/ 38 h 46"/>
                  <a:gd name="T10" fmla="*/ 33 w 46"/>
                  <a:gd name="T11" fmla="*/ 38 h 46"/>
                  <a:gd name="T12" fmla="*/ 35 w 46"/>
                  <a:gd name="T13" fmla="*/ 36 h 46"/>
                  <a:gd name="T14" fmla="*/ 35 w 46"/>
                  <a:gd name="T15" fmla="*/ 36 h 46"/>
                  <a:gd name="T16" fmla="*/ 37 w 46"/>
                  <a:gd name="T17" fmla="*/ 35 h 46"/>
                  <a:gd name="T18" fmla="*/ 40 w 46"/>
                  <a:gd name="T19" fmla="*/ 36 h 46"/>
                  <a:gd name="T20" fmla="*/ 43 w 46"/>
                  <a:gd name="T21" fmla="*/ 35 h 46"/>
                  <a:gd name="T22" fmla="*/ 46 w 46"/>
                  <a:gd name="T23" fmla="*/ 27 h 46"/>
                  <a:gd name="T24" fmla="*/ 45 w 46"/>
                  <a:gd name="T25" fmla="*/ 25 h 46"/>
                  <a:gd name="T26" fmla="*/ 42 w 46"/>
                  <a:gd name="T27" fmla="*/ 23 h 46"/>
                  <a:gd name="T28" fmla="*/ 41 w 46"/>
                  <a:gd name="T29" fmla="*/ 21 h 46"/>
                  <a:gd name="T30" fmla="*/ 41 w 46"/>
                  <a:gd name="T31" fmla="*/ 19 h 46"/>
                  <a:gd name="T32" fmla="*/ 41 w 46"/>
                  <a:gd name="T33" fmla="*/ 17 h 46"/>
                  <a:gd name="T34" fmla="*/ 43 w 46"/>
                  <a:gd name="T35" fmla="*/ 14 h 46"/>
                  <a:gd name="T36" fmla="*/ 43 w 46"/>
                  <a:gd name="T37" fmla="*/ 12 h 46"/>
                  <a:gd name="T38" fmla="*/ 38 w 46"/>
                  <a:gd name="T39" fmla="*/ 5 h 46"/>
                  <a:gd name="T40" fmla="*/ 36 w 46"/>
                  <a:gd name="T41" fmla="*/ 5 h 46"/>
                  <a:gd name="T42" fmla="*/ 32 w 46"/>
                  <a:gd name="T43" fmla="*/ 7 h 46"/>
                  <a:gd name="T44" fmla="*/ 31 w 46"/>
                  <a:gd name="T45" fmla="*/ 6 h 46"/>
                  <a:gd name="T46" fmla="*/ 28 w 46"/>
                  <a:gd name="T47" fmla="*/ 5 h 46"/>
                  <a:gd name="T48" fmla="*/ 27 w 46"/>
                  <a:gd name="T49" fmla="*/ 5 h 46"/>
                  <a:gd name="T50" fmla="*/ 26 w 46"/>
                  <a:gd name="T51" fmla="*/ 1 h 46"/>
                  <a:gd name="T52" fmla="*/ 24 w 46"/>
                  <a:gd name="T53" fmla="*/ 0 h 46"/>
                  <a:gd name="T54" fmla="*/ 15 w 46"/>
                  <a:gd name="T55" fmla="*/ 1 h 46"/>
                  <a:gd name="T56" fmla="*/ 14 w 46"/>
                  <a:gd name="T57" fmla="*/ 3 h 46"/>
                  <a:gd name="T58" fmla="*/ 14 w 46"/>
                  <a:gd name="T59" fmla="*/ 7 h 46"/>
                  <a:gd name="T60" fmla="*/ 13 w 46"/>
                  <a:gd name="T61" fmla="*/ 8 h 46"/>
                  <a:gd name="T62" fmla="*/ 13 w 46"/>
                  <a:gd name="T63" fmla="*/ 8 h 46"/>
                  <a:gd name="T64" fmla="*/ 11 w 46"/>
                  <a:gd name="T65" fmla="*/ 9 h 46"/>
                  <a:gd name="T66" fmla="*/ 11 w 46"/>
                  <a:gd name="T67" fmla="*/ 9 h 46"/>
                  <a:gd name="T68" fmla="*/ 9 w 46"/>
                  <a:gd name="T69" fmla="*/ 10 h 46"/>
                  <a:gd name="T70" fmla="*/ 6 w 46"/>
                  <a:gd name="T71" fmla="*/ 10 h 46"/>
                  <a:gd name="T72" fmla="*/ 4 w 46"/>
                  <a:gd name="T73" fmla="*/ 10 h 46"/>
                  <a:gd name="T74" fmla="*/ 1 w 46"/>
                  <a:gd name="T75" fmla="*/ 18 h 46"/>
                  <a:gd name="T76" fmla="*/ 1 w 46"/>
                  <a:gd name="T77" fmla="*/ 21 h 46"/>
                  <a:gd name="T78" fmla="*/ 5 w 46"/>
                  <a:gd name="T79" fmla="*/ 23 h 46"/>
                  <a:gd name="T80" fmla="*/ 5 w 46"/>
                  <a:gd name="T81" fmla="*/ 24 h 46"/>
                  <a:gd name="T82" fmla="*/ 6 w 46"/>
                  <a:gd name="T83" fmla="*/ 27 h 46"/>
                  <a:gd name="T84" fmla="*/ 5 w 46"/>
                  <a:gd name="T85" fmla="*/ 28 h 46"/>
                  <a:gd name="T86" fmla="*/ 3 w 46"/>
                  <a:gd name="T87" fmla="*/ 31 h 46"/>
                  <a:gd name="T88" fmla="*/ 3 w 46"/>
                  <a:gd name="T89" fmla="*/ 33 h 46"/>
                  <a:gd name="T90" fmla="*/ 8 w 46"/>
                  <a:gd name="T91" fmla="*/ 40 h 46"/>
                  <a:gd name="T92" fmla="*/ 10 w 46"/>
                  <a:gd name="T93" fmla="*/ 40 h 46"/>
                  <a:gd name="T94" fmla="*/ 14 w 46"/>
                  <a:gd name="T95" fmla="*/ 39 h 46"/>
                  <a:gd name="T96" fmla="*/ 15 w 46"/>
                  <a:gd name="T97" fmla="*/ 39 h 46"/>
                  <a:gd name="T98" fmla="*/ 18 w 46"/>
                  <a:gd name="T99" fmla="*/ 40 h 46"/>
                  <a:gd name="T100" fmla="*/ 19 w 46"/>
                  <a:gd name="T101" fmla="*/ 41 h 46"/>
                  <a:gd name="T102" fmla="*/ 20 w 46"/>
                  <a:gd name="T103" fmla="*/ 44 h 46"/>
                  <a:gd name="T104" fmla="*/ 22 w 46"/>
                  <a:gd name="T105"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6" h="46">
                    <a:moveTo>
                      <a:pt x="22" y="46"/>
                    </a:moveTo>
                    <a:cubicBezTo>
                      <a:pt x="25" y="45"/>
                      <a:pt x="28" y="45"/>
                      <a:pt x="31" y="44"/>
                    </a:cubicBezTo>
                    <a:cubicBezTo>
                      <a:pt x="32" y="44"/>
                      <a:pt x="32" y="43"/>
                      <a:pt x="32" y="43"/>
                    </a:cubicBezTo>
                    <a:cubicBezTo>
                      <a:pt x="32" y="41"/>
                      <a:pt x="32" y="39"/>
                      <a:pt x="32" y="39"/>
                    </a:cubicBezTo>
                    <a:cubicBezTo>
                      <a:pt x="32" y="38"/>
                      <a:pt x="33" y="38"/>
                      <a:pt x="33" y="38"/>
                    </a:cubicBezTo>
                    <a:cubicBezTo>
                      <a:pt x="33" y="38"/>
                      <a:pt x="33" y="38"/>
                      <a:pt x="33" y="38"/>
                    </a:cubicBezTo>
                    <a:cubicBezTo>
                      <a:pt x="34" y="37"/>
                      <a:pt x="35" y="37"/>
                      <a:pt x="35" y="36"/>
                    </a:cubicBezTo>
                    <a:cubicBezTo>
                      <a:pt x="35" y="36"/>
                      <a:pt x="35" y="36"/>
                      <a:pt x="35" y="36"/>
                    </a:cubicBezTo>
                    <a:cubicBezTo>
                      <a:pt x="36" y="35"/>
                      <a:pt x="36" y="35"/>
                      <a:pt x="37" y="35"/>
                    </a:cubicBezTo>
                    <a:cubicBezTo>
                      <a:pt x="38" y="35"/>
                      <a:pt x="39" y="35"/>
                      <a:pt x="40" y="36"/>
                    </a:cubicBezTo>
                    <a:cubicBezTo>
                      <a:pt x="41" y="36"/>
                      <a:pt x="42" y="36"/>
                      <a:pt x="43" y="35"/>
                    </a:cubicBezTo>
                    <a:cubicBezTo>
                      <a:pt x="44" y="32"/>
                      <a:pt x="45" y="30"/>
                      <a:pt x="46" y="27"/>
                    </a:cubicBezTo>
                    <a:cubicBezTo>
                      <a:pt x="46" y="26"/>
                      <a:pt x="46" y="25"/>
                      <a:pt x="45" y="25"/>
                    </a:cubicBezTo>
                    <a:cubicBezTo>
                      <a:pt x="43" y="24"/>
                      <a:pt x="42" y="23"/>
                      <a:pt x="42" y="23"/>
                    </a:cubicBezTo>
                    <a:cubicBezTo>
                      <a:pt x="41" y="23"/>
                      <a:pt x="41" y="22"/>
                      <a:pt x="41" y="21"/>
                    </a:cubicBezTo>
                    <a:cubicBezTo>
                      <a:pt x="41" y="20"/>
                      <a:pt x="41" y="20"/>
                      <a:pt x="41" y="19"/>
                    </a:cubicBezTo>
                    <a:cubicBezTo>
                      <a:pt x="41" y="18"/>
                      <a:pt x="40" y="17"/>
                      <a:pt x="41" y="17"/>
                    </a:cubicBezTo>
                    <a:cubicBezTo>
                      <a:pt x="41" y="17"/>
                      <a:pt x="42" y="16"/>
                      <a:pt x="43" y="14"/>
                    </a:cubicBezTo>
                    <a:cubicBezTo>
                      <a:pt x="44" y="14"/>
                      <a:pt x="44" y="13"/>
                      <a:pt x="43" y="12"/>
                    </a:cubicBezTo>
                    <a:cubicBezTo>
                      <a:pt x="38" y="5"/>
                      <a:pt x="38" y="5"/>
                      <a:pt x="38" y="5"/>
                    </a:cubicBezTo>
                    <a:cubicBezTo>
                      <a:pt x="38" y="5"/>
                      <a:pt x="37" y="5"/>
                      <a:pt x="36" y="5"/>
                    </a:cubicBezTo>
                    <a:cubicBezTo>
                      <a:pt x="34" y="6"/>
                      <a:pt x="33" y="6"/>
                      <a:pt x="32" y="7"/>
                    </a:cubicBezTo>
                    <a:cubicBezTo>
                      <a:pt x="32" y="7"/>
                      <a:pt x="31" y="7"/>
                      <a:pt x="31" y="6"/>
                    </a:cubicBezTo>
                    <a:cubicBezTo>
                      <a:pt x="30" y="6"/>
                      <a:pt x="29" y="6"/>
                      <a:pt x="28" y="5"/>
                    </a:cubicBezTo>
                    <a:cubicBezTo>
                      <a:pt x="28" y="5"/>
                      <a:pt x="27" y="5"/>
                      <a:pt x="27" y="5"/>
                    </a:cubicBezTo>
                    <a:cubicBezTo>
                      <a:pt x="27" y="4"/>
                      <a:pt x="26" y="3"/>
                      <a:pt x="26" y="1"/>
                    </a:cubicBezTo>
                    <a:cubicBezTo>
                      <a:pt x="26" y="0"/>
                      <a:pt x="25" y="0"/>
                      <a:pt x="24" y="0"/>
                    </a:cubicBezTo>
                    <a:cubicBezTo>
                      <a:pt x="21" y="0"/>
                      <a:pt x="18" y="1"/>
                      <a:pt x="15" y="1"/>
                    </a:cubicBezTo>
                    <a:cubicBezTo>
                      <a:pt x="15" y="1"/>
                      <a:pt x="14" y="2"/>
                      <a:pt x="14" y="3"/>
                    </a:cubicBezTo>
                    <a:cubicBezTo>
                      <a:pt x="14" y="4"/>
                      <a:pt x="14" y="6"/>
                      <a:pt x="14" y="7"/>
                    </a:cubicBezTo>
                    <a:cubicBezTo>
                      <a:pt x="14" y="7"/>
                      <a:pt x="13" y="7"/>
                      <a:pt x="13" y="8"/>
                    </a:cubicBezTo>
                    <a:cubicBezTo>
                      <a:pt x="13" y="8"/>
                      <a:pt x="13" y="8"/>
                      <a:pt x="13" y="8"/>
                    </a:cubicBezTo>
                    <a:cubicBezTo>
                      <a:pt x="12" y="8"/>
                      <a:pt x="12" y="9"/>
                      <a:pt x="11" y="9"/>
                    </a:cubicBezTo>
                    <a:cubicBezTo>
                      <a:pt x="11" y="9"/>
                      <a:pt x="11" y="9"/>
                      <a:pt x="11" y="9"/>
                    </a:cubicBezTo>
                    <a:cubicBezTo>
                      <a:pt x="10" y="10"/>
                      <a:pt x="10" y="10"/>
                      <a:pt x="9" y="10"/>
                    </a:cubicBezTo>
                    <a:cubicBezTo>
                      <a:pt x="9" y="10"/>
                      <a:pt x="7" y="10"/>
                      <a:pt x="6" y="10"/>
                    </a:cubicBezTo>
                    <a:cubicBezTo>
                      <a:pt x="5" y="9"/>
                      <a:pt x="4" y="10"/>
                      <a:pt x="4" y="10"/>
                    </a:cubicBezTo>
                    <a:cubicBezTo>
                      <a:pt x="3" y="13"/>
                      <a:pt x="2" y="16"/>
                      <a:pt x="1" y="18"/>
                    </a:cubicBezTo>
                    <a:cubicBezTo>
                      <a:pt x="0" y="19"/>
                      <a:pt x="1" y="20"/>
                      <a:pt x="1" y="21"/>
                    </a:cubicBezTo>
                    <a:cubicBezTo>
                      <a:pt x="3" y="21"/>
                      <a:pt x="4" y="22"/>
                      <a:pt x="5" y="23"/>
                    </a:cubicBezTo>
                    <a:cubicBezTo>
                      <a:pt x="5" y="23"/>
                      <a:pt x="5" y="23"/>
                      <a:pt x="5" y="24"/>
                    </a:cubicBezTo>
                    <a:cubicBezTo>
                      <a:pt x="5" y="25"/>
                      <a:pt x="5" y="26"/>
                      <a:pt x="6" y="27"/>
                    </a:cubicBezTo>
                    <a:cubicBezTo>
                      <a:pt x="6" y="27"/>
                      <a:pt x="6" y="28"/>
                      <a:pt x="5" y="28"/>
                    </a:cubicBezTo>
                    <a:cubicBezTo>
                      <a:pt x="5" y="29"/>
                      <a:pt x="4" y="30"/>
                      <a:pt x="3" y="31"/>
                    </a:cubicBezTo>
                    <a:cubicBezTo>
                      <a:pt x="3" y="32"/>
                      <a:pt x="2" y="33"/>
                      <a:pt x="3" y="33"/>
                    </a:cubicBezTo>
                    <a:cubicBezTo>
                      <a:pt x="8" y="40"/>
                      <a:pt x="8" y="40"/>
                      <a:pt x="8" y="40"/>
                    </a:cubicBezTo>
                    <a:cubicBezTo>
                      <a:pt x="9" y="41"/>
                      <a:pt x="10" y="41"/>
                      <a:pt x="10" y="40"/>
                    </a:cubicBezTo>
                    <a:cubicBezTo>
                      <a:pt x="12" y="40"/>
                      <a:pt x="13" y="39"/>
                      <a:pt x="14" y="39"/>
                    </a:cubicBezTo>
                    <a:cubicBezTo>
                      <a:pt x="14" y="38"/>
                      <a:pt x="15" y="39"/>
                      <a:pt x="15" y="39"/>
                    </a:cubicBezTo>
                    <a:cubicBezTo>
                      <a:pt x="16" y="39"/>
                      <a:pt x="17" y="40"/>
                      <a:pt x="18" y="40"/>
                    </a:cubicBezTo>
                    <a:cubicBezTo>
                      <a:pt x="18" y="40"/>
                      <a:pt x="19" y="40"/>
                      <a:pt x="19" y="41"/>
                    </a:cubicBezTo>
                    <a:cubicBezTo>
                      <a:pt x="19" y="41"/>
                      <a:pt x="20" y="43"/>
                      <a:pt x="20" y="44"/>
                    </a:cubicBezTo>
                    <a:cubicBezTo>
                      <a:pt x="21" y="45"/>
                      <a:pt x="21" y="46"/>
                      <a:pt x="22" y="46"/>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163" name="Freeform 94">
                <a:extLst>
                  <a:ext uri="{FF2B5EF4-FFF2-40B4-BE49-F238E27FC236}">
                    <a16:creationId xmlns:a16="http://schemas.microsoft.com/office/drawing/2014/main" id="{84430EF6-50EA-4355-AA7E-A115CC707E4C}"/>
                  </a:ext>
                </a:extLst>
              </p:cNvPr>
              <p:cNvSpPr>
                <a:spLocks/>
              </p:cNvSpPr>
              <p:nvPr/>
            </p:nvSpPr>
            <p:spPr bwMode="auto">
              <a:xfrm>
                <a:off x="5473700" y="903288"/>
                <a:ext cx="101600" cy="100013"/>
              </a:xfrm>
              <a:custGeom>
                <a:avLst/>
                <a:gdLst>
                  <a:gd name="T0" fmla="*/ 22 w 30"/>
                  <a:gd name="T1" fmla="*/ 28 h 29"/>
                  <a:gd name="T2" fmla="*/ 29 w 30"/>
                  <a:gd name="T3" fmla="*/ 17 h 29"/>
                  <a:gd name="T4" fmla="*/ 26 w 30"/>
                  <a:gd name="T5" fmla="*/ 5 h 29"/>
                  <a:gd name="T6" fmla="*/ 25 w 30"/>
                  <a:gd name="T7" fmla="*/ 4 h 29"/>
                  <a:gd name="T8" fmla="*/ 25 w 30"/>
                  <a:gd name="T9" fmla="*/ 4 h 29"/>
                  <a:gd name="T10" fmla="*/ 17 w 30"/>
                  <a:gd name="T11" fmla="*/ 1 h 29"/>
                  <a:gd name="T12" fmla="*/ 1 w 30"/>
                  <a:gd name="T13" fmla="*/ 13 h 29"/>
                  <a:gd name="T14" fmla="*/ 14 w 30"/>
                  <a:gd name="T15" fmla="*/ 29 h 29"/>
                  <a:gd name="T16" fmla="*/ 22 w 30"/>
                  <a:gd name="T17" fmla="*/ 28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29">
                    <a:moveTo>
                      <a:pt x="22" y="28"/>
                    </a:moveTo>
                    <a:cubicBezTo>
                      <a:pt x="26" y="25"/>
                      <a:pt x="26" y="18"/>
                      <a:pt x="29" y="17"/>
                    </a:cubicBezTo>
                    <a:cubicBezTo>
                      <a:pt x="29" y="17"/>
                      <a:pt x="30" y="11"/>
                      <a:pt x="26" y="5"/>
                    </a:cubicBezTo>
                    <a:cubicBezTo>
                      <a:pt x="26" y="5"/>
                      <a:pt x="25" y="4"/>
                      <a:pt x="25" y="4"/>
                    </a:cubicBezTo>
                    <a:cubicBezTo>
                      <a:pt x="25" y="4"/>
                      <a:pt x="25" y="4"/>
                      <a:pt x="25" y="4"/>
                    </a:cubicBezTo>
                    <a:cubicBezTo>
                      <a:pt x="22" y="2"/>
                      <a:pt x="20" y="1"/>
                      <a:pt x="17" y="1"/>
                    </a:cubicBezTo>
                    <a:cubicBezTo>
                      <a:pt x="9" y="0"/>
                      <a:pt x="2" y="5"/>
                      <a:pt x="1" y="13"/>
                    </a:cubicBezTo>
                    <a:cubicBezTo>
                      <a:pt x="0" y="21"/>
                      <a:pt x="6" y="28"/>
                      <a:pt x="14" y="29"/>
                    </a:cubicBezTo>
                    <a:cubicBezTo>
                      <a:pt x="17" y="29"/>
                      <a:pt x="19" y="29"/>
                      <a:pt x="22" y="28"/>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164" name="Freeform 95">
                <a:extLst>
                  <a:ext uri="{FF2B5EF4-FFF2-40B4-BE49-F238E27FC236}">
                    <a16:creationId xmlns:a16="http://schemas.microsoft.com/office/drawing/2014/main" id="{EDC5D22E-8912-47ED-8433-503FCE91DC68}"/>
                  </a:ext>
                </a:extLst>
              </p:cNvPr>
              <p:cNvSpPr>
                <a:spLocks/>
              </p:cNvSpPr>
              <p:nvPr/>
            </p:nvSpPr>
            <p:spPr bwMode="auto">
              <a:xfrm>
                <a:off x="5372100" y="814388"/>
                <a:ext cx="111125" cy="112713"/>
              </a:xfrm>
              <a:custGeom>
                <a:avLst/>
                <a:gdLst>
                  <a:gd name="T0" fmla="*/ 16 w 33"/>
                  <a:gd name="T1" fmla="*/ 33 h 33"/>
                  <a:gd name="T2" fmla="*/ 22 w 33"/>
                  <a:gd name="T3" fmla="*/ 32 h 33"/>
                  <a:gd name="T4" fmla="*/ 23 w 33"/>
                  <a:gd name="T5" fmla="*/ 31 h 33"/>
                  <a:gd name="T6" fmla="*/ 23 w 33"/>
                  <a:gd name="T7" fmla="*/ 28 h 33"/>
                  <a:gd name="T8" fmla="*/ 24 w 33"/>
                  <a:gd name="T9" fmla="*/ 28 h 33"/>
                  <a:gd name="T10" fmla="*/ 24 w 33"/>
                  <a:gd name="T11" fmla="*/ 28 h 33"/>
                  <a:gd name="T12" fmla="*/ 26 w 33"/>
                  <a:gd name="T13" fmla="*/ 26 h 33"/>
                  <a:gd name="T14" fmla="*/ 26 w 33"/>
                  <a:gd name="T15" fmla="*/ 26 h 33"/>
                  <a:gd name="T16" fmla="*/ 27 w 33"/>
                  <a:gd name="T17" fmla="*/ 26 h 33"/>
                  <a:gd name="T18" fmla="*/ 29 w 33"/>
                  <a:gd name="T19" fmla="*/ 26 h 33"/>
                  <a:gd name="T20" fmla="*/ 31 w 33"/>
                  <a:gd name="T21" fmla="*/ 26 h 33"/>
                  <a:gd name="T22" fmla="*/ 33 w 33"/>
                  <a:gd name="T23" fmla="*/ 20 h 33"/>
                  <a:gd name="T24" fmla="*/ 32 w 33"/>
                  <a:gd name="T25" fmla="*/ 18 h 33"/>
                  <a:gd name="T26" fmla="*/ 30 w 33"/>
                  <a:gd name="T27" fmla="*/ 17 h 33"/>
                  <a:gd name="T28" fmla="*/ 30 w 33"/>
                  <a:gd name="T29" fmla="*/ 16 h 33"/>
                  <a:gd name="T30" fmla="*/ 29 w 33"/>
                  <a:gd name="T31" fmla="*/ 14 h 33"/>
                  <a:gd name="T32" fmla="*/ 29 w 33"/>
                  <a:gd name="T33" fmla="*/ 13 h 33"/>
                  <a:gd name="T34" fmla="*/ 31 w 33"/>
                  <a:gd name="T35" fmla="*/ 11 h 33"/>
                  <a:gd name="T36" fmla="*/ 31 w 33"/>
                  <a:gd name="T37" fmla="*/ 9 h 33"/>
                  <a:gd name="T38" fmla="*/ 27 w 33"/>
                  <a:gd name="T39" fmla="*/ 4 h 33"/>
                  <a:gd name="T40" fmla="*/ 26 w 33"/>
                  <a:gd name="T41" fmla="*/ 4 h 33"/>
                  <a:gd name="T42" fmla="*/ 23 w 33"/>
                  <a:gd name="T43" fmla="*/ 5 h 33"/>
                  <a:gd name="T44" fmla="*/ 22 w 33"/>
                  <a:gd name="T45" fmla="*/ 5 h 33"/>
                  <a:gd name="T46" fmla="*/ 21 w 33"/>
                  <a:gd name="T47" fmla="*/ 4 h 33"/>
                  <a:gd name="T48" fmla="*/ 19 w 33"/>
                  <a:gd name="T49" fmla="*/ 4 h 33"/>
                  <a:gd name="T50" fmla="*/ 19 w 33"/>
                  <a:gd name="T51" fmla="*/ 1 h 33"/>
                  <a:gd name="T52" fmla="*/ 17 w 33"/>
                  <a:gd name="T53" fmla="*/ 0 h 33"/>
                  <a:gd name="T54" fmla="*/ 11 w 33"/>
                  <a:gd name="T55" fmla="*/ 1 h 33"/>
                  <a:gd name="T56" fmla="*/ 10 w 33"/>
                  <a:gd name="T57" fmla="*/ 2 h 33"/>
                  <a:gd name="T58" fmla="*/ 10 w 33"/>
                  <a:gd name="T59" fmla="*/ 5 h 33"/>
                  <a:gd name="T60" fmla="*/ 9 w 33"/>
                  <a:gd name="T61" fmla="*/ 6 h 33"/>
                  <a:gd name="T62" fmla="*/ 9 w 33"/>
                  <a:gd name="T63" fmla="*/ 6 h 33"/>
                  <a:gd name="T64" fmla="*/ 8 w 33"/>
                  <a:gd name="T65" fmla="*/ 7 h 33"/>
                  <a:gd name="T66" fmla="*/ 8 w 33"/>
                  <a:gd name="T67" fmla="*/ 7 h 33"/>
                  <a:gd name="T68" fmla="*/ 7 w 33"/>
                  <a:gd name="T69" fmla="*/ 8 h 33"/>
                  <a:gd name="T70" fmla="*/ 4 w 33"/>
                  <a:gd name="T71" fmla="*/ 7 h 33"/>
                  <a:gd name="T72" fmla="*/ 3 w 33"/>
                  <a:gd name="T73" fmla="*/ 8 h 33"/>
                  <a:gd name="T74" fmla="*/ 0 w 33"/>
                  <a:gd name="T75" fmla="*/ 14 h 33"/>
                  <a:gd name="T76" fmla="*/ 1 w 33"/>
                  <a:gd name="T77" fmla="*/ 15 h 33"/>
                  <a:gd name="T78" fmla="*/ 3 w 33"/>
                  <a:gd name="T79" fmla="*/ 17 h 33"/>
                  <a:gd name="T80" fmla="*/ 4 w 33"/>
                  <a:gd name="T81" fmla="*/ 18 h 33"/>
                  <a:gd name="T82" fmla="*/ 4 w 33"/>
                  <a:gd name="T83" fmla="*/ 20 h 33"/>
                  <a:gd name="T84" fmla="*/ 4 w 33"/>
                  <a:gd name="T85" fmla="*/ 21 h 33"/>
                  <a:gd name="T86" fmla="*/ 2 w 33"/>
                  <a:gd name="T87" fmla="*/ 23 h 33"/>
                  <a:gd name="T88" fmla="*/ 2 w 33"/>
                  <a:gd name="T89" fmla="*/ 24 h 33"/>
                  <a:gd name="T90" fmla="*/ 6 w 33"/>
                  <a:gd name="T91" fmla="*/ 29 h 33"/>
                  <a:gd name="T92" fmla="*/ 8 w 33"/>
                  <a:gd name="T93" fmla="*/ 30 h 33"/>
                  <a:gd name="T94" fmla="*/ 10 w 33"/>
                  <a:gd name="T95" fmla="*/ 28 h 33"/>
                  <a:gd name="T96" fmla="*/ 11 w 33"/>
                  <a:gd name="T97" fmla="*/ 28 h 33"/>
                  <a:gd name="T98" fmla="*/ 13 w 33"/>
                  <a:gd name="T99" fmla="*/ 29 h 33"/>
                  <a:gd name="T100" fmla="*/ 14 w 33"/>
                  <a:gd name="T101" fmla="*/ 30 h 33"/>
                  <a:gd name="T102" fmla="*/ 15 w 33"/>
                  <a:gd name="T103" fmla="*/ 32 h 33"/>
                  <a:gd name="T104" fmla="*/ 16 w 33"/>
                  <a:gd name="T105"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3" h="33">
                    <a:moveTo>
                      <a:pt x="16" y="33"/>
                    </a:moveTo>
                    <a:cubicBezTo>
                      <a:pt x="18" y="33"/>
                      <a:pt x="20" y="33"/>
                      <a:pt x="22" y="32"/>
                    </a:cubicBezTo>
                    <a:cubicBezTo>
                      <a:pt x="23" y="32"/>
                      <a:pt x="23" y="32"/>
                      <a:pt x="23" y="31"/>
                    </a:cubicBezTo>
                    <a:cubicBezTo>
                      <a:pt x="23" y="30"/>
                      <a:pt x="23" y="29"/>
                      <a:pt x="23" y="28"/>
                    </a:cubicBezTo>
                    <a:cubicBezTo>
                      <a:pt x="23" y="28"/>
                      <a:pt x="24" y="28"/>
                      <a:pt x="24" y="28"/>
                    </a:cubicBezTo>
                    <a:cubicBezTo>
                      <a:pt x="24" y="28"/>
                      <a:pt x="24" y="28"/>
                      <a:pt x="24" y="28"/>
                    </a:cubicBezTo>
                    <a:cubicBezTo>
                      <a:pt x="25" y="27"/>
                      <a:pt x="25" y="27"/>
                      <a:pt x="26" y="26"/>
                    </a:cubicBezTo>
                    <a:cubicBezTo>
                      <a:pt x="26" y="26"/>
                      <a:pt x="26" y="26"/>
                      <a:pt x="26" y="26"/>
                    </a:cubicBezTo>
                    <a:cubicBezTo>
                      <a:pt x="26" y="26"/>
                      <a:pt x="26" y="26"/>
                      <a:pt x="27" y="26"/>
                    </a:cubicBezTo>
                    <a:cubicBezTo>
                      <a:pt x="27" y="26"/>
                      <a:pt x="28" y="26"/>
                      <a:pt x="29" y="26"/>
                    </a:cubicBezTo>
                    <a:cubicBezTo>
                      <a:pt x="30" y="26"/>
                      <a:pt x="30" y="26"/>
                      <a:pt x="31" y="26"/>
                    </a:cubicBezTo>
                    <a:cubicBezTo>
                      <a:pt x="31" y="24"/>
                      <a:pt x="32" y="22"/>
                      <a:pt x="33" y="20"/>
                    </a:cubicBezTo>
                    <a:cubicBezTo>
                      <a:pt x="33" y="19"/>
                      <a:pt x="33" y="19"/>
                      <a:pt x="32" y="18"/>
                    </a:cubicBezTo>
                    <a:cubicBezTo>
                      <a:pt x="31" y="18"/>
                      <a:pt x="30" y="17"/>
                      <a:pt x="30" y="17"/>
                    </a:cubicBezTo>
                    <a:cubicBezTo>
                      <a:pt x="30" y="17"/>
                      <a:pt x="30" y="16"/>
                      <a:pt x="30" y="16"/>
                    </a:cubicBezTo>
                    <a:cubicBezTo>
                      <a:pt x="30" y="15"/>
                      <a:pt x="30" y="15"/>
                      <a:pt x="29" y="14"/>
                    </a:cubicBezTo>
                    <a:cubicBezTo>
                      <a:pt x="29" y="13"/>
                      <a:pt x="29" y="13"/>
                      <a:pt x="29" y="13"/>
                    </a:cubicBezTo>
                    <a:cubicBezTo>
                      <a:pt x="30" y="12"/>
                      <a:pt x="30" y="12"/>
                      <a:pt x="31" y="11"/>
                    </a:cubicBezTo>
                    <a:cubicBezTo>
                      <a:pt x="32" y="10"/>
                      <a:pt x="32" y="10"/>
                      <a:pt x="31" y="9"/>
                    </a:cubicBezTo>
                    <a:cubicBezTo>
                      <a:pt x="27" y="4"/>
                      <a:pt x="27" y="4"/>
                      <a:pt x="27" y="4"/>
                    </a:cubicBezTo>
                    <a:cubicBezTo>
                      <a:pt x="27" y="4"/>
                      <a:pt x="26" y="4"/>
                      <a:pt x="26" y="4"/>
                    </a:cubicBezTo>
                    <a:cubicBezTo>
                      <a:pt x="25" y="5"/>
                      <a:pt x="24" y="5"/>
                      <a:pt x="23" y="5"/>
                    </a:cubicBezTo>
                    <a:cubicBezTo>
                      <a:pt x="23" y="5"/>
                      <a:pt x="23" y="5"/>
                      <a:pt x="22" y="5"/>
                    </a:cubicBezTo>
                    <a:cubicBezTo>
                      <a:pt x="22" y="5"/>
                      <a:pt x="21" y="5"/>
                      <a:pt x="21" y="4"/>
                    </a:cubicBezTo>
                    <a:cubicBezTo>
                      <a:pt x="20" y="4"/>
                      <a:pt x="20" y="4"/>
                      <a:pt x="19" y="4"/>
                    </a:cubicBezTo>
                    <a:cubicBezTo>
                      <a:pt x="19" y="3"/>
                      <a:pt x="19" y="2"/>
                      <a:pt x="19" y="1"/>
                    </a:cubicBezTo>
                    <a:cubicBezTo>
                      <a:pt x="18" y="1"/>
                      <a:pt x="18" y="0"/>
                      <a:pt x="17" y="0"/>
                    </a:cubicBezTo>
                    <a:cubicBezTo>
                      <a:pt x="15" y="1"/>
                      <a:pt x="13" y="1"/>
                      <a:pt x="11" y="1"/>
                    </a:cubicBezTo>
                    <a:cubicBezTo>
                      <a:pt x="11" y="1"/>
                      <a:pt x="10" y="2"/>
                      <a:pt x="10" y="2"/>
                    </a:cubicBezTo>
                    <a:cubicBezTo>
                      <a:pt x="10" y="4"/>
                      <a:pt x="10" y="5"/>
                      <a:pt x="10" y="5"/>
                    </a:cubicBezTo>
                    <a:cubicBezTo>
                      <a:pt x="10" y="6"/>
                      <a:pt x="10" y="6"/>
                      <a:pt x="9" y="6"/>
                    </a:cubicBezTo>
                    <a:cubicBezTo>
                      <a:pt x="9" y="6"/>
                      <a:pt x="9" y="6"/>
                      <a:pt x="9" y="6"/>
                    </a:cubicBezTo>
                    <a:cubicBezTo>
                      <a:pt x="9" y="6"/>
                      <a:pt x="8" y="7"/>
                      <a:pt x="8" y="7"/>
                    </a:cubicBezTo>
                    <a:cubicBezTo>
                      <a:pt x="8" y="7"/>
                      <a:pt x="8" y="7"/>
                      <a:pt x="8" y="7"/>
                    </a:cubicBezTo>
                    <a:cubicBezTo>
                      <a:pt x="8" y="8"/>
                      <a:pt x="7" y="8"/>
                      <a:pt x="7" y="8"/>
                    </a:cubicBezTo>
                    <a:cubicBezTo>
                      <a:pt x="6" y="8"/>
                      <a:pt x="5" y="8"/>
                      <a:pt x="4" y="7"/>
                    </a:cubicBezTo>
                    <a:cubicBezTo>
                      <a:pt x="4" y="7"/>
                      <a:pt x="3" y="7"/>
                      <a:pt x="3" y="8"/>
                    </a:cubicBezTo>
                    <a:cubicBezTo>
                      <a:pt x="2" y="10"/>
                      <a:pt x="1" y="12"/>
                      <a:pt x="0" y="14"/>
                    </a:cubicBezTo>
                    <a:cubicBezTo>
                      <a:pt x="0" y="14"/>
                      <a:pt x="1" y="15"/>
                      <a:pt x="1" y="15"/>
                    </a:cubicBezTo>
                    <a:cubicBezTo>
                      <a:pt x="2" y="16"/>
                      <a:pt x="3" y="16"/>
                      <a:pt x="3" y="17"/>
                    </a:cubicBezTo>
                    <a:cubicBezTo>
                      <a:pt x="4" y="17"/>
                      <a:pt x="4" y="17"/>
                      <a:pt x="4" y="18"/>
                    </a:cubicBezTo>
                    <a:cubicBezTo>
                      <a:pt x="4" y="18"/>
                      <a:pt x="4" y="19"/>
                      <a:pt x="4" y="20"/>
                    </a:cubicBezTo>
                    <a:cubicBezTo>
                      <a:pt x="4" y="20"/>
                      <a:pt x="4" y="21"/>
                      <a:pt x="4" y="21"/>
                    </a:cubicBezTo>
                    <a:cubicBezTo>
                      <a:pt x="4" y="21"/>
                      <a:pt x="3" y="22"/>
                      <a:pt x="2" y="23"/>
                    </a:cubicBezTo>
                    <a:cubicBezTo>
                      <a:pt x="2" y="23"/>
                      <a:pt x="2" y="24"/>
                      <a:pt x="2" y="24"/>
                    </a:cubicBezTo>
                    <a:cubicBezTo>
                      <a:pt x="6" y="29"/>
                      <a:pt x="6" y="29"/>
                      <a:pt x="6" y="29"/>
                    </a:cubicBezTo>
                    <a:cubicBezTo>
                      <a:pt x="6" y="30"/>
                      <a:pt x="7" y="30"/>
                      <a:pt x="8" y="30"/>
                    </a:cubicBezTo>
                    <a:cubicBezTo>
                      <a:pt x="9" y="29"/>
                      <a:pt x="10" y="28"/>
                      <a:pt x="10" y="28"/>
                    </a:cubicBezTo>
                    <a:cubicBezTo>
                      <a:pt x="10" y="28"/>
                      <a:pt x="11" y="28"/>
                      <a:pt x="11" y="28"/>
                    </a:cubicBezTo>
                    <a:cubicBezTo>
                      <a:pt x="12" y="29"/>
                      <a:pt x="12" y="29"/>
                      <a:pt x="13" y="29"/>
                    </a:cubicBezTo>
                    <a:cubicBezTo>
                      <a:pt x="13" y="29"/>
                      <a:pt x="14" y="29"/>
                      <a:pt x="14" y="30"/>
                    </a:cubicBezTo>
                    <a:cubicBezTo>
                      <a:pt x="14" y="30"/>
                      <a:pt x="14" y="31"/>
                      <a:pt x="15" y="32"/>
                    </a:cubicBezTo>
                    <a:cubicBezTo>
                      <a:pt x="15" y="33"/>
                      <a:pt x="15" y="33"/>
                      <a:pt x="16" y="33"/>
                    </a:cubicBezTo>
                    <a:close/>
                  </a:path>
                </a:pathLst>
              </a:custGeom>
              <a:solidFill>
                <a:srgbClr val="300B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165" name="Freeform 96">
                <a:extLst>
                  <a:ext uri="{FF2B5EF4-FFF2-40B4-BE49-F238E27FC236}">
                    <a16:creationId xmlns:a16="http://schemas.microsoft.com/office/drawing/2014/main" id="{4A15D8B8-B718-4CFB-8CF7-A784F277BA9C}"/>
                  </a:ext>
                </a:extLst>
              </p:cNvPr>
              <p:cNvSpPr>
                <a:spLocks/>
              </p:cNvSpPr>
              <p:nvPr/>
            </p:nvSpPr>
            <p:spPr bwMode="auto">
              <a:xfrm>
                <a:off x="5392738" y="835026"/>
                <a:ext cx="74613" cy="71438"/>
              </a:xfrm>
              <a:custGeom>
                <a:avLst/>
                <a:gdLst>
                  <a:gd name="T0" fmla="*/ 16 w 22"/>
                  <a:gd name="T1" fmla="*/ 20 h 21"/>
                  <a:gd name="T2" fmla="*/ 21 w 22"/>
                  <a:gd name="T3" fmla="*/ 13 h 21"/>
                  <a:gd name="T4" fmla="*/ 18 w 22"/>
                  <a:gd name="T5" fmla="*/ 4 h 21"/>
                  <a:gd name="T6" fmla="*/ 18 w 22"/>
                  <a:gd name="T7" fmla="*/ 3 h 21"/>
                  <a:gd name="T8" fmla="*/ 18 w 22"/>
                  <a:gd name="T9" fmla="*/ 3 h 21"/>
                  <a:gd name="T10" fmla="*/ 12 w 22"/>
                  <a:gd name="T11" fmla="*/ 1 h 21"/>
                  <a:gd name="T12" fmla="*/ 1 w 22"/>
                  <a:gd name="T13" fmla="*/ 10 h 21"/>
                  <a:gd name="T14" fmla="*/ 10 w 22"/>
                  <a:gd name="T15" fmla="*/ 21 h 21"/>
                  <a:gd name="T16" fmla="*/ 16 w 22"/>
                  <a:gd name="T17" fmla="*/ 2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21">
                    <a:moveTo>
                      <a:pt x="16" y="20"/>
                    </a:moveTo>
                    <a:cubicBezTo>
                      <a:pt x="19" y="18"/>
                      <a:pt x="19" y="13"/>
                      <a:pt x="21" y="13"/>
                    </a:cubicBezTo>
                    <a:cubicBezTo>
                      <a:pt x="21" y="13"/>
                      <a:pt x="22" y="8"/>
                      <a:pt x="18" y="4"/>
                    </a:cubicBezTo>
                    <a:cubicBezTo>
                      <a:pt x="18" y="4"/>
                      <a:pt x="18" y="3"/>
                      <a:pt x="18" y="3"/>
                    </a:cubicBezTo>
                    <a:cubicBezTo>
                      <a:pt x="18" y="3"/>
                      <a:pt x="18" y="3"/>
                      <a:pt x="18" y="3"/>
                    </a:cubicBezTo>
                    <a:cubicBezTo>
                      <a:pt x="16" y="1"/>
                      <a:pt x="14" y="1"/>
                      <a:pt x="12" y="1"/>
                    </a:cubicBezTo>
                    <a:cubicBezTo>
                      <a:pt x="6" y="0"/>
                      <a:pt x="1" y="4"/>
                      <a:pt x="1" y="10"/>
                    </a:cubicBezTo>
                    <a:cubicBezTo>
                      <a:pt x="0" y="15"/>
                      <a:pt x="4" y="20"/>
                      <a:pt x="10" y="21"/>
                    </a:cubicBezTo>
                    <a:cubicBezTo>
                      <a:pt x="12" y="21"/>
                      <a:pt x="14" y="21"/>
                      <a:pt x="16" y="20"/>
                    </a:cubicBezTo>
                    <a:close/>
                  </a:path>
                </a:pathLst>
              </a:custGeom>
              <a:solidFill>
                <a:srgbClr val="ECED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grpSp>
      </p:grpSp>
      <p:cxnSp>
        <p:nvCxnSpPr>
          <p:cNvPr id="166" name="Straight Arrow Connector 165">
            <a:extLst>
              <a:ext uri="{FF2B5EF4-FFF2-40B4-BE49-F238E27FC236}">
                <a16:creationId xmlns:a16="http://schemas.microsoft.com/office/drawing/2014/main" id="{37678825-3B3A-43AD-BF18-EF9BA7AF2211}"/>
              </a:ext>
            </a:extLst>
          </p:cNvPr>
          <p:cNvCxnSpPr>
            <a:cxnSpLocks/>
          </p:cNvCxnSpPr>
          <p:nvPr/>
        </p:nvCxnSpPr>
        <p:spPr>
          <a:xfrm>
            <a:off x="1356992" y="1940775"/>
            <a:ext cx="4263942" cy="0"/>
          </a:xfrm>
          <a:prstGeom prst="straightConnector1">
            <a:avLst/>
          </a:prstGeom>
          <a:ln w="38100">
            <a:solidFill>
              <a:schemeClr val="bg1"/>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67" name="Group 166">
            <a:extLst>
              <a:ext uri="{FF2B5EF4-FFF2-40B4-BE49-F238E27FC236}">
                <a16:creationId xmlns:a16="http://schemas.microsoft.com/office/drawing/2014/main" id="{FC20C444-9982-4CF9-9F57-FDBFBC5FDC5E}"/>
              </a:ext>
            </a:extLst>
          </p:cNvPr>
          <p:cNvGrpSpPr/>
          <p:nvPr/>
        </p:nvGrpSpPr>
        <p:grpSpPr>
          <a:xfrm>
            <a:off x="2881214" y="1459957"/>
            <a:ext cx="1301355" cy="469668"/>
            <a:chOff x="2796115" y="1459957"/>
            <a:chExt cx="1301355" cy="469668"/>
          </a:xfrm>
        </p:grpSpPr>
        <p:sp>
          <p:nvSpPr>
            <p:cNvPr id="168" name="Freeform 9">
              <a:extLst>
                <a:ext uri="{FF2B5EF4-FFF2-40B4-BE49-F238E27FC236}">
                  <a16:creationId xmlns:a16="http://schemas.microsoft.com/office/drawing/2014/main" id="{A389060C-A589-47EA-A6CE-ACAC54DAC98F}"/>
                </a:ext>
              </a:extLst>
            </p:cNvPr>
            <p:cNvSpPr>
              <a:spLocks noEditPoints="1"/>
            </p:cNvSpPr>
            <p:nvPr/>
          </p:nvSpPr>
          <p:spPr bwMode="auto">
            <a:xfrm>
              <a:off x="2796115" y="1459957"/>
              <a:ext cx="288991" cy="375208"/>
            </a:xfrm>
            <a:custGeom>
              <a:avLst/>
              <a:gdLst>
                <a:gd name="T0" fmla="*/ 181 w 181"/>
                <a:gd name="T1" fmla="*/ 160 h 235"/>
                <a:gd name="T2" fmla="*/ 181 w 181"/>
                <a:gd name="T3" fmla="*/ 148 h 235"/>
                <a:gd name="T4" fmla="*/ 146 w 181"/>
                <a:gd name="T5" fmla="*/ 148 h 235"/>
                <a:gd name="T6" fmla="*/ 146 w 181"/>
                <a:gd name="T7" fmla="*/ 0 h 235"/>
                <a:gd name="T8" fmla="*/ 101 w 181"/>
                <a:gd name="T9" fmla="*/ 0 h 235"/>
                <a:gd name="T10" fmla="*/ 0 w 181"/>
                <a:gd name="T11" fmla="*/ 156 h 235"/>
                <a:gd name="T12" fmla="*/ 0 w 181"/>
                <a:gd name="T13" fmla="*/ 183 h 235"/>
                <a:gd name="T14" fmla="*/ 110 w 181"/>
                <a:gd name="T15" fmla="*/ 183 h 235"/>
                <a:gd name="T16" fmla="*/ 110 w 181"/>
                <a:gd name="T17" fmla="*/ 235 h 235"/>
                <a:gd name="T18" fmla="*/ 146 w 181"/>
                <a:gd name="T19" fmla="*/ 235 h 235"/>
                <a:gd name="T20" fmla="*/ 146 w 181"/>
                <a:gd name="T21" fmla="*/ 183 h 235"/>
                <a:gd name="T22" fmla="*/ 181 w 181"/>
                <a:gd name="T23" fmla="*/ 183 h 235"/>
                <a:gd name="T24" fmla="*/ 181 w 181"/>
                <a:gd name="T25" fmla="*/ 171 h 235"/>
                <a:gd name="T26" fmla="*/ 146 w 181"/>
                <a:gd name="T27" fmla="*/ 171 h 235"/>
                <a:gd name="T28" fmla="*/ 146 w 181"/>
                <a:gd name="T29" fmla="*/ 160 h 235"/>
                <a:gd name="T30" fmla="*/ 181 w 181"/>
                <a:gd name="T31" fmla="*/ 160 h 235"/>
                <a:gd name="T32" fmla="*/ 110 w 181"/>
                <a:gd name="T33" fmla="*/ 148 h 235"/>
                <a:gd name="T34" fmla="*/ 47 w 181"/>
                <a:gd name="T35" fmla="*/ 148 h 235"/>
                <a:gd name="T36" fmla="*/ 110 w 181"/>
                <a:gd name="T37" fmla="*/ 51 h 235"/>
                <a:gd name="T38" fmla="*/ 110 w 181"/>
                <a:gd name="T39" fmla="*/ 148 h 235"/>
                <a:gd name="T40" fmla="*/ 110 w 181"/>
                <a:gd name="T41" fmla="*/ 171 h 235"/>
                <a:gd name="T42" fmla="*/ 11 w 181"/>
                <a:gd name="T43" fmla="*/ 171 h 235"/>
                <a:gd name="T44" fmla="*/ 11 w 181"/>
                <a:gd name="T45" fmla="*/ 163 h 235"/>
                <a:gd name="T46" fmla="*/ 110 w 181"/>
                <a:gd name="T47" fmla="*/ 9 h 235"/>
                <a:gd name="T48" fmla="*/ 110 w 181"/>
                <a:gd name="T49" fmla="*/ 28 h 235"/>
                <a:gd name="T50" fmla="*/ 25 w 181"/>
                <a:gd name="T51" fmla="*/ 160 h 235"/>
                <a:gd name="T52" fmla="*/ 110 w 181"/>
                <a:gd name="T53" fmla="*/ 160 h 235"/>
                <a:gd name="T54" fmla="*/ 110 w 181"/>
                <a:gd name="T55" fmla="*/ 171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1" h="235">
                  <a:moveTo>
                    <a:pt x="181" y="160"/>
                  </a:moveTo>
                  <a:lnTo>
                    <a:pt x="181" y="148"/>
                  </a:lnTo>
                  <a:lnTo>
                    <a:pt x="146" y="148"/>
                  </a:lnTo>
                  <a:lnTo>
                    <a:pt x="146" y="0"/>
                  </a:lnTo>
                  <a:lnTo>
                    <a:pt x="101" y="0"/>
                  </a:lnTo>
                  <a:lnTo>
                    <a:pt x="0" y="156"/>
                  </a:lnTo>
                  <a:lnTo>
                    <a:pt x="0" y="183"/>
                  </a:lnTo>
                  <a:lnTo>
                    <a:pt x="110" y="183"/>
                  </a:lnTo>
                  <a:lnTo>
                    <a:pt x="110" y="235"/>
                  </a:lnTo>
                  <a:lnTo>
                    <a:pt x="146" y="235"/>
                  </a:lnTo>
                  <a:lnTo>
                    <a:pt x="146" y="183"/>
                  </a:lnTo>
                  <a:lnTo>
                    <a:pt x="181" y="183"/>
                  </a:lnTo>
                  <a:lnTo>
                    <a:pt x="181" y="171"/>
                  </a:lnTo>
                  <a:lnTo>
                    <a:pt x="146" y="171"/>
                  </a:lnTo>
                  <a:lnTo>
                    <a:pt x="146" y="160"/>
                  </a:lnTo>
                  <a:lnTo>
                    <a:pt x="181" y="160"/>
                  </a:lnTo>
                  <a:close/>
                  <a:moveTo>
                    <a:pt x="110" y="148"/>
                  </a:moveTo>
                  <a:lnTo>
                    <a:pt x="47" y="148"/>
                  </a:lnTo>
                  <a:lnTo>
                    <a:pt x="110" y="51"/>
                  </a:lnTo>
                  <a:lnTo>
                    <a:pt x="110" y="148"/>
                  </a:lnTo>
                  <a:close/>
                  <a:moveTo>
                    <a:pt x="110" y="171"/>
                  </a:moveTo>
                  <a:lnTo>
                    <a:pt x="11" y="171"/>
                  </a:lnTo>
                  <a:lnTo>
                    <a:pt x="11" y="163"/>
                  </a:lnTo>
                  <a:lnTo>
                    <a:pt x="110" y="9"/>
                  </a:lnTo>
                  <a:lnTo>
                    <a:pt x="110" y="28"/>
                  </a:lnTo>
                  <a:lnTo>
                    <a:pt x="25" y="160"/>
                  </a:lnTo>
                  <a:lnTo>
                    <a:pt x="110" y="160"/>
                  </a:lnTo>
                  <a:lnTo>
                    <a:pt x="110" y="17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Verdana" panose="020B0604030504040204" pitchFamily="34" charset="0"/>
                <a:cs typeface="+mn-cs"/>
              </a:endParaRPr>
            </a:p>
          </p:txBody>
        </p:sp>
        <p:sp>
          <p:nvSpPr>
            <p:cNvPr id="169" name="Rectangle 168">
              <a:extLst>
                <a:ext uri="{FF2B5EF4-FFF2-40B4-BE49-F238E27FC236}">
                  <a16:creationId xmlns:a16="http://schemas.microsoft.com/office/drawing/2014/main" id="{FB022940-3B99-4496-9011-991DFE8CC3AA}"/>
                </a:ext>
              </a:extLst>
            </p:cNvPr>
            <p:cNvSpPr/>
            <p:nvPr/>
          </p:nvSpPr>
          <p:spPr>
            <a:xfrm>
              <a:off x="3066419" y="1560293"/>
              <a:ext cx="1031051"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a:ln>
                    <a:noFill/>
                  </a:ln>
                  <a:solidFill>
                    <a:srgbClr val="FFFFFF"/>
                  </a:solidFill>
                  <a:effectLst/>
                  <a:uLnTx/>
                  <a:uFillTx/>
                  <a:ea typeface="+mn-ea"/>
                  <a:cs typeface="+mn-cs"/>
                </a:rPr>
                <a:t>minutes</a:t>
              </a:r>
              <a:endParaRPr kumimoji="0" lang="fr-FR" sz="1800" b="0" i="0" u="none" strike="noStrike" kern="1200" cap="none" spc="0" normalizeH="0" baseline="0" noProof="0">
                <a:ln>
                  <a:noFill/>
                </a:ln>
                <a:solidFill>
                  <a:prstClr val="black"/>
                </a:solidFill>
                <a:effectLst/>
                <a:uLnTx/>
                <a:uFillTx/>
                <a:ea typeface="+mn-ea"/>
                <a:cs typeface="+mn-cs"/>
              </a:endParaRPr>
            </a:p>
          </p:txBody>
        </p:sp>
      </p:grpSp>
      <p:grpSp>
        <p:nvGrpSpPr>
          <p:cNvPr id="190" name="Group 37">
            <a:extLst>
              <a:ext uri="{FF2B5EF4-FFF2-40B4-BE49-F238E27FC236}">
                <a16:creationId xmlns:a16="http://schemas.microsoft.com/office/drawing/2014/main" id="{D9891370-0157-2887-B88D-595EA7C5B2F3}"/>
              </a:ext>
            </a:extLst>
          </p:cNvPr>
          <p:cNvGrpSpPr/>
          <p:nvPr/>
        </p:nvGrpSpPr>
        <p:grpSpPr>
          <a:xfrm>
            <a:off x="11554904" y="205077"/>
            <a:ext cx="418487" cy="387209"/>
            <a:chOff x="5481638" y="2859088"/>
            <a:chExt cx="1231900" cy="1139825"/>
          </a:xfrm>
          <a:solidFill>
            <a:schemeClr val="bg1"/>
          </a:solidFill>
        </p:grpSpPr>
        <p:sp>
          <p:nvSpPr>
            <p:cNvPr id="191" name="Freeform 320">
              <a:extLst>
                <a:ext uri="{FF2B5EF4-FFF2-40B4-BE49-F238E27FC236}">
                  <a16:creationId xmlns:a16="http://schemas.microsoft.com/office/drawing/2014/main" id="{9FA8D71D-A6D3-4338-C0E8-E2EB8C64C488}"/>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sp>
          <p:nvSpPr>
            <p:cNvPr id="192" name="Freeform 321">
              <a:extLst>
                <a:ext uri="{FF2B5EF4-FFF2-40B4-BE49-F238E27FC236}">
                  <a16:creationId xmlns:a16="http://schemas.microsoft.com/office/drawing/2014/main" id="{650ECDD2-093F-FE79-12F4-7855B862972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Ubuntu"/>
                <a:ea typeface="+mn-ea"/>
                <a:cs typeface="+mn-cs"/>
              </a:endParaRPr>
            </a:p>
          </p:txBody>
        </p:sp>
      </p:grpSp>
    </p:spTree>
    <p:extLst>
      <p:ext uri="{BB962C8B-B14F-4D97-AF65-F5344CB8AC3E}">
        <p14:creationId xmlns:p14="http://schemas.microsoft.com/office/powerpoint/2010/main" val="42700082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50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par>
                                <p:cTn id="8" presetID="22" presetClass="entr" presetSubtype="8" fill="hold" nodeType="withEffect">
                                  <p:stCondLst>
                                    <p:cond delay="500"/>
                                  </p:stCondLst>
                                  <p:childTnLst>
                                    <p:set>
                                      <p:cBhvr>
                                        <p:cTn id="9" dur="1" fill="hold">
                                          <p:stCondLst>
                                            <p:cond delay="0"/>
                                          </p:stCondLst>
                                        </p:cTn>
                                        <p:tgtEl>
                                          <p:spTgt spid="85"/>
                                        </p:tgtEl>
                                        <p:attrNameLst>
                                          <p:attrName>style.visibility</p:attrName>
                                        </p:attrNameLst>
                                      </p:cBhvr>
                                      <p:to>
                                        <p:strVal val="visible"/>
                                      </p:to>
                                    </p:set>
                                    <p:animEffect transition="in" filter="wipe(left)">
                                      <p:cBhvr>
                                        <p:cTn id="10" dur="500"/>
                                        <p:tgtEl>
                                          <p:spTgt spid="85"/>
                                        </p:tgtEl>
                                      </p:cBhvr>
                                    </p:animEffect>
                                  </p:childTnLst>
                                </p:cTn>
                              </p:par>
                              <p:par>
                                <p:cTn id="11" presetID="22" presetClass="entr" presetSubtype="8" fill="hold" nodeType="withEffect">
                                  <p:stCondLst>
                                    <p:cond delay="500"/>
                                  </p:stCondLst>
                                  <p:childTnLst>
                                    <p:set>
                                      <p:cBhvr>
                                        <p:cTn id="12" dur="1" fill="hold">
                                          <p:stCondLst>
                                            <p:cond delay="0"/>
                                          </p:stCondLst>
                                        </p:cTn>
                                        <p:tgtEl>
                                          <p:spTgt spid="86"/>
                                        </p:tgtEl>
                                        <p:attrNameLst>
                                          <p:attrName>style.visibility</p:attrName>
                                        </p:attrNameLst>
                                      </p:cBhvr>
                                      <p:to>
                                        <p:strVal val="visible"/>
                                      </p:to>
                                    </p:set>
                                    <p:animEffect transition="in" filter="wipe(left)">
                                      <p:cBhvr>
                                        <p:cTn id="13" dur="500"/>
                                        <p:tgtEl>
                                          <p:spTgt spid="86"/>
                                        </p:tgtEl>
                                      </p:cBhvr>
                                    </p:animEffect>
                                  </p:childTnLst>
                                </p:cTn>
                              </p:par>
                              <p:par>
                                <p:cTn id="14" presetID="22" presetClass="entr" presetSubtype="8" fill="hold" nodeType="withEffect">
                                  <p:stCondLst>
                                    <p:cond delay="500"/>
                                  </p:stCondLst>
                                  <p:childTnLst>
                                    <p:set>
                                      <p:cBhvr>
                                        <p:cTn id="15" dur="1" fill="hold">
                                          <p:stCondLst>
                                            <p:cond delay="0"/>
                                          </p:stCondLst>
                                        </p:cTn>
                                        <p:tgtEl>
                                          <p:spTgt spid="87"/>
                                        </p:tgtEl>
                                        <p:attrNameLst>
                                          <p:attrName>style.visibility</p:attrName>
                                        </p:attrNameLst>
                                      </p:cBhvr>
                                      <p:to>
                                        <p:strVal val="visible"/>
                                      </p:to>
                                    </p:set>
                                    <p:animEffect transition="in" filter="wipe(left)">
                                      <p:cBhvr>
                                        <p:cTn id="16" dur="500"/>
                                        <p:tgtEl>
                                          <p:spTgt spid="87"/>
                                        </p:tgtEl>
                                      </p:cBhvr>
                                    </p:animEffect>
                                  </p:childTnLst>
                                </p:cTn>
                              </p:par>
                              <p:par>
                                <p:cTn id="17" presetID="22" presetClass="entr" presetSubtype="8" fill="hold" nodeType="withEffect">
                                  <p:stCondLst>
                                    <p:cond delay="500"/>
                                  </p:stCondLst>
                                  <p:childTnLst>
                                    <p:set>
                                      <p:cBhvr>
                                        <p:cTn id="18" dur="1" fill="hold">
                                          <p:stCondLst>
                                            <p:cond delay="0"/>
                                          </p:stCondLst>
                                        </p:cTn>
                                        <p:tgtEl>
                                          <p:spTgt spid="88"/>
                                        </p:tgtEl>
                                        <p:attrNameLst>
                                          <p:attrName>style.visibility</p:attrName>
                                        </p:attrNameLst>
                                      </p:cBhvr>
                                      <p:to>
                                        <p:strVal val="visible"/>
                                      </p:to>
                                    </p:set>
                                    <p:animEffect transition="in" filter="wipe(left)">
                                      <p:cBhvr>
                                        <p:cTn id="19" dur="500"/>
                                        <p:tgtEl>
                                          <p:spTgt spid="88"/>
                                        </p:tgtEl>
                                      </p:cBhvr>
                                    </p:animEffect>
                                  </p:childTnLst>
                                </p:cTn>
                              </p:par>
                              <p:par>
                                <p:cTn id="20" presetID="22" presetClass="entr" presetSubtype="8" fill="hold" nodeType="withEffect">
                                  <p:stCondLst>
                                    <p:cond delay="500"/>
                                  </p:stCondLst>
                                  <p:childTnLst>
                                    <p:set>
                                      <p:cBhvr>
                                        <p:cTn id="21" dur="1" fill="hold">
                                          <p:stCondLst>
                                            <p:cond delay="0"/>
                                          </p:stCondLst>
                                        </p:cTn>
                                        <p:tgtEl>
                                          <p:spTgt spid="89"/>
                                        </p:tgtEl>
                                        <p:attrNameLst>
                                          <p:attrName>style.visibility</p:attrName>
                                        </p:attrNameLst>
                                      </p:cBhvr>
                                      <p:to>
                                        <p:strVal val="visible"/>
                                      </p:to>
                                    </p:set>
                                    <p:animEffect transition="in" filter="wipe(left)">
                                      <p:cBhvr>
                                        <p:cTn id="22" dur="500"/>
                                        <p:tgtEl>
                                          <p:spTgt spid="89"/>
                                        </p:tgtEl>
                                      </p:cBhvr>
                                    </p:animEffect>
                                  </p:childTnLst>
                                </p:cTn>
                              </p:par>
                              <p:par>
                                <p:cTn id="23" presetID="22" presetClass="entr" presetSubtype="8" fill="hold" nodeType="withEffect">
                                  <p:stCondLst>
                                    <p:cond delay="500"/>
                                  </p:stCondLst>
                                  <p:childTnLst>
                                    <p:set>
                                      <p:cBhvr>
                                        <p:cTn id="24" dur="1" fill="hold">
                                          <p:stCondLst>
                                            <p:cond delay="0"/>
                                          </p:stCondLst>
                                        </p:cTn>
                                        <p:tgtEl>
                                          <p:spTgt spid="90"/>
                                        </p:tgtEl>
                                        <p:attrNameLst>
                                          <p:attrName>style.visibility</p:attrName>
                                        </p:attrNameLst>
                                      </p:cBhvr>
                                      <p:to>
                                        <p:strVal val="visible"/>
                                      </p:to>
                                    </p:set>
                                    <p:animEffect transition="in" filter="wipe(left)">
                                      <p:cBhvr>
                                        <p:cTn id="25" dur="500"/>
                                        <p:tgtEl>
                                          <p:spTgt spid="90"/>
                                        </p:tgtEl>
                                      </p:cBhvr>
                                    </p:animEffect>
                                  </p:childTnLst>
                                </p:cTn>
                              </p:par>
                              <p:par>
                                <p:cTn id="26" presetID="22" presetClass="entr" presetSubtype="8" fill="hold" nodeType="withEffect">
                                  <p:stCondLst>
                                    <p:cond delay="500"/>
                                  </p:stCondLst>
                                  <p:childTnLst>
                                    <p:set>
                                      <p:cBhvr>
                                        <p:cTn id="27" dur="1" fill="hold">
                                          <p:stCondLst>
                                            <p:cond delay="0"/>
                                          </p:stCondLst>
                                        </p:cTn>
                                        <p:tgtEl>
                                          <p:spTgt spid="91"/>
                                        </p:tgtEl>
                                        <p:attrNameLst>
                                          <p:attrName>style.visibility</p:attrName>
                                        </p:attrNameLst>
                                      </p:cBhvr>
                                      <p:to>
                                        <p:strVal val="visible"/>
                                      </p:to>
                                    </p:set>
                                    <p:animEffect transition="in" filter="wipe(left)">
                                      <p:cBhvr>
                                        <p:cTn id="28" dur="500"/>
                                        <p:tgtEl>
                                          <p:spTgt spid="91"/>
                                        </p:tgtEl>
                                      </p:cBhvr>
                                    </p:animEffect>
                                  </p:childTnLst>
                                </p:cTn>
                              </p:par>
                              <p:par>
                                <p:cTn id="29" presetID="49" presetClass="entr" presetSubtype="0" decel="100000" fill="hold" nodeType="withEffect">
                                  <p:stCondLst>
                                    <p:cond delay="500"/>
                                  </p:stCondLst>
                                  <p:childTnLst>
                                    <p:set>
                                      <p:cBhvr>
                                        <p:cTn id="30" dur="1" fill="hold">
                                          <p:stCondLst>
                                            <p:cond delay="0"/>
                                          </p:stCondLst>
                                        </p:cTn>
                                        <p:tgtEl>
                                          <p:spTgt spid="108"/>
                                        </p:tgtEl>
                                        <p:attrNameLst>
                                          <p:attrName>style.visibility</p:attrName>
                                        </p:attrNameLst>
                                      </p:cBhvr>
                                      <p:to>
                                        <p:strVal val="visible"/>
                                      </p:to>
                                    </p:set>
                                    <p:anim calcmode="lin" valueType="num">
                                      <p:cBhvr>
                                        <p:cTn id="31" dur="500" fill="hold"/>
                                        <p:tgtEl>
                                          <p:spTgt spid="108"/>
                                        </p:tgtEl>
                                        <p:attrNameLst>
                                          <p:attrName>ppt_w</p:attrName>
                                        </p:attrNameLst>
                                      </p:cBhvr>
                                      <p:tavLst>
                                        <p:tav tm="0">
                                          <p:val>
                                            <p:fltVal val="0"/>
                                          </p:val>
                                        </p:tav>
                                        <p:tav tm="100000">
                                          <p:val>
                                            <p:strVal val="#ppt_w"/>
                                          </p:val>
                                        </p:tav>
                                      </p:tavLst>
                                    </p:anim>
                                    <p:anim calcmode="lin" valueType="num">
                                      <p:cBhvr>
                                        <p:cTn id="32" dur="500" fill="hold"/>
                                        <p:tgtEl>
                                          <p:spTgt spid="108"/>
                                        </p:tgtEl>
                                        <p:attrNameLst>
                                          <p:attrName>ppt_h</p:attrName>
                                        </p:attrNameLst>
                                      </p:cBhvr>
                                      <p:tavLst>
                                        <p:tav tm="0">
                                          <p:val>
                                            <p:fltVal val="0"/>
                                          </p:val>
                                        </p:tav>
                                        <p:tav tm="100000">
                                          <p:val>
                                            <p:strVal val="#ppt_h"/>
                                          </p:val>
                                        </p:tav>
                                      </p:tavLst>
                                    </p:anim>
                                    <p:anim calcmode="lin" valueType="num">
                                      <p:cBhvr>
                                        <p:cTn id="33" dur="500" fill="hold"/>
                                        <p:tgtEl>
                                          <p:spTgt spid="108"/>
                                        </p:tgtEl>
                                        <p:attrNameLst>
                                          <p:attrName>style.rotation</p:attrName>
                                        </p:attrNameLst>
                                      </p:cBhvr>
                                      <p:tavLst>
                                        <p:tav tm="0">
                                          <p:val>
                                            <p:fltVal val="360"/>
                                          </p:val>
                                        </p:tav>
                                        <p:tav tm="100000">
                                          <p:val>
                                            <p:fltVal val="0"/>
                                          </p:val>
                                        </p:tav>
                                      </p:tavLst>
                                    </p:anim>
                                    <p:animEffect transition="in" filter="fade">
                                      <p:cBhvr>
                                        <p:cTn id="34" dur="500"/>
                                        <p:tgtEl>
                                          <p:spTgt spid="108"/>
                                        </p:tgtEl>
                                      </p:cBhvr>
                                    </p:animEffect>
                                  </p:childTnLst>
                                </p:cTn>
                              </p:par>
                              <p:par>
                                <p:cTn id="35" presetID="22" presetClass="entr" presetSubtype="8" fill="hold" nodeType="withEffect">
                                  <p:stCondLst>
                                    <p:cond delay="500"/>
                                  </p:stCondLst>
                                  <p:childTnLst>
                                    <p:set>
                                      <p:cBhvr>
                                        <p:cTn id="36" dur="1" fill="hold">
                                          <p:stCondLst>
                                            <p:cond delay="0"/>
                                          </p:stCondLst>
                                        </p:cTn>
                                        <p:tgtEl>
                                          <p:spTgt spid="111"/>
                                        </p:tgtEl>
                                        <p:attrNameLst>
                                          <p:attrName>style.visibility</p:attrName>
                                        </p:attrNameLst>
                                      </p:cBhvr>
                                      <p:to>
                                        <p:strVal val="visible"/>
                                      </p:to>
                                    </p:set>
                                    <p:animEffect transition="in" filter="wipe(left)">
                                      <p:cBhvr>
                                        <p:cTn id="37" dur="500"/>
                                        <p:tgtEl>
                                          <p:spTgt spid="111"/>
                                        </p:tgtEl>
                                      </p:cBhvr>
                                    </p:animEffect>
                                  </p:childTnLst>
                                </p:cTn>
                              </p:par>
                              <p:par>
                                <p:cTn id="38" presetID="22" presetClass="entr" presetSubtype="8" fill="hold" nodeType="withEffect">
                                  <p:stCondLst>
                                    <p:cond delay="500"/>
                                  </p:stCondLst>
                                  <p:childTnLst>
                                    <p:set>
                                      <p:cBhvr>
                                        <p:cTn id="39" dur="1" fill="hold">
                                          <p:stCondLst>
                                            <p:cond delay="0"/>
                                          </p:stCondLst>
                                        </p:cTn>
                                        <p:tgtEl>
                                          <p:spTgt spid="112"/>
                                        </p:tgtEl>
                                        <p:attrNameLst>
                                          <p:attrName>style.visibility</p:attrName>
                                        </p:attrNameLst>
                                      </p:cBhvr>
                                      <p:to>
                                        <p:strVal val="visible"/>
                                      </p:to>
                                    </p:set>
                                    <p:animEffect transition="in" filter="wipe(left)">
                                      <p:cBhvr>
                                        <p:cTn id="40" dur="500"/>
                                        <p:tgtEl>
                                          <p:spTgt spid="112"/>
                                        </p:tgtEl>
                                      </p:cBhvr>
                                    </p:animEffect>
                                  </p:childTnLst>
                                </p:cTn>
                              </p:par>
                              <p:par>
                                <p:cTn id="41" presetID="22" presetClass="entr" presetSubtype="8" fill="hold" nodeType="withEffect">
                                  <p:stCondLst>
                                    <p:cond delay="500"/>
                                  </p:stCondLst>
                                  <p:childTnLst>
                                    <p:set>
                                      <p:cBhvr>
                                        <p:cTn id="42" dur="1" fill="hold">
                                          <p:stCondLst>
                                            <p:cond delay="0"/>
                                          </p:stCondLst>
                                        </p:cTn>
                                        <p:tgtEl>
                                          <p:spTgt spid="132"/>
                                        </p:tgtEl>
                                        <p:attrNameLst>
                                          <p:attrName>style.visibility</p:attrName>
                                        </p:attrNameLst>
                                      </p:cBhvr>
                                      <p:to>
                                        <p:strVal val="visible"/>
                                      </p:to>
                                    </p:set>
                                    <p:animEffect transition="in" filter="wipe(left)">
                                      <p:cBhvr>
                                        <p:cTn id="43" dur="500"/>
                                        <p:tgtEl>
                                          <p:spTgt spid="132"/>
                                        </p:tgtEl>
                                      </p:cBhvr>
                                    </p:animEffect>
                                  </p:childTnLst>
                                </p:cTn>
                              </p:par>
                              <p:par>
                                <p:cTn id="44" presetID="49" presetClass="entr" presetSubtype="0" decel="100000" fill="hold" nodeType="withEffect">
                                  <p:stCondLst>
                                    <p:cond delay="500"/>
                                  </p:stCondLst>
                                  <p:childTnLst>
                                    <p:set>
                                      <p:cBhvr>
                                        <p:cTn id="45" dur="1" fill="hold">
                                          <p:stCondLst>
                                            <p:cond delay="0"/>
                                          </p:stCondLst>
                                        </p:cTn>
                                        <p:tgtEl>
                                          <p:spTgt spid="149"/>
                                        </p:tgtEl>
                                        <p:attrNameLst>
                                          <p:attrName>style.visibility</p:attrName>
                                        </p:attrNameLst>
                                      </p:cBhvr>
                                      <p:to>
                                        <p:strVal val="visible"/>
                                      </p:to>
                                    </p:set>
                                    <p:anim calcmode="lin" valueType="num">
                                      <p:cBhvr>
                                        <p:cTn id="46" dur="500" fill="hold"/>
                                        <p:tgtEl>
                                          <p:spTgt spid="149"/>
                                        </p:tgtEl>
                                        <p:attrNameLst>
                                          <p:attrName>ppt_w</p:attrName>
                                        </p:attrNameLst>
                                      </p:cBhvr>
                                      <p:tavLst>
                                        <p:tav tm="0">
                                          <p:val>
                                            <p:fltVal val="0"/>
                                          </p:val>
                                        </p:tav>
                                        <p:tav tm="100000">
                                          <p:val>
                                            <p:strVal val="#ppt_w"/>
                                          </p:val>
                                        </p:tav>
                                      </p:tavLst>
                                    </p:anim>
                                    <p:anim calcmode="lin" valueType="num">
                                      <p:cBhvr>
                                        <p:cTn id="47" dur="500" fill="hold"/>
                                        <p:tgtEl>
                                          <p:spTgt spid="149"/>
                                        </p:tgtEl>
                                        <p:attrNameLst>
                                          <p:attrName>ppt_h</p:attrName>
                                        </p:attrNameLst>
                                      </p:cBhvr>
                                      <p:tavLst>
                                        <p:tav tm="0">
                                          <p:val>
                                            <p:fltVal val="0"/>
                                          </p:val>
                                        </p:tav>
                                        <p:tav tm="100000">
                                          <p:val>
                                            <p:strVal val="#ppt_h"/>
                                          </p:val>
                                        </p:tav>
                                      </p:tavLst>
                                    </p:anim>
                                    <p:anim calcmode="lin" valueType="num">
                                      <p:cBhvr>
                                        <p:cTn id="48" dur="500" fill="hold"/>
                                        <p:tgtEl>
                                          <p:spTgt spid="149"/>
                                        </p:tgtEl>
                                        <p:attrNameLst>
                                          <p:attrName>style.rotation</p:attrName>
                                        </p:attrNameLst>
                                      </p:cBhvr>
                                      <p:tavLst>
                                        <p:tav tm="0">
                                          <p:val>
                                            <p:fltVal val="360"/>
                                          </p:val>
                                        </p:tav>
                                        <p:tav tm="100000">
                                          <p:val>
                                            <p:fltVal val="0"/>
                                          </p:val>
                                        </p:tav>
                                      </p:tavLst>
                                    </p:anim>
                                    <p:animEffect transition="in" filter="fade">
                                      <p:cBhvr>
                                        <p:cTn id="49" dur="500"/>
                                        <p:tgtEl>
                                          <p:spTgt spid="1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Image 25" descr="Homme âgé à la maison">
            <a:extLst>
              <a:ext uri="{FF2B5EF4-FFF2-40B4-BE49-F238E27FC236}">
                <a16:creationId xmlns:a16="http://schemas.microsoft.com/office/drawing/2014/main" id="{3FFA1F71-170C-F71D-2323-7EE6362B05F9}"/>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 y="0"/>
            <a:ext cx="2865584" cy="6858139"/>
          </a:xfrm>
          <a:prstGeom prst="rect">
            <a:avLst/>
          </a:prstGeom>
        </p:spPr>
      </p:pic>
      <p:sp>
        <p:nvSpPr>
          <p:cNvPr id="16" name="Forme libre : forme 15">
            <a:extLst>
              <a:ext uri="{FF2B5EF4-FFF2-40B4-BE49-F238E27FC236}">
                <a16:creationId xmlns:a16="http://schemas.microsoft.com/office/drawing/2014/main" id="{AD96AA3F-CB40-4653-32BF-50A49FB6F514}"/>
              </a:ext>
            </a:extLst>
          </p:cNvPr>
          <p:cNvSpPr/>
          <p:nvPr/>
        </p:nvSpPr>
        <p:spPr>
          <a:xfrm>
            <a:off x="2253656" y="-865956"/>
            <a:ext cx="1128540" cy="8680589"/>
          </a:xfrm>
          <a:custGeom>
            <a:avLst/>
            <a:gdLst>
              <a:gd name="connsiteX0" fmla="*/ 6944 w 1128540"/>
              <a:gd name="connsiteY0" fmla="*/ 802456 h 8680589"/>
              <a:gd name="connsiteX1" fmla="*/ 489544 w 1128540"/>
              <a:gd name="connsiteY1" fmla="*/ 2529656 h 8680589"/>
              <a:gd name="connsiteX2" fmla="*/ 273644 w 1128540"/>
              <a:gd name="connsiteY2" fmla="*/ 4434656 h 8680589"/>
              <a:gd name="connsiteX3" fmla="*/ 413344 w 1128540"/>
              <a:gd name="connsiteY3" fmla="*/ 6098356 h 8680589"/>
              <a:gd name="connsiteX4" fmla="*/ 6944 w 1128540"/>
              <a:gd name="connsiteY4" fmla="*/ 7088956 h 8680589"/>
              <a:gd name="connsiteX5" fmla="*/ 337144 w 1128540"/>
              <a:gd name="connsiteY5" fmla="*/ 8092256 h 8680589"/>
              <a:gd name="connsiteX6" fmla="*/ 1086444 w 1128540"/>
              <a:gd name="connsiteY6" fmla="*/ 8079556 h 8680589"/>
              <a:gd name="connsiteX7" fmla="*/ 921344 w 1128540"/>
              <a:gd name="connsiteY7" fmla="*/ 548456 h 8680589"/>
              <a:gd name="connsiteX8" fmla="*/ 6944 w 1128540"/>
              <a:gd name="connsiteY8" fmla="*/ 802456 h 8680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28540" h="8680589">
                <a:moveTo>
                  <a:pt x="6944" y="802456"/>
                </a:moveTo>
                <a:cubicBezTo>
                  <a:pt x="-65023" y="1132656"/>
                  <a:pt x="445094" y="1924289"/>
                  <a:pt x="489544" y="2529656"/>
                </a:cubicBezTo>
                <a:cubicBezTo>
                  <a:pt x="533994" y="3135023"/>
                  <a:pt x="286344" y="3839873"/>
                  <a:pt x="273644" y="4434656"/>
                </a:cubicBezTo>
                <a:cubicBezTo>
                  <a:pt x="260944" y="5029439"/>
                  <a:pt x="457794" y="5655973"/>
                  <a:pt x="413344" y="6098356"/>
                </a:cubicBezTo>
                <a:cubicBezTo>
                  <a:pt x="368894" y="6540739"/>
                  <a:pt x="19644" y="6756639"/>
                  <a:pt x="6944" y="7088956"/>
                </a:cubicBezTo>
                <a:cubicBezTo>
                  <a:pt x="-5756" y="7421273"/>
                  <a:pt x="157227" y="7927156"/>
                  <a:pt x="337144" y="8092256"/>
                </a:cubicBezTo>
                <a:cubicBezTo>
                  <a:pt x="517061" y="8257356"/>
                  <a:pt x="989077" y="9336856"/>
                  <a:pt x="1086444" y="8079556"/>
                </a:cubicBezTo>
                <a:cubicBezTo>
                  <a:pt x="1183811" y="6822256"/>
                  <a:pt x="1105494" y="1765539"/>
                  <a:pt x="921344" y="548456"/>
                </a:cubicBezTo>
                <a:cubicBezTo>
                  <a:pt x="737194" y="-668627"/>
                  <a:pt x="78911" y="472256"/>
                  <a:pt x="6944" y="80245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9" name="Rectangle : coins arrondis 8">
            <a:extLst>
              <a:ext uri="{FF2B5EF4-FFF2-40B4-BE49-F238E27FC236}">
                <a16:creationId xmlns:a16="http://schemas.microsoft.com/office/drawing/2014/main" id="{A0F9A617-2BBC-4936-7671-F1E6E7526787}"/>
              </a:ext>
            </a:extLst>
          </p:cNvPr>
          <p:cNvSpPr/>
          <p:nvPr/>
        </p:nvSpPr>
        <p:spPr>
          <a:xfrm>
            <a:off x="3671454" y="1518803"/>
            <a:ext cx="6075219" cy="476372"/>
          </a:xfrm>
          <a:prstGeom prst="round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90000" rtlCol="0" anchor="ctr"/>
          <a:lstStyle/>
          <a:p>
            <a:r>
              <a:rPr lang="fr-FR" sz="1400" b="1" i="0">
                <a:solidFill>
                  <a:srgbClr val="0D0D0D"/>
                </a:solidFill>
                <a:effectLst/>
              </a:rPr>
              <a:t>Responsable opérationnel de la ME - DSS​ chez SNCF Réseau </a:t>
            </a:r>
            <a:endParaRPr lang="en-US" sz="1400" b="1">
              <a:solidFill>
                <a:schemeClr val="tx1"/>
              </a:solidFill>
              <a:highlight>
                <a:srgbClr val="FFFF00"/>
              </a:highlight>
            </a:endParaRPr>
          </a:p>
        </p:txBody>
      </p:sp>
      <p:sp>
        <p:nvSpPr>
          <p:cNvPr id="8" name="Rectangle : coins arrondis 7">
            <a:extLst>
              <a:ext uri="{FF2B5EF4-FFF2-40B4-BE49-F238E27FC236}">
                <a16:creationId xmlns:a16="http://schemas.microsoft.com/office/drawing/2014/main" id="{DDC20064-D08C-20BF-959E-49B88BAF5877}"/>
              </a:ext>
            </a:extLst>
          </p:cNvPr>
          <p:cNvSpPr/>
          <p:nvPr/>
        </p:nvSpPr>
        <p:spPr>
          <a:xfrm>
            <a:off x="3671454" y="1104899"/>
            <a:ext cx="6075219" cy="353291"/>
          </a:xfrm>
          <a:prstGeom prst="round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90000" rtlCol="0" anchor="ctr"/>
          <a:lstStyle/>
          <a:p>
            <a:r>
              <a:rPr lang="en-US" sz="1600" b="1">
                <a:solidFill>
                  <a:schemeClr val="tx1"/>
                </a:solidFill>
              </a:rPr>
              <a:t>Liam </a:t>
            </a:r>
            <a:r>
              <a:rPr lang="en-US" sz="1600" b="1" err="1">
                <a:solidFill>
                  <a:schemeClr val="tx1"/>
                </a:solidFill>
              </a:rPr>
              <a:t>Thebbosse</a:t>
            </a:r>
            <a:endParaRPr lang="en-US" sz="1600" b="1">
              <a:solidFill>
                <a:schemeClr val="tx1"/>
              </a:solidFill>
            </a:endParaRPr>
          </a:p>
        </p:txBody>
      </p:sp>
      <p:graphicFrame>
        <p:nvGraphicFramePr>
          <p:cNvPr id="40" name="Object 39" hidden="1">
            <a:extLst>
              <a:ext uri="{FF2B5EF4-FFF2-40B4-BE49-F238E27FC236}">
                <a16:creationId xmlns:a16="http://schemas.microsoft.com/office/drawing/2014/main" id="{67E782CD-476C-4DD7-9A91-7744325DB4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03" imgH="503" progId="TCLayout.ActiveDocument.1">
                  <p:embed/>
                </p:oleObj>
              </mc:Choice>
              <mc:Fallback>
                <p:oleObj name="think-cell Slide" r:id="rId5" imgW="503" imgH="503" progId="TCLayout.ActiveDocument.1">
                  <p:embed/>
                  <p:pic>
                    <p:nvPicPr>
                      <p:cNvPr id="40" name="Object 39" hidden="1">
                        <a:extLst>
                          <a:ext uri="{FF2B5EF4-FFF2-40B4-BE49-F238E27FC236}">
                            <a16:creationId xmlns:a16="http://schemas.microsoft.com/office/drawing/2014/main" id="{67E782CD-476C-4DD7-9A91-7744325DB4F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itre 4">
            <a:extLst>
              <a:ext uri="{FF2B5EF4-FFF2-40B4-BE49-F238E27FC236}">
                <a16:creationId xmlns:a16="http://schemas.microsoft.com/office/drawing/2014/main" id="{12DE26FF-A054-560A-E220-28B59D593BF5}"/>
              </a:ext>
            </a:extLst>
          </p:cNvPr>
          <p:cNvSpPr>
            <a:spLocks noGrp="1"/>
          </p:cNvSpPr>
          <p:nvPr>
            <p:ph type="title"/>
          </p:nvPr>
        </p:nvSpPr>
        <p:spPr>
          <a:xfrm>
            <a:off x="3941617" y="388188"/>
            <a:ext cx="7410967" cy="716711"/>
          </a:xfrm>
        </p:spPr>
        <p:txBody>
          <a:bodyPr anchor="t"/>
          <a:lstStyle/>
          <a:p>
            <a:r>
              <a:rPr lang="en-US"/>
              <a:t>Entretien #1</a:t>
            </a:r>
          </a:p>
        </p:txBody>
      </p:sp>
      <p:sp>
        <p:nvSpPr>
          <p:cNvPr id="6" name="Rectangle : coins arrondis 5">
            <a:extLst>
              <a:ext uri="{FF2B5EF4-FFF2-40B4-BE49-F238E27FC236}">
                <a16:creationId xmlns:a16="http://schemas.microsoft.com/office/drawing/2014/main" id="{EBE86084-030F-482D-31D5-A3E7DC83D94B}"/>
              </a:ext>
            </a:extLst>
          </p:cNvPr>
          <p:cNvSpPr/>
          <p:nvPr/>
        </p:nvSpPr>
        <p:spPr>
          <a:xfrm>
            <a:off x="3671454" y="1104899"/>
            <a:ext cx="1800000" cy="353291"/>
          </a:xfrm>
          <a:prstGeom prst="roundRect">
            <a:avLst>
              <a:gd name="adj" fmla="val 5000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t>Nom</a:t>
            </a:r>
          </a:p>
        </p:txBody>
      </p:sp>
      <p:sp>
        <p:nvSpPr>
          <p:cNvPr id="7" name="Rectangle : coins arrondis 6">
            <a:extLst>
              <a:ext uri="{FF2B5EF4-FFF2-40B4-BE49-F238E27FC236}">
                <a16:creationId xmlns:a16="http://schemas.microsoft.com/office/drawing/2014/main" id="{BC1B3AA4-AB13-D74F-7F23-CE3DB5B81AD8}"/>
              </a:ext>
            </a:extLst>
          </p:cNvPr>
          <p:cNvSpPr/>
          <p:nvPr/>
        </p:nvSpPr>
        <p:spPr>
          <a:xfrm>
            <a:off x="3671454" y="1518803"/>
            <a:ext cx="1800000" cy="476372"/>
          </a:xfrm>
          <a:prstGeom prst="roundRect">
            <a:avLst>
              <a:gd name="adj" fmla="val 5000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err="1"/>
              <a:t>Rôle</a:t>
            </a:r>
            <a:endParaRPr lang="en-US" sz="1600" b="1"/>
          </a:p>
        </p:txBody>
      </p:sp>
      <p:sp>
        <p:nvSpPr>
          <p:cNvPr id="12" name="Rectangle 11">
            <a:extLst>
              <a:ext uri="{FF2B5EF4-FFF2-40B4-BE49-F238E27FC236}">
                <a16:creationId xmlns:a16="http://schemas.microsoft.com/office/drawing/2014/main" id="{D9E6D9C2-8C16-C3F6-D160-C63440F5033B}"/>
              </a:ext>
            </a:extLst>
          </p:cNvPr>
          <p:cNvSpPr/>
          <p:nvPr/>
        </p:nvSpPr>
        <p:spPr>
          <a:xfrm>
            <a:off x="2784589" y="2076815"/>
            <a:ext cx="8999424" cy="45089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pPr algn="l">
              <a:spcAft>
                <a:spcPts val="600"/>
              </a:spcAft>
            </a:pPr>
            <a:r>
              <a:rPr lang="fr-FR" sz="1200" b="1" i="0">
                <a:solidFill>
                  <a:srgbClr val="0D0D0D"/>
                </a:solidFill>
                <a:effectLst/>
              </a:rPr>
              <a:t>Consultant</a:t>
            </a:r>
            <a:r>
              <a:rPr lang="fr-FR" sz="1200" b="0" i="0">
                <a:solidFill>
                  <a:srgbClr val="0D0D0D"/>
                </a:solidFill>
                <a:effectLst/>
              </a:rPr>
              <a:t> : Bonjour M. </a:t>
            </a:r>
            <a:r>
              <a:rPr lang="fr-FR" sz="1200" b="0" i="0" err="1">
                <a:solidFill>
                  <a:srgbClr val="0D0D0D"/>
                </a:solidFill>
                <a:effectLst/>
              </a:rPr>
              <a:t>Thebbosse</a:t>
            </a:r>
            <a:r>
              <a:rPr lang="fr-FR" sz="1200" b="0" i="0">
                <a:solidFill>
                  <a:srgbClr val="0D0D0D"/>
                </a:solidFill>
                <a:effectLst/>
              </a:rPr>
              <a:t>, ravi de vous rencontrer. Pouvez-vous nous partager les éléments que vous avez identifiés comme problématiques dans le fonctionnement actuel ?</a:t>
            </a:r>
          </a:p>
          <a:p>
            <a:pPr algn="l">
              <a:spcAft>
                <a:spcPts val="600"/>
              </a:spcAft>
            </a:pPr>
            <a:r>
              <a:rPr lang="fr-FR" sz="1200" b="1" i="0">
                <a:solidFill>
                  <a:srgbClr val="0D0D0D"/>
                </a:solidFill>
                <a:effectLst/>
              </a:rPr>
              <a:t>LT</a:t>
            </a:r>
            <a:r>
              <a:rPr lang="fr-FR" sz="1200" b="0" i="0">
                <a:solidFill>
                  <a:srgbClr val="0D0D0D"/>
                </a:solidFill>
                <a:effectLst/>
              </a:rPr>
              <a:t>: Bonjour, absolument. Actuellement, ce qui me marque le plus, ce sont les difficultés rencontrées en termes de planification des interventions. Nous n'avons pas de marge de sécurité dans les délais, ce qui entraîne des retards considérables en cas d'échec d'un rendez-vous. La reprogrammation devient alors une tâche ardue et chronophage.</a:t>
            </a:r>
          </a:p>
          <a:p>
            <a:pPr algn="l">
              <a:spcAft>
                <a:spcPts val="600"/>
              </a:spcAft>
            </a:pPr>
            <a:r>
              <a:rPr lang="fr-FR" sz="1200" b="1" i="0">
                <a:solidFill>
                  <a:srgbClr val="0D0D0D"/>
                </a:solidFill>
                <a:effectLst/>
              </a:rPr>
              <a:t>Consultant</a:t>
            </a:r>
            <a:r>
              <a:rPr lang="fr-FR" sz="1200" b="0" i="0">
                <a:solidFill>
                  <a:srgbClr val="0D0D0D"/>
                </a:solidFill>
                <a:effectLst/>
              </a:rPr>
              <a:t>: Cela semble être un vrai défi. Avez-vous identifié d'autres obstacles dans votre travail ?</a:t>
            </a:r>
          </a:p>
          <a:p>
            <a:pPr algn="l">
              <a:spcAft>
                <a:spcPts val="600"/>
              </a:spcAft>
            </a:pPr>
            <a:r>
              <a:rPr lang="fr-FR" sz="1200" b="1" i="0">
                <a:solidFill>
                  <a:srgbClr val="0D0D0D"/>
                </a:solidFill>
                <a:effectLst/>
              </a:rPr>
              <a:t>LT</a:t>
            </a:r>
            <a:r>
              <a:rPr lang="fr-FR" sz="1200" b="0" i="0">
                <a:solidFill>
                  <a:srgbClr val="0D0D0D"/>
                </a:solidFill>
                <a:effectLst/>
              </a:rPr>
              <a:t>: Oui, en effet. Un autre défi majeur réside dans la complexité de la structure organisationnelle. Avec de nombreux acteurs impliqués à différents niveaux hiérarchiques, la diffusion d'informations est souvent entravée. Cela affecte la coordination et l'efficacité globale de nos opérations. Tout le monde n’a pas la même information à un moment donné, et il est même possible d’avoir plusieurs versions utilisées simultanément à un instant t. Cette fragmentation de l'information crée des lacunes dans la prise de décision et peut conduire à des actions contradictoires ou inefficaces. En conséquence, notre capacité à réagir rapidement aux changements ou aux imprévus est compromise. Il est essentiel d'améliorer la circulation de l'information au sein de l'organisation, en mettant en place des systèmes de communication clairs et efficaces qui permettent à chacun d'accéder aux données pertinentes en temps réel. Cela favorisera une meilleure collaboration entre les équipes et renforcera notre capacité à atteindre nos objectifs opérationnels de manière cohérente et efficace.</a:t>
            </a:r>
          </a:p>
          <a:p>
            <a:pPr algn="l">
              <a:spcAft>
                <a:spcPts val="600"/>
              </a:spcAft>
            </a:pPr>
            <a:r>
              <a:rPr lang="fr-FR" sz="1200" b="1" i="0">
                <a:solidFill>
                  <a:srgbClr val="0D0D0D"/>
                </a:solidFill>
                <a:effectLst/>
              </a:rPr>
              <a:t>Consultant</a:t>
            </a:r>
            <a:r>
              <a:rPr lang="fr-FR" sz="1200" b="0" i="0">
                <a:solidFill>
                  <a:srgbClr val="0D0D0D"/>
                </a:solidFill>
                <a:effectLst/>
              </a:rPr>
              <a:t>: Est-ce que vous souhaitez partager avec nous d’autres éléments ?</a:t>
            </a:r>
          </a:p>
          <a:p>
            <a:pPr algn="l">
              <a:spcAft>
                <a:spcPts val="600"/>
              </a:spcAft>
            </a:pPr>
            <a:r>
              <a:rPr lang="fr-FR" sz="1200" b="1" i="0">
                <a:solidFill>
                  <a:srgbClr val="0D0D0D"/>
                </a:solidFill>
                <a:effectLst/>
              </a:rPr>
              <a:t>LT</a:t>
            </a:r>
            <a:r>
              <a:rPr lang="fr-FR" sz="1200" b="0" i="0">
                <a:solidFill>
                  <a:srgbClr val="0D0D0D"/>
                </a:solidFill>
                <a:effectLst/>
              </a:rPr>
              <a:t>: Les objectifs sont souvent définis de manière fragmentée, sans réelle mise en commun. Il n'est pas rare que des doublons surviennent, voire que des objectifs contradictoires soient fixés dans différents sites. Cette situation compromet notre cohérence opérationnelle et notre capacité à atteindre nos objectifs de manière efficace.</a:t>
            </a:r>
          </a:p>
          <a:p>
            <a:pPr algn="l">
              <a:spcAft>
                <a:spcPts val="600"/>
              </a:spcAft>
            </a:pPr>
            <a:r>
              <a:rPr lang="fr-FR" sz="1200" b="1" i="0">
                <a:solidFill>
                  <a:srgbClr val="0D0D0D"/>
                </a:solidFill>
                <a:effectLst/>
              </a:rPr>
              <a:t>Consultant :</a:t>
            </a:r>
            <a:r>
              <a:rPr lang="fr-FR" sz="1200" b="0" i="0">
                <a:solidFill>
                  <a:srgbClr val="0D0D0D"/>
                </a:solidFill>
                <a:effectLst/>
              </a:rPr>
              <a:t> Merci pour ces informations. </a:t>
            </a:r>
          </a:p>
          <a:p>
            <a:pPr algn="l">
              <a:spcAft>
                <a:spcPts val="600"/>
              </a:spcAft>
            </a:pPr>
            <a:r>
              <a:rPr lang="fr-FR" sz="1200" b="1">
                <a:solidFill>
                  <a:srgbClr val="0D0D0D"/>
                </a:solidFill>
              </a:rPr>
              <a:t>LT</a:t>
            </a:r>
            <a:r>
              <a:rPr lang="fr-FR" sz="1200">
                <a:solidFill>
                  <a:srgbClr val="0D0D0D"/>
                </a:solidFill>
              </a:rPr>
              <a:t> : Je vous en prie, hâte de lire vos conclusions</a:t>
            </a:r>
            <a:endParaRPr lang="fr-FR" sz="1200" b="0" i="0">
              <a:solidFill>
                <a:srgbClr val="0D0D0D"/>
              </a:solidFill>
              <a:effectLst/>
            </a:endParaRPr>
          </a:p>
        </p:txBody>
      </p:sp>
      <p:sp>
        <p:nvSpPr>
          <p:cNvPr id="3" name="Forme libre : forme 2">
            <a:extLst>
              <a:ext uri="{FF2B5EF4-FFF2-40B4-BE49-F238E27FC236}">
                <a16:creationId xmlns:a16="http://schemas.microsoft.com/office/drawing/2014/main" id="{ED17CD5D-346A-79DE-0227-A2A51A9FD66D}"/>
              </a:ext>
            </a:extLst>
          </p:cNvPr>
          <p:cNvSpPr/>
          <p:nvPr/>
        </p:nvSpPr>
        <p:spPr>
          <a:xfrm>
            <a:off x="2498158" y="-46299"/>
            <a:ext cx="349214" cy="3703899"/>
          </a:xfrm>
          <a:custGeom>
            <a:avLst/>
            <a:gdLst>
              <a:gd name="connsiteX0" fmla="*/ 349214 w 349214"/>
              <a:gd name="connsiteY0" fmla="*/ 0 h 3703899"/>
              <a:gd name="connsiteX1" fmla="*/ 1974 w 349214"/>
              <a:gd name="connsiteY1" fmla="*/ 1759352 h 3703899"/>
              <a:gd name="connsiteX2" fmla="*/ 233467 w 349214"/>
              <a:gd name="connsiteY2" fmla="*/ 3703899 h 3703899"/>
            </a:gdLst>
            <a:ahLst/>
            <a:cxnLst>
              <a:cxn ang="0">
                <a:pos x="connsiteX0" y="connsiteY0"/>
              </a:cxn>
              <a:cxn ang="0">
                <a:pos x="connsiteX1" y="connsiteY1"/>
              </a:cxn>
              <a:cxn ang="0">
                <a:pos x="connsiteX2" y="connsiteY2"/>
              </a:cxn>
            </a:cxnLst>
            <a:rect l="l" t="t" r="r" b="b"/>
            <a:pathLst>
              <a:path w="349214" h="3703899">
                <a:moveTo>
                  <a:pt x="349214" y="0"/>
                </a:moveTo>
                <a:cubicBezTo>
                  <a:pt x="185239" y="571018"/>
                  <a:pt x="21265" y="1142036"/>
                  <a:pt x="1974" y="1759352"/>
                </a:cubicBezTo>
                <a:cubicBezTo>
                  <a:pt x="-17317" y="2376668"/>
                  <a:pt x="108075" y="3040283"/>
                  <a:pt x="233467" y="3703899"/>
                </a:cubicBezTo>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553230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 coins arrondis 8">
            <a:extLst>
              <a:ext uri="{FF2B5EF4-FFF2-40B4-BE49-F238E27FC236}">
                <a16:creationId xmlns:a16="http://schemas.microsoft.com/office/drawing/2014/main" id="{A0F9A617-2BBC-4936-7671-F1E6E7526787}"/>
              </a:ext>
            </a:extLst>
          </p:cNvPr>
          <p:cNvSpPr/>
          <p:nvPr/>
        </p:nvSpPr>
        <p:spPr>
          <a:xfrm>
            <a:off x="3671454" y="1518803"/>
            <a:ext cx="6075219" cy="353291"/>
          </a:xfrm>
          <a:prstGeom prst="round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90000" rtlCol="0" anchor="ctr"/>
          <a:lstStyle/>
          <a:p>
            <a:r>
              <a:rPr lang="en-US" sz="1600" b="1" err="1">
                <a:solidFill>
                  <a:schemeClr val="tx1"/>
                </a:solidFill>
              </a:rPr>
              <a:t>Responsable</a:t>
            </a:r>
            <a:r>
              <a:rPr lang="en-US" sz="1600" b="1">
                <a:solidFill>
                  <a:schemeClr val="tx1"/>
                </a:solidFill>
              </a:rPr>
              <a:t> </a:t>
            </a:r>
            <a:r>
              <a:rPr lang="en-US" sz="1600" b="1" err="1">
                <a:solidFill>
                  <a:schemeClr val="tx1"/>
                </a:solidFill>
              </a:rPr>
              <a:t>centres</a:t>
            </a:r>
            <a:r>
              <a:rPr lang="en-US" sz="1600" b="1">
                <a:solidFill>
                  <a:schemeClr val="tx1"/>
                </a:solidFill>
              </a:rPr>
              <a:t> de maintenance</a:t>
            </a:r>
          </a:p>
        </p:txBody>
      </p:sp>
      <p:sp>
        <p:nvSpPr>
          <p:cNvPr id="8" name="Rectangle : coins arrondis 7">
            <a:extLst>
              <a:ext uri="{FF2B5EF4-FFF2-40B4-BE49-F238E27FC236}">
                <a16:creationId xmlns:a16="http://schemas.microsoft.com/office/drawing/2014/main" id="{DDC20064-D08C-20BF-959E-49B88BAF5877}"/>
              </a:ext>
            </a:extLst>
          </p:cNvPr>
          <p:cNvSpPr/>
          <p:nvPr/>
        </p:nvSpPr>
        <p:spPr>
          <a:xfrm>
            <a:off x="3671454" y="1104899"/>
            <a:ext cx="6075219" cy="353291"/>
          </a:xfrm>
          <a:prstGeom prst="round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90000" rtlCol="0" anchor="ctr"/>
          <a:lstStyle/>
          <a:p>
            <a:r>
              <a:rPr lang="en-US" sz="1600" b="1">
                <a:solidFill>
                  <a:schemeClr val="tx1"/>
                </a:solidFill>
              </a:rPr>
              <a:t>Kate </a:t>
            </a:r>
            <a:r>
              <a:rPr lang="en-US" sz="1600" b="1" err="1">
                <a:solidFill>
                  <a:schemeClr val="tx1"/>
                </a:solidFill>
              </a:rPr>
              <a:t>Hégnière</a:t>
            </a:r>
            <a:endParaRPr lang="en-US" sz="1600" b="1">
              <a:solidFill>
                <a:schemeClr val="tx1"/>
              </a:solidFill>
            </a:endParaRPr>
          </a:p>
        </p:txBody>
      </p:sp>
      <p:graphicFrame>
        <p:nvGraphicFramePr>
          <p:cNvPr id="40" name="Object 39" hidden="1">
            <a:extLst>
              <a:ext uri="{FF2B5EF4-FFF2-40B4-BE49-F238E27FC236}">
                <a16:creationId xmlns:a16="http://schemas.microsoft.com/office/drawing/2014/main" id="{67E782CD-476C-4DD7-9A91-7744325DB4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3" imgH="503" progId="TCLayout.ActiveDocument.1">
                  <p:embed/>
                </p:oleObj>
              </mc:Choice>
              <mc:Fallback>
                <p:oleObj name="think-cell Slide" r:id="rId4" imgW="503" imgH="503" progId="TCLayout.ActiveDocument.1">
                  <p:embed/>
                  <p:pic>
                    <p:nvPicPr>
                      <p:cNvPr id="40" name="Object 39" hidden="1">
                        <a:extLst>
                          <a:ext uri="{FF2B5EF4-FFF2-40B4-BE49-F238E27FC236}">
                            <a16:creationId xmlns:a16="http://schemas.microsoft.com/office/drawing/2014/main" id="{67E782CD-476C-4DD7-9A91-7744325DB4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6" name="Image 25">
            <a:extLst>
              <a:ext uri="{FF2B5EF4-FFF2-40B4-BE49-F238E27FC236}">
                <a16:creationId xmlns:a16="http://schemas.microsoft.com/office/drawing/2014/main" id="{3FFA1F71-170C-F71D-2323-7EE6362B05F9}"/>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1" y="0"/>
            <a:ext cx="3033424" cy="6858139"/>
          </a:xfrm>
          <a:prstGeom prst="rect">
            <a:avLst/>
          </a:prstGeom>
        </p:spPr>
      </p:pic>
      <p:sp>
        <p:nvSpPr>
          <p:cNvPr id="5" name="Titre 4">
            <a:extLst>
              <a:ext uri="{FF2B5EF4-FFF2-40B4-BE49-F238E27FC236}">
                <a16:creationId xmlns:a16="http://schemas.microsoft.com/office/drawing/2014/main" id="{12DE26FF-A054-560A-E220-28B59D593BF5}"/>
              </a:ext>
            </a:extLst>
          </p:cNvPr>
          <p:cNvSpPr>
            <a:spLocks noGrp="1"/>
          </p:cNvSpPr>
          <p:nvPr>
            <p:ph type="title"/>
          </p:nvPr>
        </p:nvSpPr>
        <p:spPr>
          <a:xfrm>
            <a:off x="3941617" y="388188"/>
            <a:ext cx="7410967" cy="716711"/>
          </a:xfrm>
        </p:spPr>
        <p:txBody>
          <a:bodyPr anchor="t"/>
          <a:lstStyle/>
          <a:p>
            <a:r>
              <a:rPr lang="en-US"/>
              <a:t>Entretien #2</a:t>
            </a:r>
          </a:p>
        </p:txBody>
      </p:sp>
      <p:sp>
        <p:nvSpPr>
          <p:cNvPr id="6" name="Rectangle : coins arrondis 5">
            <a:extLst>
              <a:ext uri="{FF2B5EF4-FFF2-40B4-BE49-F238E27FC236}">
                <a16:creationId xmlns:a16="http://schemas.microsoft.com/office/drawing/2014/main" id="{EBE86084-030F-482D-31D5-A3E7DC83D94B}"/>
              </a:ext>
            </a:extLst>
          </p:cNvPr>
          <p:cNvSpPr/>
          <p:nvPr/>
        </p:nvSpPr>
        <p:spPr>
          <a:xfrm>
            <a:off x="3671454" y="1104899"/>
            <a:ext cx="1800000" cy="353291"/>
          </a:xfrm>
          <a:prstGeom prst="roundRect">
            <a:avLst>
              <a:gd name="adj" fmla="val 5000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t>Nom</a:t>
            </a:r>
          </a:p>
        </p:txBody>
      </p:sp>
      <p:sp>
        <p:nvSpPr>
          <p:cNvPr id="7" name="Rectangle : coins arrondis 6">
            <a:extLst>
              <a:ext uri="{FF2B5EF4-FFF2-40B4-BE49-F238E27FC236}">
                <a16:creationId xmlns:a16="http://schemas.microsoft.com/office/drawing/2014/main" id="{BC1B3AA4-AB13-D74F-7F23-CE3DB5B81AD8}"/>
              </a:ext>
            </a:extLst>
          </p:cNvPr>
          <p:cNvSpPr/>
          <p:nvPr/>
        </p:nvSpPr>
        <p:spPr>
          <a:xfrm>
            <a:off x="3671454" y="1518803"/>
            <a:ext cx="1800000" cy="353291"/>
          </a:xfrm>
          <a:prstGeom prst="roundRect">
            <a:avLst>
              <a:gd name="adj" fmla="val 5000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err="1"/>
              <a:t>Rôle</a:t>
            </a:r>
            <a:endParaRPr lang="en-US" sz="1600" b="1"/>
          </a:p>
        </p:txBody>
      </p:sp>
      <p:sp>
        <p:nvSpPr>
          <p:cNvPr id="13" name="Forme libre : forme 15">
            <a:extLst>
              <a:ext uri="{FF2B5EF4-FFF2-40B4-BE49-F238E27FC236}">
                <a16:creationId xmlns:a16="http://schemas.microsoft.com/office/drawing/2014/main" id="{E9F3568F-AB6C-B7F2-2624-560FC8ABA97C}"/>
              </a:ext>
            </a:extLst>
          </p:cNvPr>
          <p:cNvSpPr/>
          <p:nvPr/>
        </p:nvSpPr>
        <p:spPr>
          <a:xfrm>
            <a:off x="2253656" y="-865956"/>
            <a:ext cx="1128540" cy="8680589"/>
          </a:xfrm>
          <a:custGeom>
            <a:avLst/>
            <a:gdLst>
              <a:gd name="connsiteX0" fmla="*/ 6944 w 1128540"/>
              <a:gd name="connsiteY0" fmla="*/ 802456 h 8680589"/>
              <a:gd name="connsiteX1" fmla="*/ 489544 w 1128540"/>
              <a:gd name="connsiteY1" fmla="*/ 2529656 h 8680589"/>
              <a:gd name="connsiteX2" fmla="*/ 273644 w 1128540"/>
              <a:gd name="connsiteY2" fmla="*/ 4434656 h 8680589"/>
              <a:gd name="connsiteX3" fmla="*/ 413344 w 1128540"/>
              <a:gd name="connsiteY3" fmla="*/ 6098356 h 8680589"/>
              <a:gd name="connsiteX4" fmla="*/ 6944 w 1128540"/>
              <a:gd name="connsiteY4" fmla="*/ 7088956 h 8680589"/>
              <a:gd name="connsiteX5" fmla="*/ 337144 w 1128540"/>
              <a:gd name="connsiteY5" fmla="*/ 8092256 h 8680589"/>
              <a:gd name="connsiteX6" fmla="*/ 1086444 w 1128540"/>
              <a:gd name="connsiteY6" fmla="*/ 8079556 h 8680589"/>
              <a:gd name="connsiteX7" fmla="*/ 921344 w 1128540"/>
              <a:gd name="connsiteY7" fmla="*/ 548456 h 8680589"/>
              <a:gd name="connsiteX8" fmla="*/ 6944 w 1128540"/>
              <a:gd name="connsiteY8" fmla="*/ 802456 h 8680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28540" h="8680589">
                <a:moveTo>
                  <a:pt x="6944" y="802456"/>
                </a:moveTo>
                <a:cubicBezTo>
                  <a:pt x="-65023" y="1132656"/>
                  <a:pt x="445094" y="1924289"/>
                  <a:pt x="489544" y="2529656"/>
                </a:cubicBezTo>
                <a:cubicBezTo>
                  <a:pt x="533994" y="3135023"/>
                  <a:pt x="286344" y="3839873"/>
                  <a:pt x="273644" y="4434656"/>
                </a:cubicBezTo>
                <a:cubicBezTo>
                  <a:pt x="260944" y="5029439"/>
                  <a:pt x="457794" y="5655973"/>
                  <a:pt x="413344" y="6098356"/>
                </a:cubicBezTo>
                <a:cubicBezTo>
                  <a:pt x="368894" y="6540739"/>
                  <a:pt x="19644" y="6756639"/>
                  <a:pt x="6944" y="7088956"/>
                </a:cubicBezTo>
                <a:cubicBezTo>
                  <a:pt x="-5756" y="7421273"/>
                  <a:pt x="157227" y="7927156"/>
                  <a:pt x="337144" y="8092256"/>
                </a:cubicBezTo>
                <a:cubicBezTo>
                  <a:pt x="517061" y="8257356"/>
                  <a:pt x="989077" y="9336856"/>
                  <a:pt x="1086444" y="8079556"/>
                </a:cubicBezTo>
                <a:cubicBezTo>
                  <a:pt x="1183811" y="6822256"/>
                  <a:pt x="1105494" y="1765539"/>
                  <a:pt x="921344" y="548456"/>
                </a:cubicBezTo>
                <a:cubicBezTo>
                  <a:pt x="737194" y="-668627"/>
                  <a:pt x="78911" y="472256"/>
                  <a:pt x="6944" y="80245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3" name="Rectangle 2">
            <a:extLst>
              <a:ext uri="{FF2B5EF4-FFF2-40B4-BE49-F238E27FC236}">
                <a16:creationId xmlns:a16="http://schemas.microsoft.com/office/drawing/2014/main" id="{687E882B-FA46-60D2-779F-E6D709CF3C96}"/>
              </a:ext>
            </a:extLst>
          </p:cNvPr>
          <p:cNvSpPr/>
          <p:nvPr/>
        </p:nvSpPr>
        <p:spPr>
          <a:xfrm>
            <a:off x="2784589" y="2076815"/>
            <a:ext cx="8999424" cy="41703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pPr algn="l">
              <a:spcAft>
                <a:spcPts val="600"/>
              </a:spcAft>
            </a:pPr>
            <a:r>
              <a:rPr lang="fr-FR" sz="1200" b="1" i="0">
                <a:solidFill>
                  <a:srgbClr val="0D0D0D"/>
                </a:solidFill>
                <a:effectLst/>
              </a:rPr>
              <a:t>Consultant</a:t>
            </a:r>
            <a:r>
              <a:rPr lang="fr-FR" sz="1200" b="0" i="0">
                <a:solidFill>
                  <a:srgbClr val="0D0D0D"/>
                </a:solidFill>
                <a:effectLst/>
              </a:rPr>
              <a:t> : Bonjour Mme </a:t>
            </a:r>
            <a:r>
              <a:rPr lang="fr-FR" sz="1200" b="0" i="0" err="1">
                <a:solidFill>
                  <a:srgbClr val="0D0D0D"/>
                </a:solidFill>
                <a:effectLst/>
              </a:rPr>
              <a:t>Hégnière</a:t>
            </a:r>
            <a:r>
              <a:rPr lang="fr-FR" sz="1200" b="0" i="0">
                <a:solidFill>
                  <a:srgbClr val="0D0D0D"/>
                </a:solidFill>
                <a:effectLst/>
              </a:rPr>
              <a:t>, un grand merci de nous avoir accordé cet entretien ! Peut-être que l’on peut commencer par vous laisser vous présenter, votre rôle et vos actions principales au sein de SNCF Réseau ?</a:t>
            </a:r>
            <a:endParaRPr lang="fr-FR" sz="1200">
              <a:solidFill>
                <a:srgbClr val="0D0D0D"/>
              </a:solidFill>
            </a:endParaRPr>
          </a:p>
          <a:p>
            <a:pPr algn="l">
              <a:spcAft>
                <a:spcPts val="600"/>
              </a:spcAft>
            </a:pPr>
            <a:r>
              <a:rPr lang="fr-FR" sz="1200" b="1" i="0">
                <a:solidFill>
                  <a:srgbClr val="0D0D0D"/>
                </a:solidFill>
                <a:effectLst/>
              </a:rPr>
              <a:t>KH : </a:t>
            </a:r>
            <a:r>
              <a:rPr lang="fr-FR" sz="1200" i="0">
                <a:solidFill>
                  <a:srgbClr val="0D0D0D"/>
                </a:solidFill>
                <a:effectLst/>
              </a:rPr>
              <a:t>Bien sûr, je suis à la SNCF depuis 13 ans maintenant, j’ai commencé dans les centres de maintenance en logistique et à présent je suis responsable de leur bon fonctionnement. Cela passe par gérer les RH mais aussi tous les processus et les outils (systèmes d’informations, engins de mesure, appareils de maintenance) pour que tout cela opère correctement. Je vous ai préparé quelques data pour guider votre réflexion, vous pouvez noter ?</a:t>
            </a:r>
          </a:p>
          <a:p>
            <a:pPr marL="171450" indent="-171450" algn="l">
              <a:spcAft>
                <a:spcPts val="600"/>
              </a:spcAft>
              <a:buFont typeface="Arial" panose="020B0604020202020204" pitchFamily="34" charset="0"/>
              <a:buChar char="•"/>
            </a:pPr>
            <a:r>
              <a:rPr lang="fr-FR" sz="1200">
                <a:solidFill>
                  <a:srgbClr val="0D0D0D"/>
                </a:solidFill>
              </a:rPr>
              <a:t>Nous mesurons les incidents sur notre réseau via des capteurs (35%) et via des remontées terrain (engins de mesure – 25% et opérateurs en tournée – 40%). C’est un écosystème compliqué à gérer, la maintenance de nos engins de mesure est presque aussi compliquée que celle de notre réseau ! Ces engins sont vieux et capricieux, nos voisins allemands ont des machines bien plus récentes qui rendent leur réseau bien plus résilient.</a:t>
            </a:r>
            <a:endParaRPr lang="fr-FR" sz="1200" b="0" i="0">
              <a:solidFill>
                <a:srgbClr val="0D0D0D"/>
              </a:solidFill>
              <a:effectLst/>
            </a:endParaRPr>
          </a:p>
          <a:p>
            <a:pPr marL="171450" indent="-171450" algn="l">
              <a:spcAft>
                <a:spcPts val="600"/>
              </a:spcAft>
              <a:buFont typeface="Arial" panose="020B0604020202020204" pitchFamily="34" charset="0"/>
              <a:buChar char="•"/>
            </a:pPr>
            <a:r>
              <a:rPr lang="fr-FR" sz="1200" b="0" i="0">
                <a:solidFill>
                  <a:srgbClr val="0D0D0D"/>
                </a:solidFill>
                <a:effectLst/>
              </a:rPr>
              <a:t>Depuis 2013, nous avons implémenté des tablettes sur une partie de notr</a:t>
            </a:r>
            <a:r>
              <a:rPr lang="fr-FR" sz="1200">
                <a:solidFill>
                  <a:srgbClr val="0D0D0D"/>
                </a:solidFill>
              </a:rPr>
              <a:t>e réseau (17%) sur un POC (proof of concept) en Aquitaine pour nos opérateurs. On a d’abord constaté une remontée d’incidents de +27% dans les centres équipés en mobilité. Et sur les 3 années glissantes suivantes, une augmentation de +13% des interventions préventives sur ces réseaux mais aussi une diminution de -39% des incidents. Je vous laisse en tirer vos conclusions. Sur les centres non équipés de tablette, on a moins de défauts remontés, c’est qu’ils doivent être meilleurs je suppose. </a:t>
            </a:r>
          </a:p>
          <a:p>
            <a:pPr marL="171450" indent="-171450" algn="l">
              <a:spcAft>
                <a:spcPts val="600"/>
              </a:spcAft>
              <a:buFont typeface="Arial" panose="020B0604020202020204" pitchFamily="34" charset="0"/>
              <a:buChar char="•"/>
            </a:pPr>
            <a:r>
              <a:rPr lang="fr-FR" sz="1200">
                <a:solidFill>
                  <a:srgbClr val="0D0D0D"/>
                </a:solidFill>
              </a:rPr>
              <a:t>Petit problème, nos opérateurs sont parfois très réfractaires au changement. Sur l’Aquitaine, certaines tablettes sont encore dans leur emballage et les carnets papiers sont rois. C’est un problème de taille pour nous.</a:t>
            </a:r>
          </a:p>
          <a:p>
            <a:pPr marL="171450" indent="-171450" algn="l">
              <a:spcAft>
                <a:spcPts val="600"/>
              </a:spcAft>
              <a:buFont typeface="Arial" panose="020B0604020202020204" pitchFamily="34" charset="0"/>
              <a:buChar char="•"/>
            </a:pPr>
            <a:r>
              <a:rPr lang="fr-FR" sz="1200" b="0" i="0">
                <a:solidFill>
                  <a:srgbClr val="0D0D0D"/>
                </a:solidFill>
                <a:effectLst/>
              </a:rPr>
              <a:t>Autre sujet sur les pièces de rechange, notre syst</a:t>
            </a:r>
            <a:r>
              <a:rPr lang="fr-FR" sz="1200">
                <a:solidFill>
                  <a:srgbClr val="0D0D0D"/>
                </a:solidFill>
              </a:rPr>
              <a:t>ème de planification est complètement à l’Ouest depuis quelques années, nous avons multiplié par 1.5 les envois en urgence par avion, et augmenté de 8% les incidents critiques en lien avec du matériel de rechange absent.</a:t>
            </a:r>
            <a:endParaRPr lang="fr-FR" sz="1200" b="0" i="0">
              <a:solidFill>
                <a:srgbClr val="0D0D0D"/>
              </a:solidFill>
              <a:effectLst/>
            </a:endParaRPr>
          </a:p>
        </p:txBody>
      </p:sp>
    </p:spTree>
    <p:extLst>
      <p:ext uri="{BB962C8B-B14F-4D97-AF65-F5344CB8AC3E}">
        <p14:creationId xmlns:p14="http://schemas.microsoft.com/office/powerpoint/2010/main" val="164658379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descr="Femme portant un manteau">
            <a:extLst>
              <a:ext uri="{FF2B5EF4-FFF2-40B4-BE49-F238E27FC236}">
                <a16:creationId xmlns:a16="http://schemas.microsoft.com/office/drawing/2014/main" id="{AFA89B18-1DA2-23C5-30E6-BD3845622DA5}"/>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1151" y="-43786"/>
            <a:ext cx="2910468" cy="6912937"/>
          </a:xfrm>
          <a:prstGeom prst="rect">
            <a:avLst/>
          </a:prstGeom>
        </p:spPr>
      </p:pic>
      <p:sp>
        <p:nvSpPr>
          <p:cNvPr id="9" name="Rectangle : coins arrondis 8">
            <a:extLst>
              <a:ext uri="{FF2B5EF4-FFF2-40B4-BE49-F238E27FC236}">
                <a16:creationId xmlns:a16="http://schemas.microsoft.com/office/drawing/2014/main" id="{A0F9A617-2BBC-4936-7671-F1E6E7526787}"/>
              </a:ext>
            </a:extLst>
          </p:cNvPr>
          <p:cNvSpPr/>
          <p:nvPr/>
        </p:nvSpPr>
        <p:spPr>
          <a:xfrm>
            <a:off x="3671454" y="1518803"/>
            <a:ext cx="6075219" cy="353291"/>
          </a:xfrm>
          <a:prstGeom prst="round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90000" rtlCol="0" anchor="ctr"/>
          <a:lstStyle/>
          <a:p>
            <a:r>
              <a:rPr lang="en-US" sz="1600" b="1">
                <a:solidFill>
                  <a:schemeClr val="tx1"/>
                </a:solidFill>
              </a:rPr>
              <a:t>Chef de </a:t>
            </a:r>
            <a:r>
              <a:rPr lang="en-US" sz="1600" b="1" err="1">
                <a:solidFill>
                  <a:schemeClr val="tx1"/>
                </a:solidFill>
              </a:rPr>
              <a:t>projet</a:t>
            </a:r>
            <a:r>
              <a:rPr lang="en-US" sz="1600" b="1">
                <a:solidFill>
                  <a:schemeClr val="tx1"/>
                </a:solidFill>
              </a:rPr>
              <a:t> SI</a:t>
            </a:r>
          </a:p>
        </p:txBody>
      </p:sp>
      <p:sp>
        <p:nvSpPr>
          <p:cNvPr id="8" name="Rectangle : coins arrondis 7">
            <a:extLst>
              <a:ext uri="{FF2B5EF4-FFF2-40B4-BE49-F238E27FC236}">
                <a16:creationId xmlns:a16="http://schemas.microsoft.com/office/drawing/2014/main" id="{DDC20064-D08C-20BF-959E-49B88BAF5877}"/>
              </a:ext>
            </a:extLst>
          </p:cNvPr>
          <p:cNvSpPr/>
          <p:nvPr/>
        </p:nvSpPr>
        <p:spPr>
          <a:xfrm>
            <a:off x="3671454" y="1104899"/>
            <a:ext cx="6075219" cy="353291"/>
          </a:xfrm>
          <a:prstGeom prst="round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90000" rtlCol="0" anchor="ctr"/>
          <a:lstStyle/>
          <a:p>
            <a:r>
              <a:rPr lang="en-US" sz="1600" b="1">
                <a:solidFill>
                  <a:schemeClr val="tx1"/>
                </a:solidFill>
              </a:rPr>
              <a:t>Jade Hurtard </a:t>
            </a:r>
          </a:p>
        </p:txBody>
      </p:sp>
      <p:graphicFrame>
        <p:nvGraphicFramePr>
          <p:cNvPr id="40" name="Object 39" hidden="1">
            <a:extLst>
              <a:ext uri="{FF2B5EF4-FFF2-40B4-BE49-F238E27FC236}">
                <a16:creationId xmlns:a16="http://schemas.microsoft.com/office/drawing/2014/main" id="{67E782CD-476C-4DD7-9A91-7744325DB4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03" imgH="503" progId="TCLayout.ActiveDocument.1">
                  <p:embed/>
                </p:oleObj>
              </mc:Choice>
              <mc:Fallback>
                <p:oleObj name="think-cell Slide" r:id="rId5" imgW="503" imgH="503" progId="TCLayout.ActiveDocument.1">
                  <p:embed/>
                  <p:pic>
                    <p:nvPicPr>
                      <p:cNvPr id="40" name="Object 39" hidden="1">
                        <a:extLst>
                          <a:ext uri="{FF2B5EF4-FFF2-40B4-BE49-F238E27FC236}">
                            <a16:creationId xmlns:a16="http://schemas.microsoft.com/office/drawing/2014/main" id="{67E782CD-476C-4DD7-9A91-7744325DB4F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itre 4">
            <a:extLst>
              <a:ext uri="{FF2B5EF4-FFF2-40B4-BE49-F238E27FC236}">
                <a16:creationId xmlns:a16="http://schemas.microsoft.com/office/drawing/2014/main" id="{12DE26FF-A054-560A-E220-28B59D593BF5}"/>
              </a:ext>
            </a:extLst>
          </p:cNvPr>
          <p:cNvSpPr>
            <a:spLocks noGrp="1"/>
          </p:cNvSpPr>
          <p:nvPr>
            <p:ph type="title"/>
          </p:nvPr>
        </p:nvSpPr>
        <p:spPr>
          <a:xfrm>
            <a:off x="3941617" y="388188"/>
            <a:ext cx="7410967" cy="716711"/>
          </a:xfrm>
        </p:spPr>
        <p:txBody>
          <a:bodyPr anchor="t"/>
          <a:lstStyle/>
          <a:p>
            <a:r>
              <a:rPr lang="en-US"/>
              <a:t>Entretien #3</a:t>
            </a:r>
          </a:p>
        </p:txBody>
      </p:sp>
      <p:sp>
        <p:nvSpPr>
          <p:cNvPr id="6" name="Rectangle : coins arrondis 5">
            <a:extLst>
              <a:ext uri="{FF2B5EF4-FFF2-40B4-BE49-F238E27FC236}">
                <a16:creationId xmlns:a16="http://schemas.microsoft.com/office/drawing/2014/main" id="{EBE86084-030F-482D-31D5-A3E7DC83D94B}"/>
              </a:ext>
            </a:extLst>
          </p:cNvPr>
          <p:cNvSpPr/>
          <p:nvPr/>
        </p:nvSpPr>
        <p:spPr>
          <a:xfrm>
            <a:off x="3671454" y="1104899"/>
            <a:ext cx="1800000" cy="353291"/>
          </a:xfrm>
          <a:prstGeom prst="roundRect">
            <a:avLst>
              <a:gd name="adj" fmla="val 5000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t>Nom</a:t>
            </a:r>
          </a:p>
        </p:txBody>
      </p:sp>
      <p:sp>
        <p:nvSpPr>
          <p:cNvPr id="7" name="Rectangle : coins arrondis 6">
            <a:extLst>
              <a:ext uri="{FF2B5EF4-FFF2-40B4-BE49-F238E27FC236}">
                <a16:creationId xmlns:a16="http://schemas.microsoft.com/office/drawing/2014/main" id="{BC1B3AA4-AB13-D74F-7F23-CE3DB5B81AD8}"/>
              </a:ext>
            </a:extLst>
          </p:cNvPr>
          <p:cNvSpPr/>
          <p:nvPr/>
        </p:nvSpPr>
        <p:spPr>
          <a:xfrm>
            <a:off x="3671454" y="1518803"/>
            <a:ext cx="1800000" cy="353291"/>
          </a:xfrm>
          <a:prstGeom prst="roundRect">
            <a:avLst>
              <a:gd name="adj" fmla="val 5000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err="1"/>
              <a:t>Rôle</a:t>
            </a:r>
            <a:endParaRPr lang="en-US" sz="1600" b="1"/>
          </a:p>
        </p:txBody>
      </p:sp>
      <p:sp>
        <p:nvSpPr>
          <p:cNvPr id="10" name="Forme libre : forme 15">
            <a:extLst>
              <a:ext uri="{FF2B5EF4-FFF2-40B4-BE49-F238E27FC236}">
                <a16:creationId xmlns:a16="http://schemas.microsoft.com/office/drawing/2014/main" id="{9B2E61AE-C64D-129D-8132-53A54FB9F54A}"/>
              </a:ext>
            </a:extLst>
          </p:cNvPr>
          <p:cNvSpPr/>
          <p:nvPr/>
        </p:nvSpPr>
        <p:spPr>
          <a:xfrm>
            <a:off x="2253656" y="-865956"/>
            <a:ext cx="1128540" cy="8680589"/>
          </a:xfrm>
          <a:custGeom>
            <a:avLst/>
            <a:gdLst>
              <a:gd name="connsiteX0" fmla="*/ 6944 w 1128540"/>
              <a:gd name="connsiteY0" fmla="*/ 802456 h 8680589"/>
              <a:gd name="connsiteX1" fmla="*/ 489544 w 1128540"/>
              <a:gd name="connsiteY1" fmla="*/ 2529656 h 8680589"/>
              <a:gd name="connsiteX2" fmla="*/ 273644 w 1128540"/>
              <a:gd name="connsiteY2" fmla="*/ 4434656 h 8680589"/>
              <a:gd name="connsiteX3" fmla="*/ 413344 w 1128540"/>
              <a:gd name="connsiteY3" fmla="*/ 6098356 h 8680589"/>
              <a:gd name="connsiteX4" fmla="*/ 6944 w 1128540"/>
              <a:gd name="connsiteY4" fmla="*/ 7088956 h 8680589"/>
              <a:gd name="connsiteX5" fmla="*/ 337144 w 1128540"/>
              <a:gd name="connsiteY5" fmla="*/ 8092256 h 8680589"/>
              <a:gd name="connsiteX6" fmla="*/ 1086444 w 1128540"/>
              <a:gd name="connsiteY6" fmla="*/ 8079556 h 8680589"/>
              <a:gd name="connsiteX7" fmla="*/ 921344 w 1128540"/>
              <a:gd name="connsiteY7" fmla="*/ 548456 h 8680589"/>
              <a:gd name="connsiteX8" fmla="*/ 6944 w 1128540"/>
              <a:gd name="connsiteY8" fmla="*/ 802456 h 8680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28540" h="8680589">
                <a:moveTo>
                  <a:pt x="6944" y="802456"/>
                </a:moveTo>
                <a:cubicBezTo>
                  <a:pt x="-65023" y="1132656"/>
                  <a:pt x="445094" y="1924289"/>
                  <a:pt x="489544" y="2529656"/>
                </a:cubicBezTo>
                <a:cubicBezTo>
                  <a:pt x="533994" y="3135023"/>
                  <a:pt x="286344" y="3839873"/>
                  <a:pt x="273644" y="4434656"/>
                </a:cubicBezTo>
                <a:cubicBezTo>
                  <a:pt x="260944" y="5029439"/>
                  <a:pt x="457794" y="5655973"/>
                  <a:pt x="413344" y="6098356"/>
                </a:cubicBezTo>
                <a:cubicBezTo>
                  <a:pt x="368894" y="6540739"/>
                  <a:pt x="19644" y="6756639"/>
                  <a:pt x="6944" y="7088956"/>
                </a:cubicBezTo>
                <a:cubicBezTo>
                  <a:pt x="-5756" y="7421273"/>
                  <a:pt x="157227" y="7927156"/>
                  <a:pt x="337144" y="8092256"/>
                </a:cubicBezTo>
                <a:cubicBezTo>
                  <a:pt x="517061" y="8257356"/>
                  <a:pt x="989077" y="9336856"/>
                  <a:pt x="1086444" y="8079556"/>
                </a:cubicBezTo>
                <a:cubicBezTo>
                  <a:pt x="1183811" y="6822256"/>
                  <a:pt x="1105494" y="1765539"/>
                  <a:pt x="921344" y="548456"/>
                </a:cubicBezTo>
                <a:cubicBezTo>
                  <a:pt x="737194" y="-668627"/>
                  <a:pt x="78911" y="472256"/>
                  <a:pt x="6944" y="80245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17" name="Rectangle 16">
            <a:extLst>
              <a:ext uri="{FF2B5EF4-FFF2-40B4-BE49-F238E27FC236}">
                <a16:creationId xmlns:a16="http://schemas.microsoft.com/office/drawing/2014/main" id="{A805F1ED-7209-4707-B1F6-9AF87973E6C9}"/>
              </a:ext>
            </a:extLst>
          </p:cNvPr>
          <p:cNvSpPr/>
          <p:nvPr/>
        </p:nvSpPr>
        <p:spPr>
          <a:xfrm>
            <a:off x="2779145" y="2002797"/>
            <a:ext cx="9000000" cy="43242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algn="l"/>
            <a:r>
              <a:rPr lang="fr-FR" sz="1100" b="1" i="0">
                <a:solidFill>
                  <a:srgbClr val="0D0D0D"/>
                </a:solidFill>
                <a:effectLst/>
              </a:rPr>
              <a:t>Consultant:</a:t>
            </a:r>
            <a:r>
              <a:rPr lang="fr-FR" sz="1100" b="0" i="0">
                <a:solidFill>
                  <a:srgbClr val="0D0D0D"/>
                </a:solidFill>
                <a:effectLst/>
              </a:rPr>
              <a:t> Bonjour Elodie, ravi de vous rencontrer. Pouvez-vous nous partager les éléments que vous avez identifiés comme problématiques dans le fonctionnement actuel ?</a:t>
            </a:r>
          </a:p>
          <a:p>
            <a:pPr algn="l"/>
            <a:endParaRPr lang="fr-FR" sz="1100" b="0" i="0">
              <a:solidFill>
                <a:srgbClr val="0D0D0D"/>
              </a:solidFill>
              <a:effectLst/>
            </a:endParaRPr>
          </a:p>
          <a:p>
            <a:pPr algn="l"/>
            <a:r>
              <a:rPr lang="fr-FR" sz="1100" b="1">
                <a:solidFill>
                  <a:srgbClr val="0D0D0D"/>
                </a:solidFill>
              </a:rPr>
              <a:t>JH </a:t>
            </a:r>
            <a:r>
              <a:rPr lang="fr-FR" sz="1100" b="0" i="0">
                <a:solidFill>
                  <a:srgbClr val="0D0D0D"/>
                </a:solidFill>
                <a:effectLst/>
              </a:rPr>
              <a:t>: Bonjour, absolument. Actuellement, ce qui me marque le plus, ce sont les difficultés rencontrées dans l'exploitation de notre base de données d'incidents et de causes associées. Nous disposons d'une mine d'informations précieuses, mais nous ne parvenons pas à en tirer pleinement parti. Cette sous-utilisation de nos données compromet notre capacité à prévenir efficacement les incidents futurs et à améliorer la fiabilité de notre réseau. Notre objectif ultime est d'utiliser cette base de données, basée sur l'historique riche de notre réseau, pour développer une intelligence artificielle entraînée à proposer des pistes de causes racines pour les incidents.</a:t>
            </a:r>
          </a:p>
          <a:p>
            <a:pPr algn="l"/>
            <a:endParaRPr lang="fr-FR" sz="1100" b="0" i="0">
              <a:solidFill>
                <a:srgbClr val="0D0D0D"/>
              </a:solidFill>
              <a:effectLst/>
            </a:endParaRPr>
          </a:p>
          <a:p>
            <a:pPr algn="l"/>
            <a:r>
              <a:rPr lang="fr-FR" sz="1100" b="1" i="0">
                <a:solidFill>
                  <a:srgbClr val="0D0D0D"/>
                </a:solidFill>
                <a:effectLst/>
              </a:rPr>
              <a:t>Consultant</a:t>
            </a:r>
            <a:r>
              <a:rPr lang="fr-FR" sz="1100" b="0" i="0">
                <a:solidFill>
                  <a:srgbClr val="0D0D0D"/>
                </a:solidFill>
                <a:effectLst/>
              </a:rPr>
              <a:t>: Cela semble être un vrai défi. Pouvez-vous nous en dire plus sur la manière dont vous envisagez d'utiliser cette IA et comment elle serait intégrée dans vos processus opérationnels ?</a:t>
            </a:r>
          </a:p>
          <a:p>
            <a:pPr algn="l"/>
            <a:endParaRPr lang="fr-FR" sz="1100" b="0" i="0">
              <a:solidFill>
                <a:srgbClr val="0D0D0D"/>
              </a:solidFill>
              <a:effectLst/>
            </a:endParaRPr>
          </a:p>
          <a:p>
            <a:pPr algn="l"/>
            <a:r>
              <a:rPr lang="fr-FR" sz="1100" b="1">
                <a:solidFill>
                  <a:srgbClr val="0D0D0D"/>
                </a:solidFill>
              </a:rPr>
              <a:t>JH</a:t>
            </a:r>
            <a:r>
              <a:rPr lang="fr-FR" sz="1100" b="1" i="0">
                <a:solidFill>
                  <a:srgbClr val="0D0D0D"/>
                </a:solidFill>
                <a:effectLst/>
              </a:rPr>
              <a:t> </a:t>
            </a:r>
            <a:r>
              <a:rPr lang="fr-FR" sz="1100" b="0" i="0">
                <a:solidFill>
                  <a:srgbClr val="0D0D0D"/>
                </a:solidFill>
                <a:effectLst/>
              </a:rPr>
              <a:t>: Absolument. Notre vision est d'intégrer cette IA dans notre système de gestion des incidents, afin qu'elle puisse analyser automatiquement les données de notre base de données et proposer des pistes de causes racines pour chaque incident. Cette IA serait ensuite associée à une boucle de validation, où les opérateurs pourraient confirmer ou rejeter les propositions de l'IA. Ce processus de validation permettrait à l'IA d'apprendre en continu et d'améliorer ses capacités au fil du temps, en s'adaptant aux spécificités de notre réseau.</a:t>
            </a:r>
          </a:p>
          <a:p>
            <a:pPr algn="l"/>
            <a:endParaRPr lang="fr-FR" sz="1100" b="0" i="0">
              <a:solidFill>
                <a:srgbClr val="0D0D0D"/>
              </a:solidFill>
              <a:effectLst/>
            </a:endParaRPr>
          </a:p>
          <a:p>
            <a:pPr algn="l"/>
            <a:r>
              <a:rPr lang="fr-FR" sz="1100" b="1" i="0">
                <a:solidFill>
                  <a:srgbClr val="0D0D0D"/>
                </a:solidFill>
                <a:effectLst/>
              </a:rPr>
              <a:t>Consultant</a:t>
            </a:r>
            <a:r>
              <a:rPr lang="fr-FR" sz="1100" b="0" i="0">
                <a:solidFill>
                  <a:srgbClr val="0D0D0D"/>
                </a:solidFill>
                <a:effectLst/>
              </a:rPr>
              <a:t>: C'est une approche très intéressante. Avez-vous déjà commencé à travailler sur la mise en place de ce système ?</a:t>
            </a:r>
          </a:p>
          <a:p>
            <a:pPr algn="l"/>
            <a:endParaRPr lang="fr-FR" sz="1100" b="0" i="0">
              <a:solidFill>
                <a:srgbClr val="0D0D0D"/>
              </a:solidFill>
              <a:effectLst/>
            </a:endParaRPr>
          </a:p>
          <a:p>
            <a:pPr algn="l"/>
            <a:r>
              <a:rPr lang="fr-FR" sz="1100" b="1">
                <a:solidFill>
                  <a:srgbClr val="0D0D0D"/>
                </a:solidFill>
              </a:rPr>
              <a:t>JH </a:t>
            </a:r>
            <a:r>
              <a:rPr lang="fr-FR" sz="1100" b="0" i="0">
                <a:solidFill>
                  <a:srgbClr val="0D0D0D"/>
                </a:solidFill>
                <a:effectLst/>
              </a:rPr>
              <a:t>: Nous sommes encore au stade de la planification, mais nous avons déjà identifié les ressources nécessaires et commencé à explorer les options technologiques disponibles sur le marché. Nous sommes convaincus que cette approche nous permettra de maximiser la valeur de notre base de données d'incidents et d'améliorer considérablement notre capacité à gérer les incidents ferroviaires de manière proactive.</a:t>
            </a:r>
          </a:p>
          <a:p>
            <a:pPr algn="l"/>
            <a:endParaRPr lang="fr-FR" sz="1100" b="0" i="0">
              <a:solidFill>
                <a:srgbClr val="0D0D0D"/>
              </a:solidFill>
              <a:effectLst/>
            </a:endParaRPr>
          </a:p>
          <a:p>
            <a:pPr algn="l"/>
            <a:r>
              <a:rPr lang="fr-FR" sz="1100" b="1" i="0">
                <a:solidFill>
                  <a:srgbClr val="0D0D0D"/>
                </a:solidFill>
                <a:effectLst/>
              </a:rPr>
              <a:t>Consultant</a:t>
            </a:r>
            <a:r>
              <a:rPr lang="fr-FR" sz="1100" b="0" i="0">
                <a:solidFill>
                  <a:srgbClr val="0D0D0D"/>
                </a:solidFill>
                <a:effectLst/>
              </a:rPr>
              <a:t>: Merci pour ces informations.</a:t>
            </a:r>
          </a:p>
        </p:txBody>
      </p:sp>
    </p:spTree>
    <p:extLst>
      <p:ext uri="{BB962C8B-B14F-4D97-AF65-F5344CB8AC3E}">
        <p14:creationId xmlns:p14="http://schemas.microsoft.com/office/powerpoint/2010/main" val="364802792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 coins arrondis 8">
            <a:extLst>
              <a:ext uri="{FF2B5EF4-FFF2-40B4-BE49-F238E27FC236}">
                <a16:creationId xmlns:a16="http://schemas.microsoft.com/office/drawing/2014/main" id="{A0F9A617-2BBC-4936-7671-F1E6E7526787}"/>
              </a:ext>
            </a:extLst>
          </p:cNvPr>
          <p:cNvSpPr/>
          <p:nvPr/>
        </p:nvSpPr>
        <p:spPr>
          <a:xfrm>
            <a:off x="3671454" y="1518803"/>
            <a:ext cx="6075219" cy="353291"/>
          </a:xfrm>
          <a:prstGeom prst="round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90000" rtlCol="0" anchor="ctr"/>
          <a:lstStyle/>
          <a:p>
            <a:r>
              <a:rPr lang="en-US" sz="1600" b="1">
                <a:solidFill>
                  <a:schemeClr val="tx1"/>
                </a:solidFill>
              </a:rPr>
              <a:t>Chef de machine</a:t>
            </a:r>
          </a:p>
        </p:txBody>
      </p:sp>
      <p:sp>
        <p:nvSpPr>
          <p:cNvPr id="8" name="Rectangle : coins arrondis 7">
            <a:extLst>
              <a:ext uri="{FF2B5EF4-FFF2-40B4-BE49-F238E27FC236}">
                <a16:creationId xmlns:a16="http://schemas.microsoft.com/office/drawing/2014/main" id="{DDC20064-D08C-20BF-959E-49B88BAF5877}"/>
              </a:ext>
            </a:extLst>
          </p:cNvPr>
          <p:cNvSpPr/>
          <p:nvPr/>
        </p:nvSpPr>
        <p:spPr>
          <a:xfrm>
            <a:off x="3671454" y="1104899"/>
            <a:ext cx="6075219" cy="353291"/>
          </a:xfrm>
          <a:prstGeom prst="round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90000" rtlCol="0" anchor="ctr"/>
          <a:lstStyle/>
          <a:p>
            <a:r>
              <a:rPr lang="en-US" sz="1600" b="1">
                <a:solidFill>
                  <a:schemeClr val="tx1"/>
                </a:solidFill>
              </a:rPr>
              <a:t>Oscar Gault</a:t>
            </a:r>
          </a:p>
        </p:txBody>
      </p:sp>
      <p:graphicFrame>
        <p:nvGraphicFramePr>
          <p:cNvPr id="40" name="Object 39" hidden="1">
            <a:extLst>
              <a:ext uri="{FF2B5EF4-FFF2-40B4-BE49-F238E27FC236}">
                <a16:creationId xmlns:a16="http://schemas.microsoft.com/office/drawing/2014/main" id="{67E782CD-476C-4DD7-9A91-7744325DB4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3" imgH="503" progId="TCLayout.ActiveDocument.1">
                  <p:embed/>
                </p:oleObj>
              </mc:Choice>
              <mc:Fallback>
                <p:oleObj name="think-cell Slide" r:id="rId4" imgW="503" imgH="503" progId="TCLayout.ActiveDocument.1">
                  <p:embed/>
                  <p:pic>
                    <p:nvPicPr>
                      <p:cNvPr id="40" name="Object 39" hidden="1">
                        <a:extLst>
                          <a:ext uri="{FF2B5EF4-FFF2-40B4-BE49-F238E27FC236}">
                            <a16:creationId xmlns:a16="http://schemas.microsoft.com/office/drawing/2014/main" id="{67E782CD-476C-4DD7-9A91-7744325DB4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re 4">
            <a:extLst>
              <a:ext uri="{FF2B5EF4-FFF2-40B4-BE49-F238E27FC236}">
                <a16:creationId xmlns:a16="http://schemas.microsoft.com/office/drawing/2014/main" id="{12DE26FF-A054-560A-E220-28B59D593BF5}"/>
              </a:ext>
            </a:extLst>
          </p:cNvPr>
          <p:cNvSpPr>
            <a:spLocks noGrp="1"/>
          </p:cNvSpPr>
          <p:nvPr>
            <p:ph type="title"/>
          </p:nvPr>
        </p:nvSpPr>
        <p:spPr>
          <a:xfrm>
            <a:off x="3941617" y="388188"/>
            <a:ext cx="7410967" cy="716711"/>
          </a:xfrm>
        </p:spPr>
        <p:txBody>
          <a:bodyPr anchor="t"/>
          <a:lstStyle/>
          <a:p>
            <a:r>
              <a:rPr lang="en-US"/>
              <a:t>Entretien #4</a:t>
            </a:r>
          </a:p>
        </p:txBody>
      </p:sp>
      <p:sp>
        <p:nvSpPr>
          <p:cNvPr id="6" name="Rectangle : coins arrondis 5">
            <a:extLst>
              <a:ext uri="{FF2B5EF4-FFF2-40B4-BE49-F238E27FC236}">
                <a16:creationId xmlns:a16="http://schemas.microsoft.com/office/drawing/2014/main" id="{EBE86084-030F-482D-31D5-A3E7DC83D94B}"/>
              </a:ext>
            </a:extLst>
          </p:cNvPr>
          <p:cNvSpPr/>
          <p:nvPr/>
        </p:nvSpPr>
        <p:spPr>
          <a:xfrm>
            <a:off x="3671454" y="1104899"/>
            <a:ext cx="1800000" cy="353291"/>
          </a:xfrm>
          <a:prstGeom prst="roundRect">
            <a:avLst>
              <a:gd name="adj" fmla="val 5000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t>Nom</a:t>
            </a:r>
          </a:p>
        </p:txBody>
      </p:sp>
      <p:sp>
        <p:nvSpPr>
          <p:cNvPr id="7" name="Rectangle : coins arrondis 6">
            <a:extLst>
              <a:ext uri="{FF2B5EF4-FFF2-40B4-BE49-F238E27FC236}">
                <a16:creationId xmlns:a16="http://schemas.microsoft.com/office/drawing/2014/main" id="{BC1B3AA4-AB13-D74F-7F23-CE3DB5B81AD8}"/>
              </a:ext>
            </a:extLst>
          </p:cNvPr>
          <p:cNvSpPr/>
          <p:nvPr/>
        </p:nvSpPr>
        <p:spPr>
          <a:xfrm>
            <a:off x="3671454" y="1518803"/>
            <a:ext cx="1800000" cy="353291"/>
          </a:xfrm>
          <a:prstGeom prst="roundRect">
            <a:avLst>
              <a:gd name="adj" fmla="val 5000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err="1"/>
              <a:t>Rôle</a:t>
            </a:r>
            <a:endParaRPr lang="en-US" sz="1600" b="1"/>
          </a:p>
        </p:txBody>
      </p:sp>
      <p:pic>
        <p:nvPicPr>
          <p:cNvPr id="2" name="Image 1" descr="Homme en chemise à damiers">
            <a:extLst>
              <a:ext uri="{FF2B5EF4-FFF2-40B4-BE49-F238E27FC236}">
                <a16:creationId xmlns:a16="http://schemas.microsoft.com/office/drawing/2014/main" id="{0987E0BA-5B0B-C780-FD5D-CD10FB45FEE3}"/>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0" y="0"/>
            <a:ext cx="2822490" cy="6858000"/>
          </a:xfrm>
          <a:prstGeom prst="rect">
            <a:avLst/>
          </a:prstGeom>
        </p:spPr>
      </p:pic>
      <p:sp>
        <p:nvSpPr>
          <p:cNvPr id="10" name="Forme libre : forme 15">
            <a:extLst>
              <a:ext uri="{FF2B5EF4-FFF2-40B4-BE49-F238E27FC236}">
                <a16:creationId xmlns:a16="http://schemas.microsoft.com/office/drawing/2014/main" id="{9B2E61AE-C64D-129D-8132-53A54FB9F54A}"/>
              </a:ext>
            </a:extLst>
          </p:cNvPr>
          <p:cNvSpPr/>
          <p:nvPr/>
        </p:nvSpPr>
        <p:spPr>
          <a:xfrm>
            <a:off x="2253656" y="-865956"/>
            <a:ext cx="1128540" cy="8680589"/>
          </a:xfrm>
          <a:custGeom>
            <a:avLst/>
            <a:gdLst>
              <a:gd name="connsiteX0" fmla="*/ 6944 w 1128540"/>
              <a:gd name="connsiteY0" fmla="*/ 802456 h 8680589"/>
              <a:gd name="connsiteX1" fmla="*/ 489544 w 1128540"/>
              <a:gd name="connsiteY1" fmla="*/ 2529656 h 8680589"/>
              <a:gd name="connsiteX2" fmla="*/ 273644 w 1128540"/>
              <a:gd name="connsiteY2" fmla="*/ 4434656 h 8680589"/>
              <a:gd name="connsiteX3" fmla="*/ 413344 w 1128540"/>
              <a:gd name="connsiteY3" fmla="*/ 6098356 h 8680589"/>
              <a:gd name="connsiteX4" fmla="*/ 6944 w 1128540"/>
              <a:gd name="connsiteY4" fmla="*/ 7088956 h 8680589"/>
              <a:gd name="connsiteX5" fmla="*/ 337144 w 1128540"/>
              <a:gd name="connsiteY5" fmla="*/ 8092256 h 8680589"/>
              <a:gd name="connsiteX6" fmla="*/ 1086444 w 1128540"/>
              <a:gd name="connsiteY6" fmla="*/ 8079556 h 8680589"/>
              <a:gd name="connsiteX7" fmla="*/ 921344 w 1128540"/>
              <a:gd name="connsiteY7" fmla="*/ 548456 h 8680589"/>
              <a:gd name="connsiteX8" fmla="*/ 6944 w 1128540"/>
              <a:gd name="connsiteY8" fmla="*/ 802456 h 8680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28540" h="8680589">
                <a:moveTo>
                  <a:pt x="6944" y="802456"/>
                </a:moveTo>
                <a:cubicBezTo>
                  <a:pt x="-65023" y="1132656"/>
                  <a:pt x="445094" y="1924289"/>
                  <a:pt x="489544" y="2529656"/>
                </a:cubicBezTo>
                <a:cubicBezTo>
                  <a:pt x="533994" y="3135023"/>
                  <a:pt x="286344" y="3839873"/>
                  <a:pt x="273644" y="4434656"/>
                </a:cubicBezTo>
                <a:cubicBezTo>
                  <a:pt x="260944" y="5029439"/>
                  <a:pt x="457794" y="5655973"/>
                  <a:pt x="413344" y="6098356"/>
                </a:cubicBezTo>
                <a:cubicBezTo>
                  <a:pt x="368894" y="6540739"/>
                  <a:pt x="19644" y="6756639"/>
                  <a:pt x="6944" y="7088956"/>
                </a:cubicBezTo>
                <a:cubicBezTo>
                  <a:pt x="-5756" y="7421273"/>
                  <a:pt x="157227" y="7927156"/>
                  <a:pt x="337144" y="8092256"/>
                </a:cubicBezTo>
                <a:cubicBezTo>
                  <a:pt x="517061" y="8257356"/>
                  <a:pt x="989077" y="9336856"/>
                  <a:pt x="1086444" y="8079556"/>
                </a:cubicBezTo>
                <a:cubicBezTo>
                  <a:pt x="1183811" y="6822256"/>
                  <a:pt x="1105494" y="1765539"/>
                  <a:pt x="921344" y="548456"/>
                </a:cubicBezTo>
                <a:cubicBezTo>
                  <a:pt x="737194" y="-668627"/>
                  <a:pt x="78911" y="472256"/>
                  <a:pt x="6944" y="80245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17" name="Rectangle 16">
            <a:extLst>
              <a:ext uri="{FF2B5EF4-FFF2-40B4-BE49-F238E27FC236}">
                <a16:creationId xmlns:a16="http://schemas.microsoft.com/office/drawing/2014/main" id="{A805F1ED-7209-4707-B1F6-9AF87973E6C9}"/>
              </a:ext>
            </a:extLst>
          </p:cNvPr>
          <p:cNvSpPr/>
          <p:nvPr/>
        </p:nvSpPr>
        <p:spPr>
          <a:xfrm>
            <a:off x="2779145" y="1835532"/>
            <a:ext cx="9000000" cy="54476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algn="l"/>
            <a:r>
              <a:rPr lang="fr-FR" sz="1200" b="1">
                <a:solidFill>
                  <a:srgbClr val="0D0D0D"/>
                </a:solidFill>
              </a:rPr>
              <a:t>Consultant</a:t>
            </a:r>
            <a:r>
              <a:rPr lang="fr-FR" sz="1200" b="0" i="0">
                <a:solidFill>
                  <a:srgbClr val="0D0D0D"/>
                </a:solidFill>
                <a:effectLst/>
              </a:rPr>
              <a:t> : Bonjour Monsieur Gault, merci de nous accorder cette interview. Pouvez-vous nous expliquer comment se déroule la collecte des données ?</a:t>
            </a:r>
          </a:p>
          <a:p>
            <a:pPr algn="l"/>
            <a:r>
              <a:rPr lang="fr-FR" sz="1200" b="1">
                <a:solidFill>
                  <a:srgbClr val="0D0D0D"/>
                </a:solidFill>
              </a:rPr>
              <a:t>OG</a:t>
            </a:r>
            <a:r>
              <a:rPr lang="fr-FR" sz="1200" b="0" i="0">
                <a:solidFill>
                  <a:srgbClr val="0D0D0D"/>
                </a:solidFill>
                <a:effectLst/>
              </a:rPr>
              <a:t> : Bonjour. Chaque jour, après mon travail sur le terrain, je procède à la collecte des données à l'aide de l'engin de mesure dédié. Cette collecte consiste à enregistrer diverses informations essentielles pour le bon fonctionnement des opérations ferroviaires.</a:t>
            </a:r>
          </a:p>
          <a:p>
            <a:pPr algn="l"/>
            <a:r>
              <a:rPr lang="fr-FR" sz="1200" b="1">
                <a:solidFill>
                  <a:srgbClr val="0D0D0D"/>
                </a:solidFill>
              </a:rPr>
              <a:t>Consultant</a:t>
            </a:r>
            <a:r>
              <a:rPr lang="fr-FR" sz="1200" b="0" i="0">
                <a:solidFill>
                  <a:srgbClr val="0D0D0D"/>
                </a:solidFill>
                <a:effectLst/>
              </a:rPr>
              <a:t> : Pouvez-vous détailler le processus de collecte des données une fois sur le terrain ?</a:t>
            </a:r>
          </a:p>
          <a:p>
            <a:pPr algn="l"/>
            <a:r>
              <a:rPr lang="fr-FR" sz="1200" b="1">
                <a:solidFill>
                  <a:srgbClr val="0D0D0D"/>
                </a:solidFill>
              </a:rPr>
              <a:t>OG </a:t>
            </a:r>
            <a:r>
              <a:rPr lang="fr-FR" sz="1200" b="0" i="0">
                <a:solidFill>
                  <a:srgbClr val="0D0D0D"/>
                </a:solidFill>
                <a:effectLst/>
              </a:rPr>
              <a:t>: Une fois ma journée de travail terminée, je connecte une clé USB à l'engin de mesure pour télécharger toutes les données enregistrées au cours de la journée. Cette étape est cruciale car elle garantit que toutes les informations nécessaires sont capturées pour une analyse ultérieure.</a:t>
            </a:r>
          </a:p>
          <a:p>
            <a:pPr algn="l"/>
            <a:r>
              <a:rPr lang="fr-FR" sz="1200" b="1">
                <a:solidFill>
                  <a:srgbClr val="0D0D0D"/>
                </a:solidFill>
              </a:rPr>
              <a:t>Consultant</a:t>
            </a:r>
            <a:r>
              <a:rPr lang="fr-FR" sz="1200" b="0" i="0">
                <a:solidFill>
                  <a:srgbClr val="0D0D0D"/>
                </a:solidFill>
                <a:effectLst/>
              </a:rPr>
              <a:t> : Qu'advient-il des données une fois qu'elles sont téléchargées sur la clé USB ?</a:t>
            </a:r>
          </a:p>
          <a:p>
            <a:pPr algn="l"/>
            <a:r>
              <a:rPr lang="fr-FR" sz="1200" b="1" i="0">
                <a:solidFill>
                  <a:srgbClr val="0D0D0D"/>
                </a:solidFill>
                <a:effectLst/>
              </a:rPr>
              <a:t>OG</a:t>
            </a:r>
            <a:r>
              <a:rPr lang="fr-FR" sz="1200" b="0" i="0">
                <a:solidFill>
                  <a:srgbClr val="0D0D0D"/>
                </a:solidFill>
                <a:effectLst/>
              </a:rPr>
              <a:t> : Une fois les données téléchargées, je me rends au bureau où je transfère manuellement les informations de la clé USB vers notre base de données centrale. Ce processus peut parfois être fastidieux, surtout lorsque les fichiers sont volumineux ou lorsque plusieurs enregistrements doivent être traités. </a:t>
            </a:r>
          </a:p>
          <a:p>
            <a:pPr algn="l"/>
            <a:r>
              <a:rPr lang="fr-FR" sz="1200" b="1">
                <a:solidFill>
                  <a:srgbClr val="0D0D0D"/>
                </a:solidFill>
              </a:rPr>
              <a:t>Consultant</a:t>
            </a:r>
            <a:r>
              <a:rPr lang="fr-FR" sz="1200" b="0" i="0">
                <a:solidFill>
                  <a:srgbClr val="0D0D0D"/>
                </a:solidFill>
                <a:effectLst/>
              </a:rPr>
              <a:t> : Quels sont les principaux défis que vous rencontrez avec cette méthode de collecte de données ?</a:t>
            </a:r>
          </a:p>
          <a:p>
            <a:pPr algn="l"/>
            <a:r>
              <a:rPr lang="fr-FR" sz="1200" b="1" i="0">
                <a:solidFill>
                  <a:srgbClr val="0D0D0D"/>
                </a:solidFill>
                <a:effectLst/>
              </a:rPr>
              <a:t>OG</a:t>
            </a:r>
            <a:r>
              <a:rPr lang="fr-FR" sz="1200" b="0" i="0">
                <a:solidFill>
                  <a:srgbClr val="0D0D0D"/>
                </a:solidFill>
                <a:effectLst/>
              </a:rPr>
              <a:t> : Le principal défi réside dans le fait que ce processus est assez chronophage. Après une journée de travail, devoir encore consacrer du temps à transférer et vérifier les données peut être assez laborieux. De plus, il existe toujours un risque de perte de données en cas d'erreur lors du transfert ou de défaillance de la clé USB. Et encore, si la collecte se passe bien ! Il arrive parfois que l’engin de mesure ne fonctionne pas et qu’aucune donnée ne soit prélevée.</a:t>
            </a:r>
          </a:p>
          <a:p>
            <a:pPr algn="l"/>
            <a:r>
              <a:rPr lang="fr-FR" sz="1200" b="1">
                <a:solidFill>
                  <a:srgbClr val="0D0D0D"/>
                </a:solidFill>
              </a:rPr>
              <a:t>Consultant</a:t>
            </a:r>
            <a:r>
              <a:rPr lang="fr-FR" sz="1200" b="1" i="0">
                <a:solidFill>
                  <a:srgbClr val="0D0D0D"/>
                </a:solidFill>
                <a:effectLst/>
              </a:rPr>
              <a:t> </a:t>
            </a:r>
            <a:r>
              <a:rPr lang="fr-FR" sz="1200" b="0" i="0">
                <a:solidFill>
                  <a:srgbClr val="0D0D0D"/>
                </a:solidFill>
                <a:effectLst/>
              </a:rPr>
              <a:t>: Avez-vous des suggestions sur la façon dont ce processus pourrait être amélioré ?</a:t>
            </a:r>
          </a:p>
          <a:p>
            <a:pPr algn="l"/>
            <a:r>
              <a:rPr lang="fr-FR" sz="1200" b="1">
                <a:solidFill>
                  <a:srgbClr val="0D0D0D"/>
                </a:solidFill>
              </a:rPr>
              <a:t>OG</a:t>
            </a:r>
            <a:r>
              <a:rPr lang="fr-FR" sz="1200" b="1" i="0">
                <a:solidFill>
                  <a:srgbClr val="0D0D0D"/>
                </a:solidFill>
                <a:effectLst/>
              </a:rPr>
              <a:t> </a:t>
            </a:r>
            <a:r>
              <a:rPr lang="fr-FR" sz="1200" b="0" i="0">
                <a:solidFill>
                  <a:srgbClr val="0D0D0D"/>
                </a:solidFill>
                <a:effectLst/>
              </a:rPr>
              <a:t>: Absolument. Une automatisation du processus de collecte et de transfert des données serait extrêmement bénéfique. Si nous pouvions mettre en place un système qui permettrait un transfert direct des données de l'engin de mesure vers notre base de données centrale, cela nous ferait gagner un temps précieux et réduirait considérablement le risque d'erreurs ou de pertes de données. Et si ceci n’est pas possible, au moins changer les engins de mesures. En Allemagne</a:t>
            </a:r>
            <a:r>
              <a:rPr lang="fr-FR" sz="1200">
                <a:solidFill>
                  <a:srgbClr val="0D0D0D"/>
                </a:solidFill>
              </a:rPr>
              <a:t> ils ont des engins plus récents et plus performants !</a:t>
            </a:r>
            <a:endParaRPr lang="fr-FR" sz="1200" b="0" i="0">
              <a:solidFill>
                <a:srgbClr val="0D0D0D"/>
              </a:solidFill>
              <a:effectLst/>
            </a:endParaRPr>
          </a:p>
          <a:p>
            <a:pPr algn="l"/>
            <a:r>
              <a:rPr lang="fr-FR" sz="1200" b="1">
                <a:solidFill>
                  <a:srgbClr val="0D0D0D"/>
                </a:solidFill>
              </a:rPr>
              <a:t>Consultant</a:t>
            </a:r>
            <a:r>
              <a:rPr lang="fr-FR" sz="1200" b="0" i="0">
                <a:solidFill>
                  <a:srgbClr val="0D0D0D"/>
                </a:solidFill>
                <a:effectLst/>
              </a:rPr>
              <a:t> : Une proposition très intéressante. Merci Monsieur Gault pour ces informations détaillées.</a:t>
            </a:r>
          </a:p>
          <a:p>
            <a:pPr algn="l"/>
            <a:r>
              <a:rPr lang="fr-FR" sz="1200" b="1">
                <a:solidFill>
                  <a:srgbClr val="0D0D0D"/>
                </a:solidFill>
              </a:rPr>
              <a:t>OG </a:t>
            </a:r>
            <a:r>
              <a:rPr lang="fr-FR" sz="1200" b="0" i="0">
                <a:solidFill>
                  <a:srgbClr val="0D0D0D"/>
                </a:solidFill>
                <a:effectLst/>
              </a:rPr>
              <a:t>: Je vous en prie. J'espère sincèrement que ces suggestions seront prises en compte pour optimiser notre processus de collecte de données et améliorer ainsi notre efficacité opérationnelle.</a:t>
            </a:r>
          </a:p>
          <a:p>
            <a:pPr algn="l"/>
            <a:endParaRPr lang="fr-FR" sz="1200" b="0" i="0">
              <a:solidFill>
                <a:srgbClr val="0D0D0D"/>
              </a:solidFill>
              <a:effectLst/>
            </a:endParaRPr>
          </a:p>
          <a:p>
            <a:pPr algn="l"/>
            <a:endParaRPr lang="fr-FR" sz="1200" b="0" i="0">
              <a:solidFill>
                <a:srgbClr val="0D0D0D"/>
              </a:solidFill>
              <a:effectLst/>
            </a:endParaRPr>
          </a:p>
        </p:txBody>
      </p:sp>
    </p:spTree>
    <p:extLst>
      <p:ext uri="{BB962C8B-B14F-4D97-AF65-F5344CB8AC3E}">
        <p14:creationId xmlns:p14="http://schemas.microsoft.com/office/powerpoint/2010/main" val="301988886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 coins arrondis 8">
            <a:extLst>
              <a:ext uri="{FF2B5EF4-FFF2-40B4-BE49-F238E27FC236}">
                <a16:creationId xmlns:a16="http://schemas.microsoft.com/office/drawing/2014/main" id="{A0F9A617-2BBC-4936-7671-F1E6E7526787}"/>
              </a:ext>
            </a:extLst>
          </p:cNvPr>
          <p:cNvSpPr/>
          <p:nvPr/>
        </p:nvSpPr>
        <p:spPr>
          <a:xfrm>
            <a:off x="3671454" y="1518803"/>
            <a:ext cx="6075219" cy="353291"/>
          </a:xfrm>
          <a:prstGeom prst="round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90000" rtlCol="0" anchor="ctr"/>
          <a:lstStyle/>
          <a:p>
            <a:r>
              <a:rPr lang="en-US" sz="1600" b="1">
                <a:solidFill>
                  <a:schemeClr val="tx1"/>
                </a:solidFill>
              </a:rPr>
              <a:t>Directrice Logistique</a:t>
            </a:r>
          </a:p>
        </p:txBody>
      </p:sp>
      <p:sp>
        <p:nvSpPr>
          <p:cNvPr id="8" name="Rectangle : coins arrondis 7">
            <a:extLst>
              <a:ext uri="{FF2B5EF4-FFF2-40B4-BE49-F238E27FC236}">
                <a16:creationId xmlns:a16="http://schemas.microsoft.com/office/drawing/2014/main" id="{DDC20064-D08C-20BF-959E-49B88BAF5877}"/>
              </a:ext>
            </a:extLst>
          </p:cNvPr>
          <p:cNvSpPr/>
          <p:nvPr/>
        </p:nvSpPr>
        <p:spPr>
          <a:xfrm>
            <a:off x="3671454" y="1104899"/>
            <a:ext cx="6075219" cy="353291"/>
          </a:xfrm>
          <a:prstGeom prst="round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90000" rtlCol="0" anchor="ctr"/>
          <a:lstStyle/>
          <a:p>
            <a:r>
              <a:rPr lang="en-US" sz="1600" b="1" err="1">
                <a:solidFill>
                  <a:schemeClr val="tx1"/>
                </a:solidFill>
              </a:rPr>
              <a:t>Célia</a:t>
            </a:r>
            <a:r>
              <a:rPr lang="en-US" sz="1600" b="1">
                <a:solidFill>
                  <a:schemeClr val="tx1"/>
                </a:solidFill>
              </a:rPr>
              <a:t> </a:t>
            </a:r>
            <a:r>
              <a:rPr lang="en-US" sz="1600" b="1" err="1">
                <a:solidFill>
                  <a:schemeClr val="tx1"/>
                </a:solidFill>
              </a:rPr>
              <a:t>Graive</a:t>
            </a:r>
            <a:endParaRPr lang="en-US" sz="1600" b="1">
              <a:solidFill>
                <a:schemeClr val="tx1"/>
              </a:solidFill>
            </a:endParaRPr>
          </a:p>
        </p:txBody>
      </p:sp>
      <p:graphicFrame>
        <p:nvGraphicFramePr>
          <p:cNvPr id="40" name="Object 39" hidden="1">
            <a:extLst>
              <a:ext uri="{FF2B5EF4-FFF2-40B4-BE49-F238E27FC236}">
                <a16:creationId xmlns:a16="http://schemas.microsoft.com/office/drawing/2014/main" id="{67E782CD-476C-4DD7-9A91-7744325DB4F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3" imgH="503" progId="TCLayout.ActiveDocument.1">
                  <p:embed/>
                </p:oleObj>
              </mc:Choice>
              <mc:Fallback>
                <p:oleObj name="think-cell Slide" r:id="rId4" imgW="503" imgH="503" progId="TCLayout.ActiveDocument.1">
                  <p:embed/>
                  <p:pic>
                    <p:nvPicPr>
                      <p:cNvPr id="40" name="Object 39" hidden="1">
                        <a:extLst>
                          <a:ext uri="{FF2B5EF4-FFF2-40B4-BE49-F238E27FC236}">
                            <a16:creationId xmlns:a16="http://schemas.microsoft.com/office/drawing/2014/main" id="{67E782CD-476C-4DD7-9A91-7744325DB4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re 4">
            <a:extLst>
              <a:ext uri="{FF2B5EF4-FFF2-40B4-BE49-F238E27FC236}">
                <a16:creationId xmlns:a16="http://schemas.microsoft.com/office/drawing/2014/main" id="{12DE26FF-A054-560A-E220-28B59D593BF5}"/>
              </a:ext>
            </a:extLst>
          </p:cNvPr>
          <p:cNvSpPr>
            <a:spLocks noGrp="1"/>
          </p:cNvSpPr>
          <p:nvPr>
            <p:ph type="title"/>
          </p:nvPr>
        </p:nvSpPr>
        <p:spPr>
          <a:xfrm>
            <a:off x="3941617" y="388188"/>
            <a:ext cx="7410967" cy="716711"/>
          </a:xfrm>
        </p:spPr>
        <p:txBody>
          <a:bodyPr anchor="t"/>
          <a:lstStyle/>
          <a:p>
            <a:r>
              <a:rPr lang="en-US"/>
              <a:t>Entretien #5</a:t>
            </a:r>
          </a:p>
        </p:txBody>
      </p:sp>
      <p:sp>
        <p:nvSpPr>
          <p:cNvPr id="6" name="Rectangle : coins arrondis 5">
            <a:extLst>
              <a:ext uri="{FF2B5EF4-FFF2-40B4-BE49-F238E27FC236}">
                <a16:creationId xmlns:a16="http://schemas.microsoft.com/office/drawing/2014/main" id="{EBE86084-030F-482D-31D5-A3E7DC83D94B}"/>
              </a:ext>
            </a:extLst>
          </p:cNvPr>
          <p:cNvSpPr/>
          <p:nvPr/>
        </p:nvSpPr>
        <p:spPr>
          <a:xfrm>
            <a:off x="3671454" y="1104899"/>
            <a:ext cx="1800000" cy="353291"/>
          </a:xfrm>
          <a:prstGeom prst="roundRect">
            <a:avLst>
              <a:gd name="adj" fmla="val 5000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t>Nom</a:t>
            </a:r>
          </a:p>
        </p:txBody>
      </p:sp>
      <p:sp>
        <p:nvSpPr>
          <p:cNvPr id="7" name="Rectangle : coins arrondis 6">
            <a:extLst>
              <a:ext uri="{FF2B5EF4-FFF2-40B4-BE49-F238E27FC236}">
                <a16:creationId xmlns:a16="http://schemas.microsoft.com/office/drawing/2014/main" id="{BC1B3AA4-AB13-D74F-7F23-CE3DB5B81AD8}"/>
              </a:ext>
            </a:extLst>
          </p:cNvPr>
          <p:cNvSpPr/>
          <p:nvPr/>
        </p:nvSpPr>
        <p:spPr>
          <a:xfrm>
            <a:off x="3671454" y="1518803"/>
            <a:ext cx="1800000" cy="353291"/>
          </a:xfrm>
          <a:prstGeom prst="roundRect">
            <a:avLst>
              <a:gd name="adj" fmla="val 5000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err="1"/>
              <a:t>Rôle</a:t>
            </a:r>
            <a:endParaRPr lang="en-US" sz="1600" b="1"/>
          </a:p>
        </p:txBody>
      </p:sp>
      <p:pic>
        <p:nvPicPr>
          <p:cNvPr id="12" name="Image 11" descr="Une femme porte un costume près du port">
            <a:extLst>
              <a:ext uri="{FF2B5EF4-FFF2-40B4-BE49-F238E27FC236}">
                <a16:creationId xmlns:a16="http://schemas.microsoft.com/office/drawing/2014/main" id="{CDDAB462-3FC3-5A39-F48E-46C38C553309}"/>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11151" y="0"/>
            <a:ext cx="2843562" cy="6858000"/>
          </a:xfrm>
          <a:prstGeom prst="rect">
            <a:avLst/>
          </a:prstGeom>
        </p:spPr>
      </p:pic>
      <p:sp>
        <p:nvSpPr>
          <p:cNvPr id="10" name="Forme libre : forme 15">
            <a:extLst>
              <a:ext uri="{FF2B5EF4-FFF2-40B4-BE49-F238E27FC236}">
                <a16:creationId xmlns:a16="http://schemas.microsoft.com/office/drawing/2014/main" id="{9B2E61AE-C64D-129D-8132-53A54FB9F54A}"/>
              </a:ext>
            </a:extLst>
          </p:cNvPr>
          <p:cNvSpPr/>
          <p:nvPr/>
        </p:nvSpPr>
        <p:spPr>
          <a:xfrm>
            <a:off x="2253656" y="-865956"/>
            <a:ext cx="1128540" cy="8680589"/>
          </a:xfrm>
          <a:custGeom>
            <a:avLst/>
            <a:gdLst>
              <a:gd name="connsiteX0" fmla="*/ 6944 w 1128540"/>
              <a:gd name="connsiteY0" fmla="*/ 802456 h 8680589"/>
              <a:gd name="connsiteX1" fmla="*/ 489544 w 1128540"/>
              <a:gd name="connsiteY1" fmla="*/ 2529656 h 8680589"/>
              <a:gd name="connsiteX2" fmla="*/ 273644 w 1128540"/>
              <a:gd name="connsiteY2" fmla="*/ 4434656 h 8680589"/>
              <a:gd name="connsiteX3" fmla="*/ 413344 w 1128540"/>
              <a:gd name="connsiteY3" fmla="*/ 6098356 h 8680589"/>
              <a:gd name="connsiteX4" fmla="*/ 6944 w 1128540"/>
              <a:gd name="connsiteY4" fmla="*/ 7088956 h 8680589"/>
              <a:gd name="connsiteX5" fmla="*/ 337144 w 1128540"/>
              <a:gd name="connsiteY5" fmla="*/ 8092256 h 8680589"/>
              <a:gd name="connsiteX6" fmla="*/ 1086444 w 1128540"/>
              <a:gd name="connsiteY6" fmla="*/ 8079556 h 8680589"/>
              <a:gd name="connsiteX7" fmla="*/ 921344 w 1128540"/>
              <a:gd name="connsiteY7" fmla="*/ 548456 h 8680589"/>
              <a:gd name="connsiteX8" fmla="*/ 6944 w 1128540"/>
              <a:gd name="connsiteY8" fmla="*/ 802456 h 8680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28540" h="8680589">
                <a:moveTo>
                  <a:pt x="6944" y="802456"/>
                </a:moveTo>
                <a:cubicBezTo>
                  <a:pt x="-65023" y="1132656"/>
                  <a:pt x="445094" y="1924289"/>
                  <a:pt x="489544" y="2529656"/>
                </a:cubicBezTo>
                <a:cubicBezTo>
                  <a:pt x="533994" y="3135023"/>
                  <a:pt x="286344" y="3839873"/>
                  <a:pt x="273644" y="4434656"/>
                </a:cubicBezTo>
                <a:cubicBezTo>
                  <a:pt x="260944" y="5029439"/>
                  <a:pt x="457794" y="5655973"/>
                  <a:pt x="413344" y="6098356"/>
                </a:cubicBezTo>
                <a:cubicBezTo>
                  <a:pt x="368894" y="6540739"/>
                  <a:pt x="19644" y="6756639"/>
                  <a:pt x="6944" y="7088956"/>
                </a:cubicBezTo>
                <a:cubicBezTo>
                  <a:pt x="-5756" y="7421273"/>
                  <a:pt x="157227" y="7927156"/>
                  <a:pt x="337144" y="8092256"/>
                </a:cubicBezTo>
                <a:cubicBezTo>
                  <a:pt x="517061" y="8257356"/>
                  <a:pt x="989077" y="9336856"/>
                  <a:pt x="1086444" y="8079556"/>
                </a:cubicBezTo>
                <a:cubicBezTo>
                  <a:pt x="1183811" y="6822256"/>
                  <a:pt x="1105494" y="1765539"/>
                  <a:pt x="921344" y="548456"/>
                </a:cubicBezTo>
                <a:cubicBezTo>
                  <a:pt x="737194" y="-668627"/>
                  <a:pt x="78911" y="472256"/>
                  <a:pt x="6944" y="80245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17" name="Rectangle 16">
            <a:extLst>
              <a:ext uri="{FF2B5EF4-FFF2-40B4-BE49-F238E27FC236}">
                <a16:creationId xmlns:a16="http://schemas.microsoft.com/office/drawing/2014/main" id="{A805F1ED-7209-4707-B1F6-9AF87973E6C9}"/>
              </a:ext>
            </a:extLst>
          </p:cNvPr>
          <p:cNvSpPr/>
          <p:nvPr/>
        </p:nvSpPr>
        <p:spPr>
          <a:xfrm>
            <a:off x="2779145" y="2047402"/>
            <a:ext cx="9000000" cy="45243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r>
              <a:rPr lang="fr-FR" sz="1200" b="1">
                <a:solidFill>
                  <a:srgbClr val="0D0D0D"/>
                </a:solidFill>
              </a:rPr>
              <a:t>Consultant</a:t>
            </a:r>
            <a:r>
              <a:rPr lang="fr-FR" sz="1200">
                <a:solidFill>
                  <a:srgbClr val="0D0D0D"/>
                </a:solidFill>
              </a:rPr>
              <a:t> : Bonjour Madame Graive, merci de nous accorder cette interview. Pouvez-vous nous expliquer comment fonctionne actuellement le parc applicatif de maintenance de la SNCF ?</a:t>
            </a:r>
          </a:p>
          <a:p>
            <a:r>
              <a:rPr lang="fr-FR" sz="1200" b="1">
                <a:solidFill>
                  <a:srgbClr val="0D0D0D"/>
                </a:solidFill>
              </a:rPr>
              <a:t>CG</a:t>
            </a:r>
            <a:r>
              <a:rPr lang="fr-FR" sz="1200">
                <a:solidFill>
                  <a:srgbClr val="0D0D0D"/>
                </a:solidFill>
              </a:rPr>
              <a:t> : Bonjour, avec plaisir. Actuellement, notre parc applicatif de maintenance est constitué d'une trentaine d'applications différentes. Chacune est spécialisée pour traiter un problème bien spécifique. Ces applications ont été développée par des équipes distinctes, certaines internes à la SNCF et d'autres par des prestataires externes. Malheureusement, cela pose de nombreux problèmes.</a:t>
            </a:r>
          </a:p>
          <a:p>
            <a:r>
              <a:rPr lang="fr-FR" sz="1200" b="1">
                <a:solidFill>
                  <a:srgbClr val="0D0D0D"/>
                </a:solidFill>
              </a:rPr>
              <a:t>Consultant</a:t>
            </a:r>
            <a:r>
              <a:rPr lang="fr-FR" sz="1200">
                <a:solidFill>
                  <a:srgbClr val="0D0D0D"/>
                </a:solidFill>
              </a:rPr>
              <a:t> : Quels problèmes découlent de cette diversité d'applications ?</a:t>
            </a:r>
          </a:p>
          <a:p>
            <a:r>
              <a:rPr lang="fr-FR" sz="1200" b="1">
                <a:solidFill>
                  <a:srgbClr val="0D0D0D"/>
                </a:solidFill>
              </a:rPr>
              <a:t>CG</a:t>
            </a:r>
            <a:r>
              <a:rPr lang="fr-FR" sz="1200">
                <a:solidFill>
                  <a:srgbClr val="0D0D0D"/>
                </a:solidFill>
              </a:rPr>
              <a:t> : Tout d'abord, les bases de données ne sont pas communes, ce qui complique énormément le partage et l'analyse des informations. Ensuite, les interfaces variées rendent la formation des équipes et l'utilisation quotidienne beaucoup plus difficiles. Enfin, le coût de maintenance et de développement de ces multiples applications est exorbitant, et les résultats obtenus ne sont pas satisfaisants.</a:t>
            </a:r>
          </a:p>
          <a:p>
            <a:r>
              <a:rPr lang="fr-FR" sz="1200" b="1">
                <a:solidFill>
                  <a:srgbClr val="0D0D0D"/>
                </a:solidFill>
              </a:rPr>
              <a:t>Consultant</a:t>
            </a:r>
            <a:r>
              <a:rPr lang="fr-FR" sz="1200">
                <a:solidFill>
                  <a:srgbClr val="0D0D0D"/>
                </a:solidFill>
              </a:rPr>
              <a:t> : Quelle solution proposez-vous pour améliorer cette situation ?</a:t>
            </a:r>
          </a:p>
          <a:p>
            <a:r>
              <a:rPr lang="fr-FR" sz="1200" b="1">
                <a:solidFill>
                  <a:srgbClr val="0D0D0D"/>
                </a:solidFill>
              </a:rPr>
              <a:t>CG</a:t>
            </a:r>
            <a:r>
              <a:rPr lang="fr-FR" sz="1200">
                <a:solidFill>
                  <a:srgbClr val="0D0D0D"/>
                </a:solidFill>
              </a:rPr>
              <a:t> : Je propose de supprimer toutes ces applications de maintenance existantes et de les remplacer par une application unifiée. </a:t>
            </a:r>
          </a:p>
          <a:p>
            <a:r>
              <a:rPr lang="fr-FR" sz="1200" b="1">
                <a:solidFill>
                  <a:srgbClr val="0D0D0D"/>
                </a:solidFill>
              </a:rPr>
              <a:t>Consultant</a:t>
            </a:r>
            <a:r>
              <a:rPr lang="fr-FR" sz="1200">
                <a:solidFill>
                  <a:srgbClr val="0D0D0D"/>
                </a:solidFill>
              </a:rPr>
              <a:t> : Quels avantages attendez-vous de cette refonte complète ?</a:t>
            </a:r>
          </a:p>
          <a:p>
            <a:r>
              <a:rPr lang="fr-FR" sz="1200" b="1">
                <a:solidFill>
                  <a:srgbClr val="0D0D0D"/>
                </a:solidFill>
              </a:rPr>
              <a:t>CG</a:t>
            </a:r>
            <a:r>
              <a:rPr lang="fr-FR" sz="1200">
                <a:solidFill>
                  <a:srgbClr val="0D0D0D"/>
                </a:solidFill>
              </a:rPr>
              <a:t> : Cette nouvelle application serait basée sur une seule base de données centrale et offrirait une interface utilisateur épurée et cohérente. Plus précisément, elle faciliterait la gestion des données et la coordination entre les différentes équipes. Elle simplifierait également la formation des utilisateurs et réduirait les erreurs liées à la manipulation de multiples systèmes. De plus, cela permettrait de réduire considérablement les coûts et d'améliorer l'efficacité de nos opérations de maintenance.</a:t>
            </a:r>
          </a:p>
          <a:p>
            <a:r>
              <a:rPr lang="fr-FR" sz="1200" b="1">
                <a:solidFill>
                  <a:srgbClr val="0D0D0D"/>
                </a:solidFill>
              </a:rPr>
              <a:t>Consultant</a:t>
            </a:r>
            <a:r>
              <a:rPr lang="fr-FR" sz="1200">
                <a:solidFill>
                  <a:srgbClr val="0D0D0D"/>
                </a:solidFill>
              </a:rPr>
              <a:t> : Merci beaucoup pour ces explications. Nous espérons que cette initiative sera mise en œuvre rapidement.</a:t>
            </a:r>
          </a:p>
          <a:p>
            <a:r>
              <a:rPr lang="fr-FR" sz="1200" b="1">
                <a:solidFill>
                  <a:srgbClr val="0D0D0D"/>
                </a:solidFill>
              </a:rPr>
              <a:t>CG</a:t>
            </a:r>
            <a:r>
              <a:rPr lang="fr-FR" sz="1200">
                <a:solidFill>
                  <a:srgbClr val="0D0D0D"/>
                </a:solidFill>
              </a:rPr>
              <a:t> : Merci à vous. J'ai bon espoir que cette refonte nous permettra de moderniser notre gestion de la maintenance et d'améliorer significativement notre efficacité.</a:t>
            </a:r>
          </a:p>
          <a:p>
            <a:pPr algn="l"/>
            <a:endParaRPr lang="fr-FR" sz="1200" b="0" i="0">
              <a:solidFill>
                <a:srgbClr val="0D0D0D"/>
              </a:solidFill>
              <a:effectLst/>
            </a:endParaRPr>
          </a:p>
          <a:p>
            <a:pPr algn="l"/>
            <a:endParaRPr lang="fr-FR" sz="1200" b="0" i="0">
              <a:solidFill>
                <a:srgbClr val="0D0D0D"/>
              </a:solidFill>
              <a:effectLst/>
            </a:endParaRPr>
          </a:p>
        </p:txBody>
      </p:sp>
    </p:spTree>
    <p:extLst>
      <p:ext uri="{BB962C8B-B14F-4D97-AF65-F5344CB8AC3E}">
        <p14:creationId xmlns:p14="http://schemas.microsoft.com/office/powerpoint/2010/main" val="38760791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6EF2914-107A-4255-96D0-EB57A51F375D}"/>
              </a:ext>
            </a:extLst>
          </p:cNvPr>
          <p:cNvSpPr/>
          <p:nvPr/>
        </p:nvSpPr>
        <p:spPr>
          <a:xfrm>
            <a:off x="2922815" y="2014754"/>
            <a:ext cx="8850086" cy="3416320"/>
          </a:xfrm>
          <a:prstGeom prst="rect">
            <a:avLst/>
          </a:prstGeom>
        </p:spPr>
        <p:txBody>
          <a:bodyPr wrap="square" anchor="ctr">
            <a:spAutoFit/>
          </a:bodyPr>
          <a:lstStyle/>
          <a:p>
            <a:pPr marL="88900" lvl="1">
              <a:defRPr/>
            </a:pPr>
            <a:r>
              <a:rPr lang="fr-FR" sz="2800" b="1">
                <a:solidFill>
                  <a:schemeClr val="accent1">
                    <a:lumMod val="60000"/>
                    <a:lumOff val="40000"/>
                  </a:schemeClr>
                </a:solidFill>
                <a:ea typeface="Verdana"/>
              </a:rPr>
              <a:t>SNCF Réseau </a:t>
            </a:r>
            <a:r>
              <a:rPr lang="fr-FR" sz="2800">
                <a:solidFill>
                  <a:schemeClr val="bg1"/>
                </a:solidFill>
                <a:ea typeface="Verdana"/>
              </a:rPr>
              <a:t>fait appel à un cabinet de conseil pour l’aider avec la problématique</a:t>
            </a:r>
          </a:p>
          <a:p>
            <a:pPr marL="88900" lvl="1">
              <a:defRPr/>
            </a:pPr>
            <a:endParaRPr lang="fr-FR" sz="2800">
              <a:solidFill>
                <a:schemeClr val="bg1"/>
              </a:solidFill>
              <a:ea typeface="Verdana"/>
            </a:endParaRPr>
          </a:p>
          <a:p>
            <a:pPr marL="88900" lvl="1">
              <a:defRPr/>
            </a:pPr>
            <a:r>
              <a:rPr lang="fr-FR" sz="3200" b="1">
                <a:solidFill>
                  <a:schemeClr val="accent1">
                    <a:lumMod val="60000"/>
                    <a:lumOff val="40000"/>
                  </a:schemeClr>
                </a:solidFill>
                <a:ea typeface="Verdana"/>
              </a:rPr>
              <a:t>        Comment améliorer l’utilisation des rails tout en réduisant les pannes et les incidents sur le réseau ?</a:t>
            </a:r>
          </a:p>
          <a:p>
            <a:pPr marL="88900" marR="0" lvl="1"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chemeClr val="accent1">
                  <a:lumMod val="60000"/>
                  <a:lumOff val="40000"/>
                </a:schemeClr>
              </a:solidFill>
              <a:effectLst/>
              <a:uLnTx/>
              <a:uFillTx/>
              <a:ea typeface="Verdana"/>
              <a:cs typeface="Verdana"/>
            </a:endParaRPr>
          </a:p>
        </p:txBody>
      </p:sp>
      <p:pic>
        <p:nvPicPr>
          <p:cNvPr id="10" name="Graphic 9" descr="Lights On with solid fill">
            <a:extLst>
              <a:ext uri="{FF2B5EF4-FFF2-40B4-BE49-F238E27FC236}">
                <a16:creationId xmlns:a16="http://schemas.microsoft.com/office/drawing/2014/main" id="{6A9E0351-3495-4419-8514-E8214C87ECD4}"/>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84027" y="2731428"/>
            <a:ext cx="1982973" cy="1982973"/>
          </a:xfrm>
          <a:prstGeom prst="rect">
            <a:avLst/>
          </a:prstGeom>
        </p:spPr>
      </p:pic>
      <p:pic>
        <p:nvPicPr>
          <p:cNvPr id="2" name="Graphic 1" descr="Open quotation mark outline">
            <a:extLst>
              <a:ext uri="{FF2B5EF4-FFF2-40B4-BE49-F238E27FC236}">
                <a16:creationId xmlns:a16="http://schemas.microsoft.com/office/drawing/2014/main" id="{8F25D790-AB61-621E-3979-D3A641BC5617}"/>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rot="10800000" flipH="1">
            <a:off x="2922815" y="3198522"/>
            <a:ext cx="653150" cy="592931"/>
          </a:xfrm>
          <a:prstGeom prst="rect">
            <a:avLst/>
          </a:prstGeom>
        </p:spPr>
      </p:pic>
      <p:pic>
        <p:nvPicPr>
          <p:cNvPr id="3" name="Graphic 2" descr="Open quotation mark outline">
            <a:extLst>
              <a:ext uri="{FF2B5EF4-FFF2-40B4-BE49-F238E27FC236}">
                <a16:creationId xmlns:a16="http://schemas.microsoft.com/office/drawing/2014/main" id="{74542DA5-90EB-3869-DDD5-24B500DDC31D}"/>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rot="10800000" flipV="1">
            <a:off x="11042934" y="4534500"/>
            <a:ext cx="626272" cy="596505"/>
          </a:xfrm>
          <a:prstGeom prst="rect">
            <a:avLst/>
          </a:prstGeom>
        </p:spPr>
      </p:pic>
    </p:spTree>
    <p:extLst>
      <p:ext uri="{BB962C8B-B14F-4D97-AF65-F5344CB8AC3E}">
        <p14:creationId xmlns:p14="http://schemas.microsoft.com/office/powerpoint/2010/main" val="264436388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82C18E46-EEBD-D6DE-E6A3-7F5A27B8BA41}"/>
              </a:ext>
            </a:extLst>
          </p:cNvPr>
          <p:cNvSpPr>
            <a:spLocks noGrp="1"/>
          </p:cNvSpPr>
          <p:nvPr>
            <p:ph type="title"/>
          </p:nvPr>
        </p:nvSpPr>
        <p:spPr/>
        <p:txBody>
          <a:bodyPr/>
          <a:lstStyle/>
          <a:p>
            <a:r>
              <a:rPr lang="en-US"/>
              <a:t>Sprint 2 – Résumé des documents à </a:t>
            </a:r>
            <a:r>
              <a:rPr lang="en-US" err="1"/>
              <a:t>votre</a:t>
            </a:r>
            <a:r>
              <a:rPr lang="en-US"/>
              <a:t> disposition</a:t>
            </a:r>
          </a:p>
        </p:txBody>
      </p:sp>
      <p:pic>
        <p:nvPicPr>
          <p:cNvPr id="7" name="Picture 6">
            <a:extLst>
              <a:ext uri="{FF2B5EF4-FFF2-40B4-BE49-F238E27FC236}">
                <a16:creationId xmlns:a16="http://schemas.microsoft.com/office/drawing/2014/main" id="{103CA0EA-6C92-A1B3-930C-3B11A3B54083}"/>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6345801" y="2776324"/>
            <a:ext cx="3032387" cy="1707234"/>
          </a:xfrm>
          <a:prstGeom prst="rect">
            <a:avLst/>
          </a:prstGeom>
          <a:effectLst>
            <a:outerShdw blurRad="50800" dist="38100" dir="2700000" algn="tl" rotWithShape="0">
              <a:prstClr val="black">
                <a:alpha val="40000"/>
              </a:prstClr>
            </a:outerShdw>
          </a:effectLst>
        </p:spPr>
      </p:pic>
      <p:sp>
        <p:nvSpPr>
          <p:cNvPr id="8" name="ZoneTexte 4">
            <a:extLst>
              <a:ext uri="{FF2B5EF4-FFF2-40B4-BE49-F238E27FC236}">
                <a16:creationId xmlns:a16="http://schemas.microsoft.com/office/drawing/2014/main" id="{9CED62D4-9277-2C50-D7D6-2BB88BB05A3D}"/>
              </a:ext>
            </a:extLst>
          </p:cNvPr>
          <p:cNvSpPr txBox="1"/>
          <p:nvPr/>
        </p:nvSpPr>
        <p:spPr>
          <a:xfrm>
            <a:off x="6337861" y="4627880"/>
            <a:ext cx="3048266" cy="584775"/>
          </a:xfrm>
          <a:prstGeom prst="rect">
            <a:avLst/>
          </a:prstGeom>
          <a:noFill/>
        </p:spPr>
        <p:txBody>
          <a:bodyPr wrap="square" rtlCol="0">
            <a:spAutoFit/>
          </a:bodyPr>
          <a:lstStyle/>
          <a:p>
            <a:pPr algn="ctr"/>
            <a:r>
              <a:rPr lang="en-US" sz="1600" i="1" err="1">
                <a:solidFill>
                  <a:schemeClr val="bg1"/>
                </a:solidFill>
              </a:rPr>
              <a:t>Matrice</a:t>
            </a:r>
            <a:r>
              <a:rPr lang="en-US" sz="1600" i="1">
                <a:solidFill>
                  <a:schemeClr val="bg1"/>
                </a:solidFill>
              </a:rPr>
              <a:t> Priorisation des solutions</a:t>
            </a:r>
          </a:p>
        </p:txBody>
      </p:sp>
      <p:pic>
        <p:nvPicPr>
          <p:cNvPr id="2" name="Picture 11">
            <a:extLst>
              <a:ext uri="{FF2B5EF4-FFF2-40B4-BE49-F238E27FC236}">
                <a16:creationId xmlns:a16="http://schemas.microsoft.com/office/drawing/2014/main" id="{5E9E951E-5CCF-10D2-B326-EA34200E4712}"/>
              </a:ext>
            </a:extLst>
          </p:cNvPr>
          <p:cNvPicPr>
            <a:picLocks/>
          </p:cNvPicPr>
          <p:nvPr/>
        </p:nvPicPr>
        <p:blipFill>
          <a:blip r:embed="rId3" cstate="email">
            <a:extLst>
              <a:ext uri="{28A0092B-C50C-407E-A947-70E740481C1C}">
                <a14:useLocalDpi xmlns:a14="http://schemas.microsoft.com/office/drawing/2010/main"/>
              </a:ext>
            </a:extLst>
          </a:blip>
          <a:stretch>
            <a:fillRect/>
          </a:stretch>
        </p:blipFill>
        <p:spPr>
          <a:xfrm>
            <a:off x="2805875" y="2780911"/>
            <a:ext cx="3044952" cy="1700784"/>
          </a:xfrm>
          <a:prstGeom prst="rect">
            <a:avLst/>
          </a:prstGeom>
        </p:spPr>
      </p:pic>
      <p:sp>
        <p:nvSpPr>
          <p:cNvPr id="4" name="ZoneTexte 3">
            <a:extLst>
              <a:ext uri="{FF2B5EF4-FFF2-40B4-BE49-F238E27FC236}">
                <a16:creationId xmlns:a16="http://schemas.microsoft.com/office/drawing/2014/main" id="{0BCC1F16-DCBE-5BAD-D4E6-9CF3F40DCA00}"/>
              </a:ext>
            </a:extLst>
          </p:cNvPr>
          <p:cNvSpPr txBox="1"/>
          <p:nvPr/>
        </p:nvSpPr>
        <p:spPr>
          <a:xfrm>
            <a:off x="2805874" y="4627880"/>
            <a:ext cx="3048266" cy="338554"/>
          </a:xfrm>
          <a:prstGeom prst="rect">
            <a:avLst/>
          </a:prstGeom>
          <a:noFill/>
        </p:spPr>
        <p:txBody>
          <a:bodyPr wrap="square" rtlCol="0">
            <a:spAutoFit/>
          </a:bodyPr>
          <a:lstStyle/>
          <a:p>
            <a:pPr algn="ctr"/>
            <a:r>
              <a:rPr lang="en-US" sz="1600" i="1">
                <a:solidFill>
                  <a:schemeClr val="bg1"/>
                </a:solidFill>
              </a:rPr>
              <a:t>Fiche </a:t>
            </a:r>
            <a:r>
              <a:rPr lang="en-US" sz="1600" i="1" err="1">
                <a:solidFill>
                  <a:schemeClr val="bg1"/>
                </a:solidFill>
              </a:rPr>
              <a:t>Consignes</a:t>
            </a:r>
            <a:r>
              <a:rPr lang="en-US" sz="1600" i="1">
                <a:solidFill>
                  <a:schemeClr val="bg1"/>
                </a:solidFill>
              </a:rPr>
              <a:t> </a:t>
            </a:r>
          </a:p>
        </p:txBody>
      </p:sp>
    </p:spTree>
    <p:extLst>
      <p:ext uri="{BB962C8B-B14F-4D97-AF65-F5344CB8AC3E}">
        <p14:creationId xmlns:p14="http://schemas.microsoft.com/office/powerpoint/2010/main" val="406805628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7" name="Title 1">
            <a:extLst>
              <a:ext uri="{FF2B5EF4-FFF2-40B4-BE49-F238E27FC236}">
                <a16:creationId xmlns:a16="http://schemas.microsoft.com/office/drawing/2014/main" id="{A3B48900-DB81-4884-BFC1-02DBC0DE7947}"/>
              </a:ext>
            </a:extLst>
          </p:cNvPr>
          <p:cNvSpPr txBox="1">
            <a:spLocks/>
          </p:cNvSpPr>
          <p:nvPr/>
        </p:nvSpPr>
        <p:spPr>
          <a:xfrm>
            <a:off x="227013" y="-1285918"/>
            <a:ext cx="11362013" cy="1076817"/>
          </a:xfrm>
        </p:spPr>
        <p:txBody>
          <a:bodyPr tIns="180000"/>
          <a:lstStyle>
            <a:lvl1pPr marL="0" marR="0" indent="0" algn="l" defTabSz="914400" rtl="0" eaLnBrk="1" fontAlgn="auto" latinLnBrk="0" hangingPunct="1">
              <a:lnSpc>
                <a:spcPct val="90000"/>
              </a:lnSpc>
              <a:spcBef>
                <a:spcPts val="0"/>
              </a:spcBef>
              <a:spcAft>
                <a:spcPts val="0"/>
              </a:spcAft>
              <a:buClrTx/>
              <a:buSzTx/>
              <a:buFontTx/>
              <a:buNone/>
              <a:tabLst/>
              <a:defRPr kumimoji="0" lang="en-US" sz="3000" b="0" i="0" u="none" strike="noStrike" kern="1200" cap="none" spc="200" normalizeH="0" baseline="0" noProof="0">
                <a:ln>
                  <a:noFill/>
                </a:ln>
                <a:solidFill>
                  <a:schemeClr val="accent1"/>
                </a:solidFill>
                <a:effectLst/>
                <a:uLnTx/>
                <a:uFillTx/>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2400" b="0" i="0" u="none" strike="noStrike" kern="1200" cap="none" spc="200" normalizeH="0" baseline="0" noProof="0">
              <a:ln>
                <a:noFill/>
              </a:ln>
              <a:solidFill>
                <a:srgbClr val="2B143D"/>
              </a:solidFill>
              <a:effectLst/>
              <a:uLnTx/>
              <a:uFillTx/>
              <a:latin typeface="Verdana"/>
              <a:ea typeface="+mj-ea"/>
              <a:cs typeface="+mj-cs"/>
            </a:endParaRPr>
          </a:p>
        </p:txBody>
      </p:sp>
      <p:sp>
        <p:nvSpPr>
          <p:cNvPr id="22" name="Title 2">
            <a:extLst>
              <a:ext uri="{FF2B5EF4-FFF2-40B4-BE49-F238E27FC236}">
                <a16:creationId xmlns:a16="http://schemas.microsoft.com/office/drawing/2014/main" id="{92557DC4-B18F-4199-93D0-1D081E24520F}"/>
              </a:ext>
            </a:extLst>
          </p:cNvPr>
          <p:cNvSpPr>
            <a:spLocks noGrp="1"/>
          </p:cNvSpPr>
          <p:nvPr>
            <p:ph type="title"/>
          </p:nvPr>
        </p:nvSpPr>
        <p:spPr/>
        <p:txBody>
          <a:bodyPr/>
          <a:lstStyle/>
          <a:p>
            <a:pPr>
              <a:spcBef>
                <a:spcPct val="0"/>
              </a:spcBef>
              <a:defRPr/>
            </a:pPr>
            <a:r>
              <a:rPr lang="fr-FR" spc="0">
                <a:solidFill>
                  <a:schemeClr val="tx1"/>
                </a:solidFill>
              </a:rPr>
              <a:t>CONSIGNES SPRINT 2</a:t>
            </a:r>
          </a:p>
        </p:txBody>
      </p:sp>
      <p:sp>
        <p:nvSpPr>
          <p:cNvPr id="23" name="TextBox 22">
            <a:extLst>
              <a:ext uri="{FF2B5EF4-FFF2-40B4-BE49-F238E27FC236}">
                <a16:creationId xmlns:a16="http://schemas.microsoft.com/office/drawing/2014/main" id="{829AF7EE-145B-4C4A-8CEB-F55DCBE6686C}"/>
              </a:ext>
            </a:extLst>
          </p:cNvPr>
          <p:cNvSpPr txBox="1"/>
          <p:nvPr/>
        </p:nvSpPr>
        <p:spPr>
          <a:xfrm>
            <a:off x="420810" y="1372867"/>
            <a:ext cx="4212150" cy="618605"/>
          </a:xfrm>
          <a:prstGeom prst="rect">
            <a:avLst/>
          </a:prstGeom>
          <a:solidFill>
            <a:schemeClr val="accent1">
              <a:lumMod val="50000"/>
            </a:schemeClr>
          </a:solidFill>
        </p:spPr>
        <p:txBody>
          <a:bodyPr wrap="square">
            <a:noAutofit/>
          </a:body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fr-FR" sz="1600" b="1" i="0" u="none" strike="noStrike" kern="1200" cap="none" spc="0" normalizeH="0" baseline="0" noProof="0">
                <a:ln>
                  <a:noFill/>
                </a:ln>
                <a:solidFill>
                  <a:srgbClr val="0070AD">
                    <a:lumMod val="60000"/>
                    <a:lumOff val="40000"/>
                  </a:srgbClr>
                </a:solidFill>
                <a:effectLst/>
                <a:uLnTx/>
                <a:uFillTx/>
                <a:latin typeface="Verdana"/>
                <a:ea typeface="+mn-ea"/>
                <a:cs typeface="Arial" charset="0"/>
              </a:rPr>
              <a:t>Objectif : </a:t>
            </a:r>
            <a:r>
              <a:rPr kumimoji="0" lang="fr-FR" sz="1600" b="0" i="0" u="none" strike="noStrike" kern="1200" cap="none" spc="0" normalizeH="0" baseline="0" noProof="0">
                <a:ln>
                  <a:noFill/>
                </a:ln>
                <a:solidFill>
                  <a:srgbClr val="0070AD">
                    <a:lumMod val="60000"/>
                    <a:lumOff val="40000"/>
                  </a:srgbClr>
                </a:solidFill>
                <a:effectLst/>
                <a:uLnTx/>
                <a:uFillTx/>
                <a:latin typeface="Verdana"/>
                <a:ea typeface="+mn-ea"/>
                <a:cs typeface="Arial" charset="0"/>
              </a:rPr>
              <a:t>Affiner et prioriser les solutions proposées</a:t>
            </a:r>
          </a:p>
          <a:p>
            <a:pPr marL="342900" marR="0" lvl="0" indent="-342900" algn="l" defTabSz="914400" rtl="0" eaLnBrk="1" fontAlgn="base" latinLnBrk="0" hangingPunct="1">
              <a:lnSpc>
                <a:spcPct val="100000"/>
              </a:lnSpc>
              <a:spcBef>
                <a:spcPts val="0"/>
              </a:spcBef>
              <a:spcAft>
                <a:spcPct val="0"/>
              </a:spcAft>
              <a:buClrTx/>
              <a:buSzTx/>
              <a:buFont typeface="Arial" panose="020B0604020202020204" pitchFamily="34" charset="0"/>
              <a:buChar char="•"/>
              <a:tabLst/>
              <a:defRPr/>
            </a:pPr>
            <a:endParaRPr kumimoji="0" lang="fr-FR" sz="1600" b="0" i="0" u="none" strike="noStrike" kern="1200" cap="none" spc="0" normalizeH="0" baseline="0" noProof="0">
              <a:ln>
                <a:noFill/>
              </a:ln>
              <a:solidFill>
                <a:srgbClr val="FFFFFF"/>
              </a:solidFill>
              <a:effectLst/>
              <a:uLnTx/>
              <a:uFillTx/>
              <a:latin typeface="Verdana"/>
              <a:ea typeface="+mn-ea"/>
              <a:cs typeface="Arial" charset="0"/>
            </a:endParaRPr>
          </a:p>
        </p:txBody>
      </p:sp>
      <p:pic>
        <p:nvPicPr>
          <p:cNvPr id="24" name="Picture 23">
            <a:extLst>
              <a:ext uri="{FF2B5EF4-FFF2-40B4-BE49-F238E27FC236}">
                <a16:creationId xmlns:a16="http://schemas.microsoft.com/office/drawing/2014/main" id="{694DAF5C-3E8D-4700-89A5-6C1B37D484D2}"/>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880572" y="2204721"/>
            <a:ext cx="3467943" cy="1950718"/>
          </a:xfrm>
          <a:prstGeom prst="rect">
            <a:avLst/>
          </a:prstGeom>
        </p:spPr>
      </p:pic>
      <p:cxnSp>
        <p:nvCxnSpPr>
          <p:cNvPr id="25" name="Straight Arrow Connector 24">
            <a:extLst>
              <a:ext uri="{FF2B5EF4-FFF2-40B4-BE49-F238E27FC236}">
                <a16:creationId xmlns:a16="http://schemas.microsoft.com/office/drawing/2014/main" id="{59717E33-9BFF-4E06-A919-61188768EAB5}"/>
              </a:ext>
            </a:extLst>
          </p:cNvPr>
          <p:cNvCxnSpPr>
            <a:cxnSpLocks/>
          </p:cNvCxnSpPr>
          <p:nvPr/>
        </p:nvCxnSpPr>
        <p:spPr>
          <a:xfrm flipV="1">
            <a:off x="1377638" y="3907848"/>
            <a:ext cx="227642" cy="664263"/>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03C61382-5F82-43FB-ABD5-FFFC49E9DFF9}"/>
              </a:ext>
            </a:extLst>
          </p:cNvPr>
          <p:cNvSpPr/>
          <p:nvPr/>
        </p:nvSpPr>
        <p:spPr>
          <a:xfrm>
            <a:off x="623270" y="4572110"/>
            <a:ext cx="1578390" cy="1703127"/>
          </a:xfrm>
          <a:prstGeom prst="rect">
            <a:avLst/>
          </a:prstGeom>
          <a:solidFill>
            <a:srgbClr val="F2F2F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base" latinLnBrk="0" hangingPunct="1">
              <a:lnSpc>
                <a:spcPct val="100000"/>
              </a:lnSpc>
              <a:spcBef>
                <a:spcPts val="600"/>
              </a:spcBef>
              <a:spcAft>
                <a:spcPct val="0"/>
              </a:spcAft>
              <a:buClr>
                <a:srgbClr val="0070AD"/>
              </a:buClr>
              <a:buSzTx/>
              <a:buFontTx/>
              <a:buNone/>
              <a:tabLst/>
              <a:defRPr/>
            </a:pPr>
            <a:r>
              <a:rPr kumimoji="0" lang="fr-FR" sz="1050" b="1" i="0" u="none" strike="noStrike" kern="1200" cap="none" spc="0" normalizeH="0" baseline="0" noProof="0">
                <a:ln>
                  <a:noFill/>
                </a:ln>
                <a:solidFill>
                  <a:prstClr val="black"/>
                </a:solidFill>
                <a:effectLst/>
                <a:uLnTx/>
                <a:uFillTx/>
                <a:latin typeface="Verdana"/>
                <a:ea typeface="+mn-ea"/>
                <a:cs typeface="+mn-cs"/>
              </a:rPr>
              <a:t>Affiner vos propositions de solutions</a:t>
            </a:r>
          </a:p>
        </p:txBody>
      </p:sp>
      <p:sp>
        <p:nvSpPr>
          <p:cNvPr id="27" name="Oval 26">
            <a:extLst>
              <a:ext uri="{FF2B5EF4-FFF2-40B4-BE49-F238E27FC236}">
                <a16:creationId xmlns:a16="http://schemas.microsoft.com/office/drawing/2014/main" id="{A5A1BB8E-DC13-4F1C-9F04-73E259911A6E}"/>
              </a:ext>
            </a:extLst>
          </p:cNvPr>
          <p:cNvSpPr/>
          <p:nvPr/>
        </p:nvSpPr>
        <p:spPr>
          <a:xfrm>
            <a:off x="456844" y="4440031"/>
            <a:ext cx="227330" cy="233680"/>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ts val="600"/>
              </a:spcBef>
              <a:spcAft>
                <a:spcPct val="0"/>
              </a:spcAft>
              <a:buClr>
                <a:srgbClr val="0070AD"/>
              </a:buClr>
              <a:buSzTx/>
              <a:buFontTx/>
              <a:buNone/>
              <a:tabLst/>
              <a:defRPr/>
            </a:pPr>
            <a:r>
              <a:rPr kumimoji="0" lang="fr-FR" sz="1200" b="1" i="0" u="none" strike="noStrike" kern="1200" cap="none" spc="0" normalizeH="0" baseline="0" noProof="0">
                <a:ln>
                  <a:noFill/>
                </a:ln>
                <a:solidFill>
                  <a:srgbClr val="FFFFFF"/>
                </a:solidFill>
                <a:effectLst/>
                <a:uLnTx/>
                <a:uFillTx/>
                <a:latin typeface="Verdana"/>
                <a:ea typeface="+mn-ea"/>
                <a:cs typeface="+mn-cs"/>
              </a:rPr>
              <a:t>1</a:t>
            </a:r>
          </a:p>
        </p:txBody>
      </p:sp>
      <p:sp>
        <p:nvSpPr>
          <p:cNvPr id="30" name="Rectangle 29">
            <a:extLst>
              <a:ext uri="{FF2B5EF4-FFF2-40B4-BE49-F238E27FC236}">
                <a16:creationId xmlns:a16="http://schemas.microsoft.com/office/drawing/2014/main" id="{1AFE6425-7484-46E1-B2DD-F9012A8084B8}"/>
              </a:ext>
            </a:extLst>
          </p:cNvPr>
          <p:cNvSpPr/>
          <p:nvPr/>
        </p:nvSpPr>
        <p:spPr>
          <a:xfrm>
            <a:off x="2876236" y="4572110"/>
            <a:ext cx="1578390" cy="1703127"/>
          </a:xfrm>
          <a:prstGeom prst="rect">
            <a:avLst/>
          </a:prstGeom>
          <a:solidFill>
            <a:srgbClr val="F2F2F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base" latinLnBrk="0" hangingPunct="1">
              <a:lnSpc>
                <a:spcPct val="100000"/>
              </a:lnSpc>
              <a:spcBef>
                <a:spcPts val="600"/>
              </a:spcBef>
              <a:spcAft>
                <a:spcPct val="0"/>
              </a:spcAft>
              <a:buClr>
                <a:srgbClr val="0070AD"/>
              </a:buClr>
              <a:buSzTx/>
              <a:buFontTx/>
              <a:buNone/>
              <a:tabLst/>
              <a:defRPr/>
            </a:pPr>
            <a:r>
              <a:rPr kumimoji="0" lang="fr-FR" sz="1050" b="1" i="0" u="none" strike="noStrike" kern="1200" cap="none" spc="0" normalizeH="0" baseline="0" noProof="0">
                <a:ln>
                  <a:noFill/>
                </a:ln>
                <a:solidFill>
                  <a:prstClr val="black"/>
                </a:solidFill>
                <a:effectLst/>
                <a:uLnTx/>
                <a:uFillTx/>
                <a:latin typeface="Verdana"/>
                <a:ea typeface="+mn-ea"/>
                <a:cs typeface="+mn-cs"/>
              </a:rPr>
              <a:t>Proposer une priorisation de vos solutions sur la base de la compréhension des enjeux clients et d’hypothèses pertinentes</a:t>
            </a:r>
          </a:p>
        </p:txBody>
      </p:sp>
      <p:sp>
        <p:nvSpPr>
          <p:cNvPr id="31" name="Oval 30">
            <a:extLst>
              <a:ext uri="{FF2B5EF4-FFF2-40B4-BE49-F238E27FC236}">
                <a16:creationId xmlns:a16="http://schemas.microsoft.com/office/drawing/2014/main" id="{63B56E63-C69F-474A-914B-467A3A0A89A9}"/>
              </a:ext>
            </a:extLst>
          </p:cNvPr>
          <p:cNvSpPr/>
          <p:nvPr/>
        </p:nvSpPr>
        <p:spPr>
          <a:xfrm>
            <a:off x="2709810" y="4440031"/>
            <a:ext cx="227330" cy="233680"/>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ts val="600"/>
              </a:spcBef>
              <a:spcAft>
                <a:spcPct val="0"/>
              </a:spcAft>
              <a:buClr>
                <a:srgbClr val="0070AD"/>
              </a:buClr>
              <a:buSzTx/>
              <a:buFontTx/>
              <a:buNone/>
              <a:tabLst/>
              <a:defRPr/>
            </a:pPr>
            <a:r>
              <a:rPr kumimoji="0" lang="fr-FR" sz="1200" b="1" i="0" u="none" strike="noStrike" kern="1200" cap="none" spc="0" normalizeH="0" baseline="0" noProof="0">
                <a:ln>
                  <a:noFill/>
                </a:ln>
                <a:solidFill>
                  <a:srgbClr val="FFFFFF"/>
                </a:solidFill>
                <a:effectLst/>
                <a:uLnTx/>
                <a:uFillTx/>
                <a:latin typeface="Verdana"/>
                <a:ea typeface="+mn-ea"/>
                <a:cs typeface="+mn-cs"/>
              </a:rPr>
              <a:t>2</a:t>
            </a:r>
          </a:p>
        </p:txBody>
      </p:sp>
      <p:cxnSp>
        <p:nvCxnSpPr>
          <p:cNvPr id="32" name="Straight Arrow Connector 31">
            <a:extLst>
              <a:ext uri="{FF2B5EF4-FFF2-40B4-BE49-F238E27FC236}">
                <a16:creationId xmlns:a16="http://schemas.microsoft.com/office/drawing/2014/main" id="{D193CCF8-6F87-4870-8734-4E505700D7D8}"/>
              </a:ext>
            </a:extLst>
          </p:cNvPr>
          <p:cNvCxnSpPr>
            <a:cxnSpLocks/>
          </p:cNvCxnSpPr>
          <p:nvPr/>
        </p:nvCxnSpPr>
        <p:spPr>
          <a:xfrm flipH="1" flipV="1">
            <a:off x="3001274" y="3965604"/>
            <a:ext cx="546743" cy="606508"/>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B3ADF2ED-D0D9-4BBE-82CF-F29B88C87406}"/>
              </a:ext>
            </a:extLst>
          </p:cNvPr>
          <p:cNvSpPr/>
          <p:nvPr/>
        </p:nvSpPr>
        <p:spPr>
          <a:xfrm>
            <a:off x="4856665" y="1372867"/>
            <a:ext cx="7317991" cy="50022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base" latinLnBrk="0" hangingPunct="1">
              <a:lnSpc>
                <a:spcPct val="100000"/>
              </a:lnSpc>
              <a:spcBef>
                <a:spcPts val="600"/>
              </a:spcBef>
              <a:spcAft>
                <a:spcPct val="0"/>
              </a:spcAft>
              <a:buClr>
                <a:srgbClr val="0070AD"/>
              </a:buClr>
              <a:buSzTx/>
              <a:buFontTx/>
              <a:buNone/>
              <a:tabLst/>
              <a:defRPr/>
            </a:pPr>
            <a:r>
              <a:rPr kumimoji="0" lang="fr-FR" sz="1600" b="0" i="0" u="none" strike="noStrike" kern="1200" cap="none" spc="0" normalizeH="0" baseline="0" noProof="0">
                <a:ln>
                  <a:noFill/>
                </a:ln>
                <a:solidFill>
                  <a:prstClr val="black"/>
                </a:solidFill>
                <a:effectLst/>
                <a:uLnTx/>
                <a:uFillTx/>
                <a:latin typeface="Verdana"/>
                <a:ea typeface="+mn-ea"/>
                <a:cs typeface="+mn-cs"/>
              </a:rPr>
              <a:t>La matrice Enjeux accessibilité</a:t>
            </a:r>
          </a:p>
        </p:txBody>
      </p:sp>
      <p:grpSp>
        <p:nvGrpSpPr>
          <p:cNvPr id="5" name="Group 4">
            <a:extLst>
              <a:ext uri="{FF2B5EF4-FFF2-40B4-BE49-F238E27FC236}">
                <a16:creationId xmlns:a16="http://schemas.microsoft.com/office/drawing/2014/main" id="{78B1BBA8-665F-4B89-8C70-8FF8C64CA2C4}"/>
              </a:ext>
            </a:extLst>
          </p:cNvPr>
          <p:cNvGrpSpPr/>
          <p:nvPr/>
        </p:nvGrpSpPr>
        <p:grpSpPr>
          <a:xfrm>
            <a:off x="5543908" y="1772069"/>
            <a:ext cx="5680979" cy="4387069"/>
            <a:chOff x="946980" y="975122"/>
            <a:chExt cx="8108472" cy="5419410"/>
          </a:xfrm>
        </p:grpSpPr>
        <p:cxnSp>
          <p:nvCxnSpPr>
            <p:cNvPr id="59" name="Straight Connector 58">
              <a:extLst>
                <a:ext uri="{FF2B5EF4-FFF2-40B4-BE49-F238E27FC236}">
                  <a16:creationId xmlns:a16="http://schemas.microsoft.com/office/drawing/2014/main" id="{2C8808DE-7F50-4CA9-ABC9-426ADDE9DDB2}"/>
                </a:ext>
              </a:extLst>
            </p:cNvPr>
            <p:cNvCxnSpPr>
              <a:cxnSpLocks/>
            </p:cNvCxnSpPr>
            <p:nvPr/>
          </p:nvCxnSpPr>
          <p:spPr>
            <a:xfrm>
              <a:off x="3214853" y="2631306"/>
              <a:ext cx="5688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4547AAB7-A0A6-42C9-96B4-86F954645C3E}"/>
                </a:ext>
              </a:extLst>
            </p:cNvPr>
            <p:cNvCxnSpPr>
              <a:cxnSpLocks/>
            </p:cNvCxnSpPr>
            <p:nvPr/>
          </p:nvCxnSpPr>
          <p:spPr>
            <a:xfrm>
              <a:off x="3214853" y="4575522"/>
              <a:ext cx="5688000" cy="0"/>
            </a:xfrm>
            <a:prstGeom prst="line">
              <a:avLst/>
            </a:prstGeom>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E7F8CD4D-792C-4B0F-9563-9887324579F2}"/>
                </a:ext>
              </a:extLst>
            </p:cNvPr>
            <p:cNvSpPr/>
            <p:nvPr/>
          </p:nvSpPr>
          <p:spPr>
            <a:xfrm>
              <a:off x="3178849" y="1157242"/>
              <a:ext cx="5688632" cy="464241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latin typeface="Verdana"/>
                <a:ea typeface="+mn-ea"/>
                <a:cs typeface="+mn-cs"/>
              </a:endParaRPr>
            </a:p>
          </p:txBody>
        </p:sp>
        <p:sp>
          <p:nvSpPr>
            <p:cNvPr id="48" name="Arrow: Down 47">
              <a:extLst>
                <a:ext uri="{FF2B5EF4-FFF2-40B4-BE49-F238E27FC236}">
                  <a16:creationId xmlns:a16="http://schemas.microsoft.com/office/drawing/2014/main" id="{489F701D-A851-4E07-B8AE-10C5D8BF5CE4}"/>
                </a:ext>
              </a:extLst>
            </p:cNvPr>
            <p:cNvSpPr/>
            <p:nvPr/>
          </p:nvSpPr>
          <p:spPr>
            <a:xfrm rot="10800000">
              <a:off x="3078789" y="975122"/>
              <a:ext cx="360040" cy="4824536"/>
            </a:xfrm>
            <a:prstGeom prst="downArrow">
              <a:avLst/>
            </a:prstGeom>
            <a:solidFill>
              <a:schemeClr val="tx1">
                <a:lumMod val="85000"/>
                <a:lumOff val="1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vert"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1" u="none" strike="noStrike" kern="1200" cap="none" spc="0" normalizeH="0" baseline="0" noProof="0">
                  <a:ln>
                    <a:noFill/>
                  </a:ln>
                  <a:solidFill>
                    <a:srgbClr val="FFFFFF"/>
                  </a:solidFill>
                  <a:effectLst/>
                  <a:uLnTx/>
                  <a:uFillTx/>
                  <a:latin typeface="Verdana"/>
                  <a:ea typeface="+mn-ea"/>
                  <a:cs typeface="+mn-cs"/>
                </a:rPr>
                <a:t>Enjeux</a:t>
              </a:r>
            </a:p>
          </p:txBody>
        </p:sp>
        <p:sp>
          <p:nvSpPr>
            <p:cNvPr id="55" name="Arrow: Down 54">
              <a:extLst>
                <a:ext uri="{FF2B5EF4-FFF2-40B4-BE49-F238E27FC236}">
                  <a16:creationId xmlns:a16="http://schemas.microsoft.com/office/drawing/2014/main" id="{775BE92A-15C5-4749-93DE-F354B19996EB}"/>
                </a:ext>
              </a:extLst>
            </p:cNvPr>
            <p:cNvSpPr/>
            <p:nvPr/>
          </p:nvSpPr>
          <p:spPr>
            <a:xfrm rot="16200000">
              <a:off x="5955133" y="2809450"/>
              <a:ext cx="360040" cy="5840599"/>
            </a:xfrm>
            <a:prstGeom prst="downArrow">
              <a:avLst/>
            </a:prstGeom>
            <a:solidFill>
              <a:schemeClr val="tx1">
                <a:lumMod val="85000"/>
                <a:lumOff val="1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vert"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1" u="none" strike="noStrike" kern="1200" cap="none" spc="0" normalizeH="0" baseline="0" noProof="0">
                  <a:ln>
                    <a:noFill/>
                  </a:ln>
                  <a:solidFill>
                    <a:srgbClr val="FFFFFF"/>
                  </a:solidFill>
                  <a:effectLst/>
                  <a:uLnTx/>
                  <a:uFillTx/>
                  <a:latin typeface="Verdana"/>
                  <a:ea typeface="+mn-ea"/>
                  <a:cs typeface="+mn-cs"/>
                </a:rPr>
                <a:t>Accessibilité</a:t>
              </a:r>
            </a:p>
          </p:txBody>
        </p:sp>
        <p:cxnSp>
          <p:nvCxnSpPr>
            <p:cNvPr id="9" name="Straight Connector 8">
              <a:extLst>
                <a:ext uri="{FF2B5EF4-FFF2-40B4-BE49-F238E27FC236}">
                  <a16:creationId xmlns:a16="http://schemas.microsoft.com/office/drawing/2014/main" id="{FC6FABD8-FB89-44AB-9AD1-100FEF85B4EC}"/>
                </a:ext>
              </a:extLst>
            </p:cNvPr>
            <p:cNvCxnSpPr/>
            <p:nvPr/>
          </p:nvCxnSpPr>
          <p:spPr>
            <a:xfrm>
              <a:off x="5159069" y="1147191"/>
              <a:ext cx="0" cy="4500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CA47D511-2C0B-4BB8-87CE-397432CBA607}"/>
                </a:ext>
              </a:extLst>
            </p:cNvPr>
            <p:cNvCxnSpPr/>
            <p:nvPr/>
          </p:nvCxnSpPr>
          <p:spPr>
            <a:xfrm>
              <a:off x="7103285" y="1157242"/>
              <a:ext cx="0" cy="4500000"/>
            </a:xfrm>
            <a:prstGeom prst="line">
              <a:avLst/>
            </a:prstGeom>
          </p:spPr>
          <p:style>
            <a:lnRef idx="1">
              <a:schemeClr val="accent1"/>
            </a:lnRef>
            <a:fillRef idx="0">
              <a:schemeClr val="accent1"/>
            </a:fillRef>
            <a:effectRef idx="0">
              <a:schemeClr val="accent1"/>
            </a:effectRef>
            <a:fontRef idx="minor">
              <a:schemeClr val="tx1"/>
            </a:fontRef>
          </p:style>
        </p:cxnSp>
        <p:sp>
          <p:nvSpPr>
            <p:cNvPr id="68" name="TextBox 67">
              <a:extLst>
                <a:ext uri="{FF2B5EF4-FFF2-40B4-BE49-F238E27FC236}">
                  <a16:creationId xmlns:a16="http://schemas.microsoft.com/office/drawing/2014/main" id="{F530C8D5-2825-4806-9BAE-BB3E2C7D43D3}"/>
                </a:ext>
              </a:extLst>
            </p:cNvPr>
            <p:cNvSpPr txBox="1"/>
            <p:nvPr/>
          </p:nvSpPr>
          <p:spPr>
            <a:xfrm>
              <a:off x="946980" y="4467800"/>
              <a:ext cx="2241417" cy="68778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a:ln>
                    <a:noFill/>
                  </a:ln>
                  <a:solidFill>
                    <a:prstClr val="black"/>
                  </a:solidFill>
                  <a:effectLst/>
                  <a:uLnTx/>
                  <a:uFillTx/>
                  <a:latin typeface="Verdana"/>
                  <a:ea typeface="+mn-ea"/>
                  <a:cs typeface="Arial" charset="0"/>
                </a:rPr>
                <a:t>Faible valeur ajoutée / Bénéfice espéré faible</a:t>
              </a:r>
            </a:p>
          </p:txBody>
        </p:sp>
        <p:sp>
          <p:nvSpPr>
            <p:cNvPr id="36" name="Rectangle 35">
              <a:extLst>
                <a:ext uri="{FF2B5EF4-FFF2-40B4-BE49-F238E27FC236}">
                  <a16:creationId xmlns:a16="http://schemas.microsoft.com/office/drawing/2014/main" id="{5BDD9626-1F78-410E-87F5-DC827B7CF808}"/>
                </a:ext>
              </a:extLst>
            </p:cNvPr>
            <p:cNvSpPr/>
            <p:nvPr/>
          </p:nvSpPr>
          <p:spPr>
            <a:xfrm>
              <a:off x="6166275" y="1147192"/>
              <a:ext cx="2701196" cy="2229972"/>
            </a:xfrm>
            <a:prstGeom prst="rect">
              <a:avLst/>
            </a:prstGeom>
            <a:solidFill>
              <a:schemeClr val="accent1">
                <a:lumMod val="40000"/>
                <a:lumOff val="60000"/>
              </a:schemeClr>
            </a:solidFill>
            <a:ln>
              <a:noFill/>
            </a:ln>
          </p:spPr>
          <p:style>
            <a:lnRef idx="1">
              <a:schemeClr val="accent6"/>
            </a:lnRef>
            <a:fillRef idx="2">
              <a:schemeClr val="accent6"/>
            </a:fillRef>
            <a:effectRef idx="1">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50" b="1" i="0" u="none" strike="noStrike" kern="1200" cap="none" spc="0" normalizeH="0" baseline="0" noProof="0">
                  <a:ln>
                    <a:noFill/>
                  </a:ln>
                  <a:solidFill>
                    <a:prstClr val="black"/>
                  </a:solidFill>
                  <a:effectLst/>
                  <a:uLnTx/>
                  <a:uFillTx/>
                  <a:latin typeface="Verdana"/>
                  <a:ea typeface="+mn-ea"/>
                  <a:cs typeface="+mn-cs"/>
                </a:rPr>
                <a:t>Quick Win</a:t>
              </a:r>
            </a:p>
          </p:txBody>
        </p:sp>
        <p:sp>
          <p:nvSpPr>
            <p:cNvPr id="39" name="Rectangle 38">
              <a:extLst>
                <a:ext uri="{FF2B5EF4-FFF2-40B4-BE49-F238E27FC236}">
                  <a16:creationId xmlns:a16="http://schemas.microsoft.com/office/drawing/2014/main" id="{769EF24C-5F14-4054-B05E-2E7D31C112A6}"/>
                </a:ext>
              </a:extLst>
            </p:cNvPr>
            <p:cNvSpPr/>
            <p:nvPr/>
          </p:nvSpPr>
          <p:spPr>
            <a:xfrm>
              <a:off x="3424881" y="1147192"/>
              <a:ext cx="2701196" cy="2229972"/>
            </a:xfrm>
            <a:prstGeom prst="rect">
              <a:avLst/>
            </a:prstGeom>
            <a:solidFill>
              <a:schemeClr val="accent1">
                <a:lumMod val="20000"/>
                <a:lumOff val="80000"/>
              </a:schemeClr>
            </a:solidFill>
            <a:ln>
              <a:noFill/>
            </a:ln>
          </p:spPr>
          <p:style>
            <a:lnRef idx="1">
              <a:schemeClr val="accent6"/>
            </a:lnRef>
            <a:fillRef idx="2">
              <a:schemeClr val="accent6"/>
            </a:fillRef>
            <a:effectRef idx="1">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50" b="1" i="0" u="none" strike="noStrike" kern="1200" cap="none" spc="0" normalizeH="0" baseline="0" noProof="0">
                  <a:ln>
                    <a:noFill/>
                  </a:ln>
                  <a:solidFill>
                    <a:prstClr val="black"/>
                  </a:solidFill>
                  <a:effectLst/>
                  <a:uLnTx/>
                  <a:uFillTx/>
                  <a:latin typeface="Verdana"/>
                  <a:ea typeface="+mn-ea"/>
                  <a:cs typeface="+mn-cs"/>
                </a:rPr>
                <a:t>Actions majeures avec beaucoup d’intérêt</a:t>
              </a:r>
            </a:p>
          </p:txBody>
        </p:sp>
        <p:sp>
          <p:nvSpPr>
            <p:cNvPr id="40" name="Rectangle 39">
              <a:extLst>
                <a:ext uri="{FF2B5EF4-FFF2-40B4-BE49-F238E27FC236}">
                  <a16:creationId xmlns:a16="http://schemas.microsoft.com/office/drawing/2014/main" id="{A9E4D656-F68E-4C2B-9C3C-FBEA76EA0F33}"/>
                </a:ext>
              </a:extLst>
            </p:cNvPr>
            <p:cNvSpPr/>
            <p:nvPr/>
          </p:nvSpPr>
          <p:spPr>
            <a:xfrm>
              <a:off x="6166275" y="3427584"/>
              <a:ext cx="2701196" cy="2179238"/>
            </a:xfrm>
            <a:prstGeom prst="rect">
              <a:avLst/>
            </a:prstGeom>
            <a:solidFill>
              <a:schemeClr val="accent1">
                <a:lumMod val="20000"/>
                <a:lumOff val="80000"/>
              </a:schemeClr>
            </a:solidFill>
            <a:ln>
              <a:noFill/>
            </a:ln>
          </p:spPr>
          <p:style>
            <a:lnRef idx="1">
              <a:schemeClr val="accent6"/>
            </a:lnRef>
            <a:fillRef idx="2">
              <a:schemeClr val="accent6"/>
            </a:fillRef>
            <a:effectRef idx="1">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50" b="1" i="0" u="none" strike="noStrike" kern="1200" cap="none" spc="0" normalizeH="0" baseline="0" noProof="0">
                  <a:ln>
                    <a:noFill/>
                  </a:ln>
                  <a:solidFill>
                    <a:prstClr val="black"/>
                  </a:solidFill>
                  <a:effectLst/>
                  <a:uLnTx/>
                  <a:uFillTx/>
                  <a:latin typeface="Verdana"/>
                  <a:ea typeface="+mn-ea"/>
                  <a:cs typeface="+mn-cs"/>
                </a:rPr>
                <a:t>Actions mineures avec peu d’intérêt </a:t>
              </a:r>
            </a:p>
          </p:txBody>
        </p:sp>
        <p:sp>
          <p:nvSpPr>
            <p:cNvPr id="41" name="Rectangle 40">
              <a:extLst>
                <a:ext uri="{FF2B5EF4-FFF2-40B4-BE49-F238E27FC236}">
                  <a16:creationId xmlns:a16="http://schemas.microsoft.com/office/drawing/2014/main" id="{94599740-86F9-490B-B27C-B058FAA948DC}"/>
                </a:ext>
              </a:extLst>
            </p:cNvPr>
            <p:cNvSpPr/>
            <p:nvPr/>
          </p:nvSpPr>
          <p:spPr>
            <a:xfrm>
              <a:off x="3424881" y="3427584"/>
              <a:ext cx="2701196" cy="2179238"/>
            </a:xfrm>
            <a:prstGeom prst="rect">
              <a:avLst/>
            </a:prstGeom>
            <a:solidFill>
              <a:schemeClr val="bg1"/>
            </a:solidFill>
            <a:ln>
              <a:noFill/>
            </a:ln>
          </p:spPr>
          <p:style>
            <a:lnRef idx="1">
              <a:schemeClr val="accent6"/>
            </a:lnRef>
            <a:fillRef idx="2">
              <a:schemeClr val="accent6"/>
            </a:fillRef>
            <a:effectRef idx="1">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50" b="1" i="0" u="none" strike="noStrike" kern="1200" cap="none" spc="0" normalizeH="0" baseline="0" noProof="0">
                  <a:ln>
                    <a:noFill/>
                  </a:ln>
                  <a:solidFill>
                    <a:prstClr val="black"/>
                  </a:solidFill>
                  <a:effectLst/>
                  <a:uLnTx/>
                  <a:uFillTx/>
                  <a:latin typeface="Verdana"/>
                  <a:ea typeface="+mn-ea"/>
                  <a:cs typeface="+mn-cs"/>
                </a:rPr>
                <a:t>Action sans intérêt </a:t>
              </a:r>
            </a:p>
          </p:txBody>
        </p:sp>
        <p:sp>
          <p:nvSpPr>
            <p:cNvPr id="42" name="TextBox 41">
              <a:extLst>
                <a:ext uri="{FF2B5EF4-FFF2-40B4-BE49-F238E27FC236}">
                  <a16:creationId xmlns:a16="http://schemas.microsoft.com/office/drawing/2014/main" id="{656B20E7-A641-4F08-A623-95C5B1B177B9}"/>
                </a:ext>
              </a:extLst>
            </p:cNvPr>
            <p:cNvSpPr txBox="1"/>
            <p:nvPr/>
          </p:nvSpPr>
          <p:spPr>
            <a:xfrm>
              <a:off x="6271549" y="5897798"/>
              <a:ext cx="2251574" cy="49673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a:ln>
                    <a:noFill/>
                  </a:ln>
                  <a:solidFill>
                    <a:prstClr val="black"/>
                  </a:solidFill>
                  <a:effectLst/>
                  <a:uLnTx/>
                  <a:uFillTx/>
                  <a:latin typeface="Verdana"/>
                  <a:ea typeface="+mn-ea"/>
                  <a:cs typeface="Arial" charset="0"/>
                </a:rPr>
                <a:t>Facile à mettre en </a:t>
              </a:r>
              <a:r>
                <a:rPr kumimoji="0" lang="fr-FR" sz="1000" b="1" i="0" u="none" strike="noStrike" kern="1200" cap="none" spc="0" normalizeH="0" baseline="0" noProof="0" err="1">
                  <a:ln>
                    <a:noFill/>
                  </a:ln>
                  <a:solidFill>
                    <a:prstClr val="black"/>
                  </a:solidFill>
                  <a:effectLst/>
                  <a:uLnTx/>
                  <a:uFillTx/>
                  <a:latin typeface="Verdana"/>
                  <a:ea typeface="+mn-ea"/>
                  <a:cs typeface="Arial" charset="0"/>
                </a:rPr>
                <a:t>oeuvre</a:t>
              </a:r>
              <a:endParaRPr kumimoji="0" lang="fr-FR" sz="1000" b="1" i="0" u="none" strike="noStrike" kern="1200" cap="none" spc="0" normalizeH="0" baseline="0" noProof="0">
                <a:ln>
                  <a:noFill/>
                </a:ln>
                <a:solidFill>
                  <a:prstClr val="black"/>
                </a:solidFill>
                <a:effectLst/>
                <a:uLnTx/>
                <a:uFillTx/>
                <a:latin typeface="Verdana"/>
                <a:ea typeface="+mn-ea"/>
                <a:cs typeface="Arial" charset="0"/>
              </a:endParaRPr>
            </a:p>
          </p:txBody>
        </p:sp>
        <p:sp>
          <p:nvSpPr>
            <p:cNvPr id="44" name="TextBox 43">
              <a:extLst>
                <a:ext uri="{FF2B5EF4-FFF2-40B4-BE49-F238E27FC236}">
                  <a16:creationId xmlns:a16="http://schemas.microsoft.com/office/drawing/2014/main" id="{F917085A-7D94-4E65-9704-05CF8DE953A1}"/>
                </a:ext>
              </a:extLst>
            </p:cNvPr>
            <p:cNvSpPr txBox="1"/>
            <p:nvPr/>
          </p:nvSpPr>
          <p:spPr>
            <a:xfrm>
              <a:off x="946980" y="2154455"/>
              <a:ext cx="2241417" cy="68778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a:ln>
                    <a:noFill/>
                  </a:ln>
                  <a:solidFill>
                    <a:prstClr val="black"/>
                  </a:solidFill>
                  <a:effectLst/>
                  <a:uLnTx/>
                  <a:uFillTx/>
                  <a:latin typeface="Verdana"/>
                  <a:ea typeface="+mn-ea"/>
                  <a:cs typeface="Arial" charset="0"/>
                </a:rPr>
                <a:t>Forte valeur </a:t>
              </a:r>
              <a:br>
                <a:rPr kumimoji="0" lang="fr-FR" sz="1000" b="1" i="0" u="none" strike="noStrike" kern="1200" cap="none" spc="0" normalizeH="0" baseline="0" noProof="0">
                  <a:ln>
                    <a:noFill/>
                  </a:ln>
                  <a:solidFill>
                    <a:prstClr val="black"/>
                  </a:solidFill>
                  <a:effectLst/>
                  <a:uLnTx/>
                  <a:uFillTx/>
                  <a:latin typeface="Verdana"/>
                  <a:ea typeface="+mn-ea"/>
                  <a:cs typeface="Arial" charset="0"/>
                </a:rPr>
              </a:br>
              <a:r>
                <a:rPr kumimoji="0" lang="fr-FR" sz="1000" b="1" i="0" u="none" strike="noStrike" kern="1200" cap="none" spc="0" normalizeH="0" baseline="0" noProof="0">
                  <a:ln>
                    <a:noFill/>
                  </a:ln>
                  <a:solidFill>
                    <a:prstClr val="black"/>
                  </a:solidFill>
                  <a:effectLst/>
                  <a:uLnTx/>
                  <a:uFillTx/>
                  <a:latin typeface="Verdana"/>
                  <a:ea typeface="+mn-ea"/>
                  <a:cs typeface="Arial" charset="0"/>
                </a:rPr>
                <a:t>ajoutée / Bénéfice espéré élevé</a:t>
              </a:r>
            </a:p>
          </p:txBody>
        </p:sp>
        <p:sp>
          <p:nvSpPr>
            <p:cNvPr id="45" name="TextBox 44">
              <a:extLst>
                <a:ext uri="{FF2B5EF4-FFF2-40B4-BE49-F238E27FC236}">
                  <a16:creationId xmlns:a16="http://schemas.microsoft.com/office/drawing/2014/main" id="{EC245D43-7713-4AE8-A89B-D880CCA7289C}"/>
                </a:ext>
              </a:extLst>
            </p:cNvPr>
            <p:cNvSpPr txBox="1"/>
            <p:nvPr/>
          </p:nvSpPr>
          <p:spPr>
            <a:xfrm>
              <a:off x="3530157" y="5897797"/>
              <a:ext cx="2251574" cy="49426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a:ln>
                    <a:noFill/>
                  </a:ln>
                  <a:solidFill>
                    <a:prstClr val="black"/>
                  </a:solidFill>
                  <a:effectLst/>
                  <a:uLnTx/>
                  <a:uFillTx/>
                  <a:latin typeface="Verdana"/>
                  <a:ea typeface="+mn-ea"/>
                  <a:cs typeface="Arial" charset="0"/>
                </a:rPr>
                <a:t>Difficile à mettre en œuvre</a:t>
              </a:r>
            </a:p>
          </p:txBody>
        </p:sp>
      </p:grpSp>
    </p:spTree>
    <p:extLst>
      <p:ext uri="{BB962C8B-B14F-4D97-AF65-F5344CB8AC3E}">
        <p14:creationId xmlns:p14="http://schemas.microsoft.com/office/powerpoint/2010/main" val="122037003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D6D123D-ED1B-BD34-351B-C93482E5EBF9}"/>
              </a:ext>
            </a:extLst>
          </p:cNvPr>
          <p:cNvSpPr>
            <a:spLocks noGrp="1"/>
          </p:cNvSpPr>
          <p:nvPr>
            <p:ph type="title"/>
          </p:nvPr>
        </p:nvSpPr>
        <p:spPr>
          <a:xfrm>
            <a:off x="404813" y="314159"/>
            <a:ext cx="10947772" cy="716711"/>
          </a:xfrm>
        </p:spPr>
        <p:txBody>
          <a:bodyPr/>
          <a:lstStyle/>
          <a:p>
            <a:pPr>
              <a:tabLst>
                <a:tab pos="1616075" algn="l"/>
              </a:tabLst>
            </a:pPr>
            <a:r>
              <a:rPr lang="en-US" sz="2800" b="1" cap="none" err="1">
                <a:solidFill>
                  <a:srgbClr val="811B6F"/>
                </a:solidFill>
              </a:rPr>
              <a:t>Priorisation</a:t>
            </a:r>
            <a:r>
              <a:rPr lang="en-US" sz="2800" b="1" cap="none">
                <a:solidFill>
                  <a:srgbClr val="811B6F"/>
                </a:solidFill>
              </a:rPr>
              <a:t> des solutions</a:t>
            </a:r>
          </a:p>
        </p:txBody>
      </p:sp>
      <p:grpSp>
        <p:nvGrpSpPr>
          <p:cNvPr id="252" name="Group 251">
            <a:extLst>
              <a:ext uri="{FF2B5EF4-FFF2-40B4-BE49-F238E27FC236}">
                <a16:creationId xmlns:a16="http://schemas.microsoft.com/office/drawing/2014/main" id="{CE5005E5-2CB1-93C4-9099-2209E6D57174}"/>
              </a:ext>
            </a:extLst>
          </p:cNvPr>
          <p:cNvGrpSpPr/>
          <p:nvPr/>
        </p:nvGrpSpPr>
        <p:grpSpPr>
          <a:xfrm>
            <a:off x="578244" y="1277212"/>
            <a:ext cx="4256194" cy="4135696"/>
            <a:chOff x="1150138" y="830174"/>
            <a:chExt cx="8512388" cy="8271391"/>
          </a:xfrm>
        </p:grpSpPr>
        <p:grpSp>
          <p:nvGrpSpPr>
            <p:cNvPr id="211" name="Group 210">
              <a:extLst>
                <a:ext uri="{FF2B5EF4-FFF2-40B4-BE49-F238E27FC236}">
                  <a16:creationId xmlns:a16="http://schemas.microsoft.com/office/drawing/2014/main" id="{B5372EC8-3697-703F-4683-90E19039269E}"/>
                </a:ext>
              </a:extLst>
            </p:cNvPr>
            <p:cNvGrpSpPr/>
            <p:nvPr/>
          </p:nvGrpSpPr>
          <p:grpSpPr>
            <a:xfrm>
              <a:off x="1150138" y="858642"/>
              <a:ext cx="8512388" cy="8214452"/>
              <a:chOff x="448803" y="1443402"/>
              <a:chExt cx="3307589" cy="3107252"/>
            </a:xfrm>
          </p:grpSpPr>
          <p:sp>
            <p:nvSpPr>
              <p:cNvPr id="249" name="Rectangle 248">
                <a:extLst>
                  <a:ext uri="{FF2B5EF4-FFF2-40B4-BE49-F238E27FC236}">
                    <a16:creationId xmlns:a16="http://schemas.microsoft.com/office/drawing/2014/main" id="{33F26956-A17C-B977-0FED-CE976F36DD20}"/>
                  </a:ext>
                </a:extLst>
              </p:cNvPr>
              <p:cNvSpPr/>
              <p:nvPr/>
            </p:nvSpPr>
            <p:spPr>
              <a:xfrm>
                <a:off x="2650043" y="1443402"/>
                <a:ext cx="1106349" cy="3107252"/>
              </a:xfrm>
              <a:prstGeom prst="rect">
                <a:avLst/>
              </a:prstGeom>
              <a:solidFill>
                <a:sysClr val="window" lastClr="FFFFFF">
                  <a:lumMod val="75000"/>
                  <a:alpha val="50000"/>
                </a:sysClr>
              </a:solidFill>
              <a:ln w="25400" cap="flat" cmpd="sng" algn="ctr">
                <a:solidFill>
                  <a:sysClr val="window" lastClr="FFFFFF"/>
                </a:solidFill>
                <a:prstDash val="solid"/>
              </a:ln>
              <a:effectLst/>
            </p:spPr>
            <p:txBody>
              <a:bodyPr rtlCol="0" anchor="ctr"/>
              <a:lstStyle/>
              <a:p>
                <a:pPr algn="ctr" defTabSz="457200">
                  <a:defRPr/>
                </a:pPr>
                <a:endParaRPr lang="en-US" sz="600" kern="0">
                  <a:solidFill>
                    <a:prstClr val="white"/>
                  </a:solidFill>
                  <a:cs typeface="Calibri" panose="020F0502020204030204" pitchFamily="34" charset="0"/>
                </a:endParaRPr>
              </a:p>
            </p:txBody>
          </p:sp>
          <p:sp>
            <p:nvSpPr>
              <p:cNvPr id="250" name="Rectangle 249">
                <a:extLst>
                  <a:ext uri="{FF2B5EF4-FFF2-40B4-BE49-F238E27FC236}">
                    <a16:creationId xmlns:a16="http://schemas.microsoft.com/office/drawing/2014/main" id="{B354133F-9A34-B6EB-AC96-D2E085C3492B}"/>
                  </a:ext>
                </a:extLst>
              </p:cNvPr>
              <p:cNvSpPr/>
              <p:nvPr/>
            </p:nvSpPr>
            <p:spPr>
              <a:xfrm>
                <a:off x="1549423" y="1443402"/>
                <a:ext cx="1106349" cy="3107252"/>
              </a:xfrm>
              <a:prstGeom prst="rect">
                <a:avLst/>
              </a:prstGeom>
              <a:solidFill>
                <a:sysClr val="window" lastClr="FFFFFF">
                  <a:lumMod val="85000"/>
                  <a:alpha val="50000"/>
                </a:sysClr>
              </a:solidFill>
              <a:ln w="25400" cap="flat" cmpd="sng" algn="ctr">
                <a:solidFill>
                  <a:sysClr val="window" lastClr="FFFFFF"/>
                </a:solidFill>
                <a:prstDash val="solid"/>
              </a:ln>
              <a:effectLst/>
            </p:spPr>
            <p:txBody>
              <a:bodyPr rtlCol="0" anchor="ctr"/>
              <a:lstStyle/>
              <a:p>
                <a:pPr algn="ctr" defTabSz="457200">
                  <a:defRPr/>
                </a:pPr>
                <a:endParaRPr lang="en-US" sz="600" kern="0">
                  <a:solidFill>
                    <a:prstClr val="white"/>
                  </a:solidFill>
                  <a:cs typeface="Calibri" panose="020F0502020204030204" pitchFamily="34" charset="0"/>
                </a:endParaRPr>
              </a:p>
            </p:txBody>
          </p:sp>
          <p:sp>
            <p:nvSpPr>
              <p:cNvPr id="251" name="Rectangle 250">
                <a:extLst>
                  <a:ext uri="{FF2B5EF4-FFF2-40B4-BE49-F238E27FC236}">
                    <a16:creationId xmlns:a16="http://schemas.microsoft.com/office/drawing/2014/main" id="{A2876ADA-4040-7CD9-F3E5-8DE68BCAD0D2}"/>
                  </a:ext>
                </a:extLst>
              </p:cNvPr>
              <p:cNvSpPr/>
              <p:nvPr/>
            </p:nvSpPr>
            <p:spPr>
              <a:xfrm>
                <a:off x="448803" y="1443402"/>
                <a:ext cx="1106349" cy="3107252"/>
              </a:xfrm>
              <a:prstGeom prst="rect">
                <a:avLst/>
              </a:prstGeom>
              <a:solidFill>
                <a:sysClr val="window" lastClr="FFFFFF">
                  <a:lumMod val="95000"/>
                  <a:alpha val="50000"/>
                </a:sysClr>
              </a:solidFill>
              <a:ln w="25400" cap="flat" cmpd="sng" algn="ctr">
                <a:solidFill>
                  <a:sysClr val="window" lastClr="FFFFFF"/>
                </a:solidFill>
                <a:prstDash val="solid"/>
              </a:ln>
              <a:effectLst/>
            </p:spPr>
            <p:txBody>
              <a:bodyPr rtlCol="0" anchor="ctr"/>
              <a:lstStyle/>
              <a:p>
                <a:pPr algn="ctr" defTabSz="457200">
                  <a:defRPr/>
                </a:pPr>
                <a:endParaRPr lang="en-US" sz="600" kern="0">
                  <a:solidFill>
                    <a:prstClr val="white"/>
                  </a:solidFill>
                  <a:cs typeface="Calibri" panose="020F0502020204030204" pitchFamily="34" charset="0"/>
                </a:endParaRPr>
              </a:p>
            </p:txBody>
          </p:sp>
        </p:grpSp>
        <p:grpSp>
          <p:nvGrpSpPr>
            <p:cNvPr id="212" name="Group 211">
              <a:extLst>
                <a:ext uri="{FF2B5EF4-FFF2-40B4-BE49-F238E27FC236}">
                  <a16:creationId xmlns:a16="http://schemas.microsoft.com/office/drawing/2014/main" id="{8E937769-C494-B976-B0E8-D10DFC974532}"/>
                </a:ext>
              </a:extLst>
            </p:cNvPr>
            <p:cNvGrpSpPr/>
            <p:nvPr/>
          </p:nvGrpSpPr>
          <p:grpSpPr>
            <a:xfrm rot="16200000">
              <a:off x="1270636" y="723677"/>
              <a:ext cx="8271391" cy="8484385"/>
              <a:chOff x="448803" y="1443402"/>
              <a:chExt cx="3307589" cy="3107252"/>
            </a:xfrm>
          </p:grpSpPr>
          <p:sp>
            <p:nvSpPr>
              <p:cNvPr id="246" name="Rectangle 245">
                <a:extLst>
                  <a:ext uri="{FF2B5EF4-FFF2-40B4-BE49-F238E27FC236}">
                    <a16:creationId xmlns:a16="http://schemas.microsoft.com/office/drawing/2014/main" id="{F65A8CC2-77EB-2872-4E64-BC167F789E48}"/>
                  </a:ext>
                </a:extLst>
              </p:cNvPr>
              <p:cNvSpPr/>
              <p:nvPr/>
            </p:nvSpPr>
            <p:spPr>
              <a:xfrm>
                <a:off x="2650043" y="1443402"/>
                <a:ext cx="1106349" cy="3107252"/>
              </a:xfrm>
              <a:prstGeom prst="rect">
                <a:avLst/>
              </a:prstGeom>
              <a:solidFill>
                <a:sysClr val="window" lastClr="FFFFFF">
                  <a:lumMod val="75000"/>
                  <a:alpha val="50000"/>
                </a:sysClr>
              </a:solidFill>
              <a:ln w="25400" cap="flat" cmpd="sng" algn="ctr">
                <a:solidFill>
                  <a:sysClr val="window" lastClr="FFFFFF"/>
                </a:solidFill>
                <a:prstDash val="solid"/>
              </a:ln>
              <a:effectLst/>
            </p:spPr>
            <p:txBody>
              <a:bodyPr rtlCol="0" anchor="ctr"/>
              <a:lstStyle/>
              <a:p>
                <a:pPr algn="ctr" defTabSz="457200">
                  <a:defRPr/>
                </a:pPr>
                <a:endParaRPr lang="en-US" sz="600" kern="0">
                  <a:solidFill>
                    <a:prstClr val="white"/>
                  </a:solidFill>
                  <a:cs typeface="Calibri" panose="020F0502020204030204" pitchFamily="34" charset="0"/>
                </a:endParaRPr>
              </a:p>
            </p:txBody>
          </p:sp>
          <p:sp>
            <p:nvSpPr>
              <p:cNvPr id="247" name="Rectangle 246">
                <a:extLst>
                  <a:ext uri="{FF2B5EF4-FFF2-40B4-BE49-F238E27FC236}">
                    <a16:creationId xmlns:a16="http://schemas.microsoft.com/office/drawing/2014/main" id="{5D6E8493-09E5-DA73-CDAE-1D0D329C18F0}"/>
                  </a:ext>
                </a:extLst>
              </p:cNvPr>
              <p:cNvSpPr/>
              <p:nvPr/>
            </p:nvSpPr>
            <p:spPr>
              <a:xfrm>
                <a:off x="1549423" y="1443402"/>
                <a:ext cx="1106349" cy="3107252"/>
              </a:xfrm>
              <a:prstGeom prst="rect">
                <a:avLst/>
              </a:prstGeom>
              <a:solidFill>
                <a:sysClr val="window" lastClr="FFFFFF">
                  <a:lumMod val="85000"/>
                  <a:alpha val="50000"/>
                </a:sysClr>
              </a:solidFill>
              <a:ln w="25400" cap="flat" cmpd="sng" algn="ctr">
                <a:solidFill>
                  <a:sysClr val="window" lastClr="FFFFFF"/>
                </a:solidFill>
                <a:prstDash val="solid"/>
              </a:ln>
              <a:effectLst/>
            </p:spPr>
            <p:txBody>
              <a:bodyPr rtlCol="0" anchor="ctr"/>
              <a:lstStyle/>
              <a:p>
                <a:pPr algn="ctr" defTabSz="457200">
                  <a:defRPr/>
                </a:pPr>
                <a:endParaRPr lang="en-US" sz="600" kern="0">
                  <a:solidFill>
                    <a:prstClr val="white"/>
                  </a:solidFill>
                  <a:cs typeface="Calibri" panose="020F0502020204030204" pitchFamily="34" charset="0"/>
                </a:endParaRPr>
              </a:p>
            </p:txBody>
          </p:sp>
          <p:sp>
            <p:nvSpPr>
              <p:cNvPr id="248" name="Rectangle 247">
                <a:extLst>
                  <a:ext uri="{FF2B5EF4-FFF2-40B4-BE49-F238E27FC236}">
                    <a16:creationId xmlns:a16="http://schemas.microsoft.com/office/drawing/2014/main" id="{04615BA7-E305-3071-2B9C-E8D94EB4D7DD}"/>
                  </a:ext>
                </a:extLst>
              </p:cNvPr>
              <p:cNvSpPr/>
              <p:nvPr/>
            </p:nvSpPr>
            <p:spPr>
              <a:xfrm>
                <a:off x="448803" y="1443402"/>
                <a:ext cx="1106349" cy="3107252"/>
              </a:xfrm>
              <a:prstGeom prst="rect">
                <a:avLst/>
              </a:prstGeom>
              <a:solidFill>
                <a:sysClr val="window" lastClr="FFFFFF">
                  <a:lumMod val="95000"/>
                  <a:alpha val="50000"/>
                </a:sysClr>
              </a:solidFill>
              <a:ln w="25400" cap="flat" cmpd="sng" algn="ctr">
                <a:solidFill>
                  <a:sysClr val="window" lastClr="FFFFFF"/>
                </a:solidFill>
                <a:prstDash val="solid"/>
              </a:ln>
              <a:effectLst/>
            </p:spPr>
            <p:txBody>
              <a:bodyPr rtlCol="0" anchor="ctr"/>
              <a:lstStyle/>
              <a:p>
                <a:pPr algn="ctr" defTabSz="457200">
                  <a:defRPr/>
                </a:pPr>
                <a:endParaRPr lang="en-US" sz="600" kern="0">
                  <a:solidFill>
                    <a:prstClr val="white"/>
                  </a:solidFill>
                  <a:cs typeface="Calibri" panose="020F0502020204030204" pitchFamily="34" charset="0"/>
                </a:endParaRPr>
              </a:p>
            </p:txBody>
          </p:sp>
        </p:grpSp>
      </p:grpSp>
      <p:cxnSp>
        <p:nvCxnSpPr>
          <p:cNvPr id="242" name="Straight Arrow Connector 241">
            <a:extLst>
              <a:ext uri="{FF2B5EF4-FFF2-40B4-BE49-F238E27FC236}">
                <a16:creationId xmlns:a16="http://schemas.microsoft.com/office/drawing/2014/main" id="{48BA2477-A39A-82E4-F81D-4950937F95BC}"/>
              </a:ext>
            </a:extLst>
          </p:cNvPr>
          <p:cNvCxnSpPr>
            <a:cxnSpLocks/>
          </p:cNvCxnSpPr>
          <p:nvPr/>
        </p:nvCxnSpPr>
        <p:spPr>
          <a:xfrm>
            <a:off x="890377" y="5723517"/>
            <a:ext cx="3415805" cy="0"/>
          </a:xfrm>
          <a:prstGeom prst="straightConnector1">
            <a:avLst/>
          </a:prstGeom>
          <a:noFill/>
          <a:ln w="19050" cap="flat" cmpd="sng" algn="ctr">
            <a:solidFill>
              <a:srgbClr val="3C3732"/>
            </a:solidFill>
            <a:prstDash val="solid"/>
            <a:headEnd type="triangle"/>
            <a:tailEnd type="triangle"/>
          </a:ln>
          <a:effectLst/>
        </p:spPr>
      </p:cxnSp>
      <p:sp>
        <p:nvSpPr>
          <p:cNvPr id="243" name="TextBox 242">
            <a:extLst>
              <a:ext uri="{FF2B5EF4-FFF2-40B4-BE49-F238E27FC236}">
                <a16:creationId xmlns:a16="http://schemas.microsoft.com/office/drawing/2014/main" id="{1B1B4CBE-4F7F-D560-2D1C-826723DE210A}"/>
              </a:ext>
            </a:extLst>
          </p:cNvPr>
          <p:cNvSpPr txBox="1"/>
          <p:nvPr/>
        </p:nvSpPr>
        <p:spPr>
          <a:xfrm>
            <a:off x="2173824" y="5577323"/>
            <a:ext cx="678391" cy="276999"/>
          </a:xfrm>
          <a:prstGeom prst="rect">
            <a:avLst/>
          </a:prstGeom>
          <a:solidFill>
            <a:sysClr val="window" lastClr="FFFFFF"/>
          </a:solidFill>
        </p:spPr>
        <p:txBody>
          <a:bodyPr wrap="none" rtlCol="0">
            <a:spAutoFit/>
          </a:bodyPr>
          <a:lstStyle/>
          <a:p>
            <a:pPr defTabSz="457200">
              <a:defRPr/>
            </a:pPr>
            <a:r>
              <a:rPr lang="en-US" sz="1200" b="1" kern="0">
                <a:solidFill>
                  <a:prstClr val="black"/>
                </a:solidFill>
              </a:rPr>
              <a:t>ENJEU</a:t>
            </a:r>
          </a:p>
        </p:txBody>
      </p:sp>
      <p:sp>
        <p:nvSpPr>
          <p:cNvPr id="244" name="TextBox 243">
            <a:extLst>
              <a:ext uri="{FF2B5EF4-FFF2-40B4-BE49-F238E27FC236}">
                <a16:creationId xmlns:a16="http://schemas.microsoft.com/office/drawing/2014/main" id="{8F476FDE-44E4-5834-2E5A-D5F9D40B58F2}"/>
              </a:ext>
            </a:extLst>
          </p:cNvPr>
          <p:cNvSpPr txBox="1"/>
          <p:nvPr/>
        </p:nvSpPr>
        <p:spPr>
          <a:xfrm>
            <a:off x="4306182" y="5631185"/>
            <a:ext cx="397866" cy="230832"/>
          </a:xfrm>
          <a:prstGeom prst="rect">
            <a:avLst/>
          </a:prstGeom>
          <a:noFill/>
        </p:spPr>
        <p:txBody>
          <a:bodyPr wrap="none" rtlCol="0">
            <a:spAutoFit/>
          </a:bodyPr>
          <a:lstStyle/>
          <a:p>
            <a:pPr defTabSz="457200">
              <a:defRPr/>
            </a:pPr>
            <a:r>
              <a:rPr lang="en-US" sz="900" i="1" kern="0">
                <a:solidFill>
                  <a:prstClr val="black"/>
                </a:solidFill>
              </a:rPr>
              <a:t>Fort</a:t>
            </a:r>
          </a:p>
        </p:txBody>
      </p:sp>
      <p:sp>
        <p:nvSpPr>
          <p:cNvPr id="245" name="TextBox 244">
            <a:extLst>
              <a:ext uri="{FF2B5EF4-FFF2-40B4-BE49-F238E27FC236}">
                <a16:creationId xmlns:a16="http://schemas.microsoft.com/office/drawing/2014/main" id="{50E7F537-E31F-2D46-B0A0-392580BE2136}"/>
              </a:ext>
            </a:extLst>
          </p:cNvPr>
          <p:cNvSpPr txBox="1"/>
          <p:nvPr/>
        </p:nvSpPr>
        <p:spPr>
          <a:xfrm>
            <a:off x="518321" y="5631185"/>
            <a:ext cx="492443" cy="230832"/>
          </a:xfrm>
          <a:prstGeom prst="rect">
            <a:avLst/>
          </a:prstGeom>
          <a:noFill/>
        </p:spPr>
        <p:txBody>
          <a:bodyPr wrap="none" rtlCol="0">
            <a:spAutoFit/>
          </a:bodyPr>
          <a:lstStyle/>
          <a:p>
            <a:pPr defTabSz="457200">
              <a:defRPr/>
            </a:pPr>
            <a:r>
              <a:rPr lang="en-US" sz="900" i="1" kern="0" err="1">
                <a:solidFill>
                  <a:prstClr val="black"/>
                </a:solidFill>
              </a:rPr>
              <a:t>Faible</a:t>
            </a:r>
            <a:endParaRPr lang="en-US" sz="900" i="1" kern="0">
              <a:solidFill>
                <a:prstClr val="black"/>
              </a:solidFill>
            </a:endParaRPr>
          </a:p>
        </p:txBody>
      </p:sp>
      <p:cxnSp>
        <p:nvCxnSpPr>
          <p:cNvPr id="238" name="Straight Arrow Connector 237">
            <a:extLst>
              <a:ext uri="{FF2B5EF4-FFF2-40B4-BE49-F238E27FC236}">
                <a16:creationId xmlns:a16="http://schemas.microsoft.com/office/drawing/2014/main" id="{83C94673-F450-7FCC-E959-41611302E61F}"/>
              </a:ext>
            </a:extLst>
          </p:cNvPr>
          <p:cNvCxnSpPr>
            <a:cxnSpLocks/>
            <a:stCxn id="241" idx="3"/>
            <a:endCxn id="240" idx="1"/>
          </p:cNvCxnSpPr>
          <p:nvPr/>
        </p:nvCxnSpPr>
        <p:spPr>
          <a:xfrm flipH="1" flipV="1">
            <a:off x="338966" y="1758446"/>
            <a:ext cx="19838" cy="3406192"/>
          </a:xfrm>
          <a:prstGeom prst="straightConnector1">
            <a:avLst/>
          </a:prstGeom>
          <a:noFill/>
          <a:ln w="19050" cap="flat" cmpd="sng" algn="ctr">
            <a:solidFill>
              <a:srgbClr val="3C3732"/>
            </a:solidFill>
            <a:prstDash val="solid"/>
            <a:headEnd type="triangle"/>
            <a:tailEnd type="triangle"/>
          </a:ln>
          <a:effectLst/>
        </p:spPr>
      </p:cxnSp>
      <p:sp>
        <p:nvSpPr>
          <p:cNvPr id="239" name="TextBox 238">
            <a:extLst>
              <a:ext uri="{FF2B5EF4-FFF2-40B4-BE49-F238E27FC236}">
                <a16:creationId xmlns:a16="http://schemas.microsoft.com/office/drawing/2014/main" id="{74D76361-9BB6-9572-5670-8ADC7470DC40}"/>
              </a:ext>
            </a:extLst>
          </p:cNvPr>
          <p:cNvSpPr txBox="1"/>
          <p:nvPr/>
        </p:nvSpPr>
        <p:spPr>
          <a:xfrm rot="16200000">
            <a:off x="-666386" y="3389749"/>
            <a:ext cx="2078753" cy="276999"/>
          </a:xfrm>
          <a:prstGeom prst="rect">
            <a:avLst/>
          </a:prstGeom>
          <a:solidFill>
            <a:sysClr val="window" lastClr="FFFFFF"/>
          </a:solidFill>
        </p:spPr>
        <p:txBody>
          <a:bodyPr wrap="square" rtlCol="0">
            <a:spAutoFit/>
          </a:bodyPr>
          <a:lstStyle/>
          <a:p>
            <a:pPr algn="ctr" defTabSz="457200">
              <a:defRPr/>
            </a:pPr>
            <a:r>
              <a:rPr lang="en-US" sz="1200" b="1" kern="0" cap="all" err="1">
                <a:solidFill>
                  <a:prstClr val="black"/>
                </a:solidFill>
              </a:rPr>
              <a:t>Faisabilité</a:t>
            </a:r>
            <a:endParaRPr lang="en-US" sz="1200" b="1" kern="0" cap="all">
              <a:solidFill>
                <a:prstClr val="black"/>
              </a:solidFill>
            </a:endParaRPr>
          </a:p>
        </p:txBody>
      </p:sp>
      <p:sp>
        <p:nvSpPr>
          <p:cNvPr id="240" name="TextBox 239">
            <a:extLst>
              <a:ext uri="{FF2B5EF4-FFF2-40B4-BE49-F238E27FC236}">
                <a16:creationId xmlns:a16="http://schemas.microsoft.com/office/drawing/2014/main" id="{58FA798A-E995-095E-4C01-401D922F8B17}"/>
              </a:ext>
            </a:extLst>
          </p:cNvPr>
          <p:cNvSpPr txBox="1"/>
          <p:nvPr/>
        </p:nvSpPr>
        <p:spPr>
          <a:xfrm rot="16200000">
            <a:off x="110378" y="1414442"/>
            <a:ext cx="457176" cy="230832"/>
          </a:xfrm>
          <a:prstGeom prst="rect">
            <a:avLst/>
          </a:prstGeom>
          <a:noFill/>
        </p:spPr>
        <p:txBody>
          <a:bodyPr wrap="none" rtlCol="0">
            <a:spAutoFit/>
          </a:bodyPr>
          <a:lstStyle/>
          <a:p>
            <a:pPr defTabSz="457200">
              <a:defRPr/>
            </a:pPr>
            <a:r>
              <a:rPr lang="en-US" sz="900" i="1" kern="0">
                <a:solidFill>
                  <a:prstClr val="black"/>
                </a:solidFill>
              </a:rPr>
              <a:t>Forte</a:t>
            </a:r>
          </a:p>
        </p:txBody>
      </p:sp>
      <p:sp>
        <p:nvSpPr>
          <p:cNvPr id="241" name="TextBox 240">
            <a:extLst>
              <a:ext uri="{FF2B5EF4-FFF2-40B4-BE49-F238E27FC236}">
                <a16:creationId xmlns:a16="http://schemas.microsoft.com/office/drawing/2014/main" id="{3CDA5543-428D-E194-05A2-8F6E572D2ECC}"/>
              </a:ext>
            </a:extLst>
          </p:cNvPr>
          <p:cNvSpPr txBox="1"/>
          <p:nvPr/>
        </p:nvSpPr>
        <p:spPr>
          <a:xfrm rot="16200000">
            <a:off x="112582" y="5295443"/>
            <a:ext cx="492443" cy="230832"/>
          </a:xfrm>
          <a:prstGeom prst="rect">
            <a:avLst/>
          </a:prstGeom>
          <a:noFill/>
        </p:spPr>
        <p:txBody>
          <a:bodyPr wrap="none" rtlCol="0">
            <a:spAutoFit/>
          </a:bodyPr>
          <a:lstStyle/>
          <a:p>
            <a:pPr defTabSz="457200">
              <a:defRPr/>
            </a:pPr>
            <a:r>
              <a:rPr lang="en-US" sz="900" i="1" kern="0" err="1">
                <a:solidFill>
                  <a:prstClr val="black"/>
                </a:solidFill>
              </a:rPr>
              <a:t>Faible</a:t>
            </a:r>
            <a:endParaRPr lang="en-US" sz="900" i="1" kern="0">
              <a:solidFill>
                <a:prstClr val="black"/>
              </a:solidFill>
            </a:endParaRPr>
          </a:p>
        </p:txBody>
      </p:sp>
      <p:sp>
        <p:nvSpPr>
          <p:cNvPr id="216" name="TextBox 215">
            <a:extLst>
              <a:ext uri="{FF2B5EF4-FFF2-40B4-BE49-F238E27FC236}">
                <a16:creationId xmlns:a16="http://schemas.microsoft.com/office/drawing/2014/main" id="{6D86404E-48CC-D5D7-7F48-00E2E92CAF57}"/>
              </a:ext>
            </a:extLst>
          </p:cNvPr>
          <p:cNvSpPr txBox="1"/>
          <p:nvPr/>
        </p:nvSpPr>
        <p:spPr>
          <a:xfrm>
            <a:off x="300655" y="5903421"/>
            <a:ext cx="4534268" cy="523220"/>
          </a:xfrm>
          <a:prstGeom prst="rect">
            <a:avLst/>
          </a:prstGeom>
          <a:noFill/>
        </p:spPr>
        <p:txBody>
          <a:bodyPr wrap="square" rtlCol="0">
            <a:spAutoFit/>
          </a:bodyPr>
          <a:lstStyle/>
          <a:p>
            <a:pPr algn="ctr" defTabSz="457200">
              <a:defRPr/>
            </a:pPr>
            <a:r>
              <a:rPr lang="fr-FR" sz="1400" b="1" kern="0">
                <a:solidFill>
                  <a:prstClr val="white">
                    <a:lumMod val="65000"/>
                  </a:prstClr>
                </a:solidFill>
                <a:cs typeface="Calibri" panose="020F0502020204030204" pitchFamily="34" charset="0"/>
              </a:rPr>
              <a:t>Proposition de priorisation des leviers d’amélioration à affiner en séance </a:t>
            </a:r>
          </a:p>
        </p:txBody>
      </p:sp>
      <p:graphicFrame>
        <p:nvGraphicFramePr>
          <p:cNvPr id="3" name="Tableau 4">
            <a:extLst>
              <a:ext uri="{FF2B5EF4-FFF2-40B4-BE49-F238E27FC236}">
                <a16:creationId xmlns:a16="http://schemas.microsoft.com/office/drawing/2014/main" id="{B04B9928-985F-990B-785F-A4FF8D45FBC9}"/>
              </a:ext>
            </a:extLst>
          </p:cNvPr>
          <p:cNvGraphicFramePr>
            <a:graphicFrameLocks noGrp="1"/>
          </p:cNvGraphicFramePr>
          <p:nvPr/>
        </p:nvGraphicFramePr>
        <p:xfrm>
          <a:off x="5117768" y="681787"/>
          <a:ext cx="6845507" cy="5657370"/>
        </p:xfrm>
        <a:graphic>
          <a:graphicData uri="http://schemas.openxmlformats.org/drawingml/2006/table">
            <a:tbl>
              <a:tblPr firstRow="1" bandRow="1">
                <a:tableStyleId>{5C22544A-7EE6-4342-B048-85BDC9FD1C3A}</a:tableStyleId>
              </a:tblPr>
              <a:tblGrid>
                <a:gridCol w="227042">
                  <a:extLst>
                    <a:ext uri="{9D8B030D-6E8A-4147-A177-3AD203B41FA5}">
                      <a16:colId xmlns:a16="http://schemas.microsoft.com/office/drawing/2014/main" val="296326398"/>
                    </a:ext>
                  </a:extLst>
                </a:gridCol>
                <a:gridCol w="227042">
                  <a:extLst>
                    <a:ext uri="{9D8B030D-6E8A-4147-A177-3AD203B41FA5}">
                      <a16:colId xmlns:a16="http://schemas.microsoft.com/office/drawing/2014/main" val="1825412525"/>
                    </a:ext>
                  </a:extLst>
                </a:gridCol>
                <a:gridCol w="4591423">
                  <a:extLst>
                    <a:ext uri="{9D8B030D-6E8A-4147-A177-3AD203B41FA5}">
                      <a16:colId xmlns:a16="http://schemas.microsoft.com/office/drawing/2014/main" val="2020795591"/>
                    </a:ext>
                  </a:extLst>
                </a:gridCol>
                <a:gridCol w="900000">
                  <a:extLst>
                    <a:ext uri="{9D8B030D-6E8A-4147-A177-3AD203B41FA5}">
                      <a16:colId xmlns:a16="http://schemas.microsoft.com/office/drawing/2014/main" val="2566130432"/>
                    </a:ext>
                  </a:extLst>
                </a:gridCol>
                <a:gridCol w="900000">
                  <a:extLst>
                    <a:ext uri="{9D8B030D-6E8A-4147-A177-3AD203B41FA5}">
                      <a16:colId xmlns:a16="http://schemas.microsoft.com/office/drawing/2014/main" val="1298159991"/>
                    </a:ext>
                  </a:extLst>
                </a:gridCol>
              </a:tblGrid>
              <a:tr h="434624">
                <a:tc>
                  <a:txBody>
                    <a:bodyPr/>
                    <a:lstStyle/>
                    <a:p>
                      <a:pPr algn="ctr"/>
                      <a:endParaRPr lang="fr-FR" sz="1400" b="1" noProof="0"/>
                    </a:p>
                  </a:txBody>
                  <a:tcPr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fr-FR" sz="1400" b="1" noProof="0">
                          <a:solidFill>
                            <a:schemeClr val="tx1"/>
                          </a:solidFill>
                        </a:rPr>
                        <a:t>#</a:t>
                      </a:r>
                    </a:p>
                  </a:txBody>
                  <a:tcPr anchor="ctr">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400" noProof="0">
                          <a:solidFill>
                            <a:schemeClr val="tx1"/>
                          </a:solidFill>
                        </a:rPr>
                        <a:t>Leviers</a:t>
                      </a:r>
                    </a:p>
                  </a:txBody>
                  <a:tcPr anchor="ctr">
                    <a:lnR w="12700" cap="flat" cmpd="sng" algn="ctr">
                      <a:solidFill>
                        <a:schemeClr val="bg1">
                          <a:lumMod val="75000"/>
                        </a:schemeClr>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400" noProof="0">
                          <a:solidFill>
                            <a:schemeClr val="tx1"/>
                          </a:solidFill>
                        </a:rPr>
                        <a:t>Enjeu</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400" noProof="0">
                          <a:solidFill>
                            <a:schemeClr val="tx1"/>
                          </a:solidFill>
                        </a:rPr>
                        <a:t>Access</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605903202"/>
                  </a:ext>
                </a:extLst>
              </a:tr>
              <a:tr h="389417">
                <a:tc rowSpan="5">
                  <a:txBody>
                    <a:bodyPr/>
                    <a:lstStyle/>
                    <a:p>
                      <a:pPr algn="ctr"/>
                      <a:r>
                        <a:rPr lang="fr-FR" sz="1200" b="0" i="1" noProof="0"/>
                        <a:t>PROCESSUS</a:t>
                      </a:r>
                    </a:p>
                  </a:txBody>
                  <a:tcPr marL="0" marR="0" marT="0" marB="0" vert="vert27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fr-FR" sz="1200" b="0" i="1" noProof="0"/>
                        <a:t>1</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fr-FR" sz="1100" b="0">
                        <a:latin typeface="+mn-lt"/>
                      </a:endParaRPr>
                    </a:p>
                  </a:txBody>
                  <a:tcPr marT="0" marB="0" anchor="ctr">
                    <a:lnL w="12700" cmpd="sng">
                      <a:noFill/>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lg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fr-FR" sz="1100" b="0">
                          <a:latin typeface="+mn-lt"/>
                        </a:rPr>
                        <a:t>1-3</a:t>
                      </a: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lg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fr-FR" sz="1100" b="0">
                        <a:latin typeface="+mn-lt"/>
                      </a:endParaRP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lgDash"/>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21453730"/>
                  </a:ext>
                </a:extLst>
              </a:tr>
              <a:tr h="389417">
                <a:tc vMerge="1">
                  <a:txBody>
                    <a:bodyPr/>
                    <a:lstStyle/>
                    <a:p>
                      <a:pPr algn="ctr"/>
                      <a:endParaRPr lang="fr-FR" sz="1200" b="0" i="1" noProof="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fr-FR" sz="1200" b="0" i="1" noProof="0"/>
                        <a:t>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fr-FR" sz="1100" b="0">
                        <a:latin typeface="+mn-lt"/>
                      </a:endParaRPr>
                    </a:p>
                  </a:txBody>
                  <a:tcPr marT="0" marB="0" anchor="ctr">
                    <a:lnL w="12700" cmpd="sng">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lgDash"/>
                      <a:round/>
                      <a:headEnd type="none" w="med" len="med"/>
                      <a:tailEnd type="none" w="med" len="med"/>
                    </a:lnT>
                    <a:lnB w="12700" cap="flat" cmpd="sng" algn="ctr">
                      <a:solidFill>
                        <a:schemeClr val="bg1">
                          <a:lumMod val="75000"/>
                        </a:schemeClr>
                      </a:solidFill>
                      <a:prstDash val="lg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fr-FR" sz="1100" b="0">
                        <a:latin typeface="+mn-lt"/>
                      </a:endParaRP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lgDash"/>
                      <a:round/>
                      <a:headEnd type="none" w="med" len="med"/>
                      <a:tailEnd type="none" w="med" len="med"/>
                    </a:lnT>
                    <a:lnB w="12700" cap="flat" cmpd="sng" algn="ctr">
                      <a:solidFill>
                        <a:schemeClr val="bg1">
                          <a:lumMod val="75000"/>
                        </a:schemeClr>
                      </a:solidFill>
                      <a:prstDash val="lg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fr-FR" sz="1100" b="0">
                        <a:latin typeface="+mn-lt"/>
                      </a:endParaRP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lgDash"/>
                      <a:round/>
                      <a:headEnd type="none" w="med" len="med"/>
                      <a:tailEnd type="none" w="med" len="med"/>
                    </a:lnT>
                    <a:lnB w="12700" cap="flat" cmpd="sng" algn="ctr">
                      <a:solidFill>
                        <a:schemeClr val="bg1">
                          <a:lumMod val="75000"/>
                        </a:schemeClr>
                      </a:solidFill>
                      <a:prstDash val="lgDash"/>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62798156"/>
                  </a:ext>
                </a:extLst>
              </a:tr>
              <a:tr h="389417">
                <a:tc vMerge="1">
                  <a:txBody>
                    <a:bodyPr/>
                    <a:lstStyle/>
                    <a:p>
                      <a:pPr algn="ctr"/>
                      <a:endParaRPr lang="fr-FR" sz="1200" b="0" i="1" noProof="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fr-FR" sz="1200" b="0" i="1" noProof="0"/>
                        <a:t>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fr-FR" sz="1100" b="0">
                        <a:latin typeface="+mn-lt"/>
                      </a:endParaRPr>
                    </a:p>
                  </a:txBody>
                  <a:tcPr marT="0" marB="0" anchor="ctr">
                    <a:lnL w="12700" cmpd="sng">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lgDash"/>
                      <a:round/>
                      <a:headEnd type="none" w="med" len="med"/>
                      <a:tailEnd type="none" w="med" len="med"/>
                    </a:lnT>
                    <a:lnB w="12700" cap="flat" cmpd="sng" algn="ctr">
                      <a:solidFill>
                        <a:schemeClr val="bg1">
                          <a:lumMod val="75000"/>
                        </a:schemeClr>
                      </a:solidFill>
                      <a:prstDash val="lg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fr-FR" sz="1100" b="0">
                        <a:latin typeface="+mn-lt"/>
                      </a:endParaRP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lgDash"/>
                      <a:round/>
                      <a:headEnd type="none" w="med" len="med"/>
                      <a:tailEnd type="none" w="med" len="med"/>
                    </a:lnT>
                    <a:lnB w="12700" cap="flat" cmpd="sng" algn="ctr">
                      <a:solidFill>
                        <a:schemeClr val="bg1">
                          <a:lumMod val="75000"/>
                        </a:schemeClr>
                      </a:solidFill>
                      <a:prstDash val="lg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fr-FR" sz="1100" b="0">
                        <a:latin typeface="+mn-lt"/>
                      </a:endParaRP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lgDash"/>
                      <a:round/>
                      <a:headEnd type="none" w="med" len="med"/>
                      <a:tailEnd type="none" w="med" len="med"/>
                    </a:lnT>
                    <a:lnB w="12700" cap="flat" cmpd="sng" algn="ctr">
                      <a:solidFill>
                        <a:schemeClr val="bg1">
                          <a:lumMod val="75000"/>
                        </a:schemeClr>
                      </a:solidFill>
                      <a:prstDash val="lgDash"/>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4273262"/>
                  </a:ext>
                </a:extLst>
              </a:tr>
              <a:tr h="389417">
                <a:tc vMerge="1">
                  <a:txBody>
                    <a:bodyPr/>
                    <a:lstStyle/>
                    <a:p>
                      <a:pPr algn="ctr"/>
                      <a:endParaRPr lang="fr-FR" sz="1200" b="0" i="1" noProof="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fr-FR" sz="1200" b="0" i="1" noProof="0"/>
                        <a:t>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fr-FR" sz="1100" b="0">
                        <a:latin typeface="+mn-lt"/>
                      </a:endParaRPr>
                    </a:p>
                  </a:txBody>
                  <a:tcPr marT="0" marB="0" anchor="ctr">
                    <a:lnL w="12700" cmpd="sng">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lgDash"/>
                      <a:round/>
                      <a:headEnd type="none" w="med" len="med"/>
                      <a:tailEnd type="none" w="med" len="med"/>
                    </a:lnT>
                    <a:lnB w="12700" cap="flat" cmpd="sng" algn="ctr">
                      <a:solidFill>
                        <a:schemeClr val="bg1">
                          <a:lumMod val="75000"/>
                        </a:schemeClr>
                      </a:solidFill>
                      <a:prstDash val="lg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fr-FR" sz="1100" b="0">
                        <a:latin typeface="+mn-lt"/>
                      </a:endParaRP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lgDash"/>
                      <a:round/>
                      <a:headEnd type="none" w="med" len="med"/>
                      <a:tailEnd type="none" w="med" len="med"/>
                    </a:lnT>
                    <a:lnB w="12700" cap="flat" cmpd="sng" algn="ctr">
                      <a:solidFill>
                        <a:schemeClr val="bg1">
                          <a:lumMod val="75000"/>
                        </a:schemeClr>
                      </a:solidFill>
                      <a:prstDash val="lg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fr-FR" sz="1100" b="0">
                        <a:latin typeface="+mn-lt"/>
                      </a:endParaRP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lgDash"/>
                      <a:round/>
                      <a:headEnd type="none" w="med" len="med"/>
                      <a:tailEnd type="none" w="med" len="med"/>
                    </a:lnT>
                    <a:lnB w="12700" cap="flat" cmpd="sng" algn="ctr">
                      <a:solidFill>
                        <a:schemeClr val="bg1">
                          <a:lumMod val="75000"/>
                        </a:schemeClr>
                      </a:solidFill>
                      <a:prstDash val="lgDash"/>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76436340"/>
                  </a:ext>
                </a:extLst>
              </a:tr>
              <a:tr h="549742">
                <a:tc vMerge="1">
                  <a:txBody>
                    <a:bodyPr/>
                    <a:lstStyle/>
                    <a:p>
                      <a:pPr algn="ctr"/>
                      <a:endParaRPr lang="fr-FR" sz="1200" b="0" i="1" noProof="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fr-FR" sz="1200" b="0" i="1" noProof="0"/>
                        <a:t>5</a:t>
                      </a:r>
                    </a:p>
                  </a:txBody>
                  <a:tcPr marL="0" marR="0" marT="0" marB="0" anchor="ctr">
                    <a:lnL w="12700" cmpd="sng">
                      <a:noFill/>
                    </a:lnL>
                    <a:lnR w="12700" cmpd="sng">
                      <a:noFill/>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r-FR" sz="1100" b="0">
                        <a:latin typeface="+mn-lt"/>
                      </a:endParaRPr>
                    </a:p>
                  </a:txBody>
                  <a:tcPr marT="0" marB="0" anchor="ctr">
                    <a:lnL w="12700" cmpd="sng">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lgDash"/>
                      <a:round/>
                      <a:headEnd type="none" w="med" len="med"/>
                      <a:tailEnd type="none" w="med" len="med"/>
                    </a:lnT>
                    <a:lnB w="12700" cap="flat" cmpd="sng" algn="ctr">
                      <a:solidFill>
                        <a:schemeClr val="bg1">
                          <a:lumMod val="75000"/>
                        </a:schemeClr>
                      </a:solidFill>
                      <a:prstDash val="lg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fr-FR" sz="1100" b="0">
                        <a:latin typeface="+mn-lt"/>
                      </a:endParaRP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lgDash"/>
                      <a:round/>
                      <a:headEnd type="none" w="med" len="med"/>
                      <a:tailEnd type="none" w="med" len="med"/>
                    </a:lnT>
                    <a:lnB w="12700" cap="flat" cmpd="sng" algn="ctr">
                      <a:solidFill>
                        <a:schemeClr val="bg1">
                          <a:lumMod val="75000"/>
                        </a:schemeClr>
                      </a:solidFill>
                      <a:prstDash val="lg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fr-FR" sz="1100" b="0">
                        <a:latin typeface="+mn-lt"/>
                      </a:endParaRP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lgDash"/>
                      <a:round/>
                      <a:headEnd type="none" w="med" len="med"/>
                      <a:tailEnd type="none" w="med" len="med"/>
                    </a:lnT>
                    <a:lnB w="12700" cap="flat" cmpd="sng" algn="ctr">
                      <a:solidFill>
                        <a:schemeClr val="bg1">
                          <a:lumMod val="75000"/>
                        </a:schemeClr>
                      </a:solidFill>
                      <a:prstDash val="lgDash"/>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29417611"/>
                  </a:ext>
                </a:extLst>
              </a:tr>
              <a:tr h="389417">
                <a:tc rowSpan="5">
                  <a:txBody>
                    <a:bodyPr/>
                    <a:lstStyle/>
                    <a:p>
                      <a:pPr algn="ctr"/>
                      <a:r>
                        <a:rPr lang="fr-FR" sz="1200" b="0" i="1" noProof="0"/>
                        <a:t>ORGANISATION</a:t>
                      </a:r>
                    </a:p>
                  </a:txBody>
                  <a:tcPr marL="0" marR="0" marT="0" marB="0" vert="vert270"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fr-FR" sz="1200" b="0" i="1" noProof="0"/>
                        <a:t>6</a:t>
                      </a:r>
                    </a:p>
                  </a:txBody>
                  <a:tcPr marL="0" marR="0" marT="0" marB="0"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fr-FR" sz="1100" b="0" kern="1200" noProof="0">
                        <a:solidFill>
                          <a:schemeClr val="dk1"/>
                        </a:solidFill>
                        <a:latin typeface="+mn-lt"/>
                        <a:ea typeface="+mn-ea"/>
                        <a:cs typeface="+mn-cs"/>
                      </a:endParaRPr>
                    </a:p>
                  </a:txBody>
                  <a:tcPr marT="0" marB="0" anchor="ctr">
                    <a:lnL w="12700" cmpd="sng">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lgDash"/>
                      <a:round/>
                      <a:headEnd type="none" w="med" len="med"/>
                      <a:tailEnd type="none" w="med" len="med"/>
                    </a:lnT>
                    <a:lnB w="12700" cap="flat" cmpd="sng" algn="ctr">
                      <a:solidFill>
                        <a:schemeClr val="bg1">
                          <a:lumMod val="75000"/>
                        </a:schemeClr>
                      </a:solidFill>
                      <a:prstDash val="lg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fr-FR" sz="1100" b="0" kern="1200" noProof="0">
                        <a:solidFill>
                          <a:schemeClr val="dk1"/>
                        </a:solidFill>
                        <a:latin typeface="+mn-lt"/>
                        <a:ea typeface="+mn-ea"/>
                        <a:cs typeface="+mn-cs"/>
                      </a:endParaRP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lgDash"/>
                      <a:round/>
                      <a:headEnd type="none" w="med" len="med"/>
                      <a:tailEnd type="none" w="med" len="med"/>
                    </a:lnT>
                    <a:lnB w="12700" cap="flat" cmpd="sng" algn="ctr">
                      <a:solidFill>
                        <a:schemeClr val="bg1">
                          <a:lumMod val="75000"/>
                        </a:schemeClr>
                      </a:solidFill>
                      <a:prstDash val="lg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fr-FR" sz="1100" b="0" kern="1200" noProof="0">
                        <a:solidFill>
                          <a:schemeClr val="dk1"/>
                        </a:solidFill>
                        <a:latin typeface="+mn-lt"/>
                        <a:ea typeface="+mn-ea"/>
                        <a:cs typeface="+mn-cs"/>
                      </a:endParaRP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lgDash"/>
                      <a:round/>
                      <a:headEnd type="none" w="med" len="med"/>
                      <a:tailEnd type="none" w="med" len="med"/>
                    </a:lnT>
                    <a:lnB w="12700" cap="flat" cmpd="sng" algn="ctr">
                      <a:solidFill>
                        <a:schemeClr val="bg1">
                          <a:lumMod val="75000"/>
                        </a:schemeClr>
                      </a:solidFill>
                      <a:prstDash val="lgDash"/>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9590587"/>
                  </a:ext>
                </a:extLst>
              </a:tr>
              <a:tr h="389417">
                <a:tc vMerge="1">
                  <a:txBody>
                    <a:bodyPr/>
                    <a:lstStyle/>
                    <a:p>
                      <a:pPr algn="ctr"/>
                      <a:endParaRPr lang="fr-FR" sz="1200" b="0" i="1" noProof="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fr-FR" sz="1200" b="0" i="1" noProof="0"/>
                        <a:t>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fr-FR" sz="1100" b="0" kern="1200" noProof="0">
                        <a:solidFill>
                          <a:schemeClr val="dk1"/>
                        </a:solidFill>
                        <a:latin typeface="+mn-lt"/>
                        <a:ea typeface="+mn-ea"/>
                        <a:cs typeface="+mn-cs"/>
                      </a:endParaRPr>
                    </a:p>
                  </a:txBody>
                  <a:tcPr marT="0" marB="0" anchor="ctr">
                    <a:lnL w="12700" cmpd="sng">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lgDash"/>
                      <a:round/>
                      <a:headEnd type="none" w="med" len="med"/>
                      <a:tailEnd type="none" w="med" len="med"/>
                    </a:lnT>
                    <a:lnB w="12700" cap="flat" cmpd="sng" algn="ctr">
                      <a:solidFill>
                        <a:schemeClr val="bg1">
                          <a:lumMod val="75000"/>
                        </a:schemeClr>
                      </a:solidFill>
                      <a:prstDash val="lg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fr-FR" sz="1100" b="0" kern="1200" noProof="0">
                        <a:solidFill>
                          <a:schemeClr val="dk1"/>
                        </a:solidFill>
                        <a:latin typeface="+mn-lt"/>
                        <a:ea typeface="+mn-ea"/>
                        <a:cs typeface="+mn-cs"/>
                      </a:endParaRP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lgDash"/>
                      <a:round/>
                      <a:headEnd type="none" w="med" len="med"/>
                      <a:tailEnd type="none" w="med" len="med"/>
                    </a:lnT>
                    <a:lnB w="12700" cap="flat" cmpd="sng" algn="ctr">
                      <a:solidFill>
                        <a:schemeClr val="bg1">
                          <a:lumMod val="75000"/>
                        </a:schemeClr>
                      </a:solidFill>
                      <a:prstDash val="lg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fr-FR" sz="1100" b="0" kern="1200" noProof="0">
                        <a:solidFill>
                          <a:schemeClr val="dk1"/>
                        </a:solidFill>
                        <a:latin typeface="+mn-lt"/>
                        <a:ea typeface="+mn-ea"/>
                        <a:cs typeface="+mn-cs"/>
                      </a:endParaRP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lgDash"/>
                      <a:round/>
                      <a:headEnd type="none" w="med" len="med"/>
                      <a:tailEnd type="none" w="med" len="med"/>
                    </a:lnT>
                    <a:lnB w="12700" cap="flat" cmpd="sng" algn="ctr">
                      <a:solidFill>
                        <a:schemeClr val="bg1">
                          <a:lumMod val="75000"/>
                        </a:schemeClr>
                      </a:solidFill>
                      <a:prstDash val="lgDash"/>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59156078"/>
                  </a:ext>
                </a:extLst>
              </a:tr>
              <a:tr h="389417">
                <a:tc vMerge="1">
                  <a:txBody>
                    <a:bodyPr/>
                    <a:lstStyle/>
                    <a:p>
                      <a:pPr algn="ctr"/>
                      <a:endParaRPr lang="fr-FR" sz="1200" b="0" i="1" noProof="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fr-FR" sz="1200" b="0" i="1" noProof="0"/>
                        <a:t>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fr-FR" sz="1100" b="0" kern="1200" noProof="0">
                        <a:solidFill>
                          <a:schemeClr val="dk1"/>
                        </a:solidFill>
                        <a:latin typeface="+mn-lt"/>
                        <a:ea typeface="+mn-ea"/>
                        <a:cs typeface="+mn-cs"/>
                      </a:endParaRPr>
                    </a:p>
                  </a:txBody>
                  <a:tcPr marT="0" marB="0" anchor="ctr">
                    <a:lnL w="12700" cmpd="sng">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lgDash"/>
                      <a:round/>
                      <a:headEnd type="none" w="med" len="med"/>
                      <a:tailEnd type="none" w="med" len="med"/>
                    </a:lnT>
                    <a:lnB w="12700" cap="flat" cmpd="sng" algn="ctr">
                      <a:solidFill>
                        <a:schemeClr val="bg1">
                          <a:lumMod val="75000"/>
                        </a:schemeClr>
                      </a:solidFill>
                      <a:prstDash val="lg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fr-FR" sz="1100" b="0" kern="1200" noProof="0">
                        <a:solidFill>
                          <a:schemeClr val="dk1"/>
                        </a:solidFill>
                        <a:latin typeface="+mn-lt"/>
                        <a:ea typeface="+mn-ea"/>
                        <a:cs typeface="+mn-cs"/>
                      </a:endParaRP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lgDash"/>
                      <a:round/>
                      <a:headEnd type="none" w="med" len="med"/>
                      <a:tailEnd type="none" w="med" len="med"/>
                    </a:lnT>
                    <a:lnB w="12700" cap="flat" cmpd="sng" algn="ctr">
                      <a:solidFill>
                        <a:schemeClr val="bg1">
                          <a:lumMod val="75000"/>
                        </a:schemeClr>
                      </a:solidFill>
                      <a:prstDash val="lg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fr-FR" sz="1100" b="0" kern="1200" noProof="0">
                        <a:solidFill>
                          <a:schemeClr val="dk1"/>
                        </a:solidFill>
                        <a:latin typeface="+mn-lt"/>
                        <a:ea typeface="+mn-ea"/>
                        <a:cs typeface="+mn-cs"/>
                      </a:endParaRP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lgDash"/>
                      <a:round/>
                      <a:headEnd type="none" w="med" len="med"/>
                      <a:tailEnd type="none" w="med" len="med"/>
                    </a:lnT>
                    <a:lnB w="12700" cap="flat" cmpd="sng" algn="ctr">
                      <a:solidFill>
                        <a:schemeClr val="bg1">
                          <a:lumMod val="75000"/>
                        </a:schemeClr>
                      </a:solidFill>
                      <a:prstDash val="lgDash"/>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33335717"/>
                  </a:ext>
                </a:extLst>
              </a:tr>
              <a:tr h="389417">
                <a:tc vMerge="1">
                  <a:txBody>
                    <a:bodyPr/>
                    <a:lstStyle/>
                    <a:p>
                      <a:pPr algn="ctr"/>
                      <a:endParaRPr lang="fr-FR" sz="1200" b="0" i="1" noProof="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fr-FR" sz="1200" b="0" i="1" noProof="0"/>
                        <a:t>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fr-FR" sz="1100" b="0" kern="1200" noProof="0">
                        <a:solidFill>
                          <a:schemeClr val="dk1"/>
                        </a:solidFill>
                        <a:latin typeface="+mn-lt"/>
                        <a:ea typeface="+mn-ea"/>
                        <a:cs typeface="+mn-cs"/>
                      </a:endParaRPr>
                    </a:p>
                  </a:txBody>
                  <a:tcPr marT="0" marB="0" anchor="ctr">
                    <a:lnL w="12700" cmpd="sng">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lgDash"/>
                      <a:round/>
                      <a:headEnd type="none" w="med" len="med"/>
                      <a:tailEnd type="none" w="med" len="med"/>
                    </a:lnT>
                    <a:lnB w="12700" cap="flat" cmpd="sng" algn="ctr">
                      <a:solidFill>
                        <a:schemeClr val="bg1">
                          <a:lumMod val="75000"/>
                        </a:schemeClr>
                      </a:solidFill>
                      <a:prstDash val="lg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fr-FR" sz="1100" b="0" kern="1200" noProof="0">
                        <a:solidFill>
                          <a:schemeClr val="dk1"/>
                        </a:solidFill>
                        <a:latin typeface="+mn-lt"/>
                        <a:ea typeface="+mn-ea"/>
                        <a:cs typeface="+mn-cs"/>
                      </a:endParaRP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lgDash"/>
                      <a:round/>
                      <a:headEnd type="none" w="med" len="med"/>
                      <a:tailEnd type="none" w="med" len="med"/>
                    </a:lnT>
                    <a:lnB w="12700" cap="flat" cmpd="sng" algn="ctr">
                      <a:solidFill>
                        <a:schemeClr val="bg1">
                          <a:lumMod val="75000"/>
                        </a:schemeClr>
                      </a:solidFill>
                      <a:prstDash val="lg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fr-FR" sz="1100" b="0" kern="1200" noProof="0">
                        <a:solidFill>
                          <a:schemeClr val="dk1"/>
                        </a:solidFill>
                        <a:latin typeface="+mn-lt"/>
                        <a:ea typeface="+mn-ea"/>
                        <a:cs typeface="+mn-cs"/>
                      </a:endParaRP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lgDash"/>
                      <a:round/>
                      <a:headEnd type="none" w="med" len="med"/>
                      <a:tailEnd type="none" w="med" len="med"/>
                    </a:lnT>
                    <a:lnB w="12700" cap="flat" cmpd="sng" algn="ctr">
                      <a:solidFill>
                        <a:schemeClr val="bg1">
                          <a:lumMod val="75000"/>
                        </a:schemeClr>
                      </a:solidFill>
                      <a:prstDash val="lgDash"/>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00894015"/>
                  </a:ext>
                </a:extLst>
              </a:tr>
              <a:tr h="389417">
                <a:tc vMerge="1">
                  <a:txBody>
                    <a:bodyPr/>
                    <a:lstStyle/>
                    <a:p>
                      <a:pPr algn="ctr"/>
                      <a:endParaRPr lang="fr-FR" sz="1200" b="0" i="1" noProof="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fr-FR" sz="1200" b="0" i="1" noProof="0"/>
                        <a:t>10</a:t>
                      </a:r>
                    </a:p>
                  </a:txBody>
                  <a:tcPr marL="0" marR="0" marT="0" marB="0" anchor="ctr">
                    <a:lnL w="12700" cmpd="sng">
                      <a:noFill/>
                    </a:lnL>
                    <a:lnR w="12700" cmpd="sng">
                      <a:noFill/>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r-FR" sz="1100" b="0" kern="1200" noProof="0">
                        <a:solidFill>
                          <a:schemeClr val="dk1"/>
                        </a:solidFill>
                        <a:latin typeface="+mn-lt"/>
                        <a:ea typeface="+mn-ea"/>
                        <a:cs typeface="+mn-cs"/>
                      </a:endParaRPr>
                    </a:p>
                  </a:txBody>
                  <a:tcPr marT="0" marB="0" anchor="ctr">
                    <a:lnL w="12700" cmpd="sng">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lgDash"/>
                      <a:round/>
                      <a:headEnd type="none" w="med" len="med"/>
                      <a:tailEnd type="none" w="med" len="med"/>
                    </a:lnT>
                    <a:lnB w="12700" cap="flat" cmpd="sng" algn="ctr">
                      <a:solidFill>
                        <a:schemeClr val="bg1">
                          <a:lumMod val="75000"/>
                        </a:schemeClr>
                      </a:solidFill>
                      <a:prstDash val="lg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fr-FR" sz="1100" b="0" kern="1200" noProof="0">
                        <a:solidFill>
                          <a:schemeClr val="dk1"/>
                        </a:solidFill>
                        <a:latin typeface="+mn-lt"/>
                        <a:ea typeface="+mn-ea"/>
                        <a:cs typeface="+mn-cs"/>
                      </a:endParaRP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lgDash"/>
                      <a:round/>
                      <a:headEnd type="none" w="med" len="med"/>
                      <a:tailEnd type="none" w="med" len="med"/>
                    </a:lnT>
                    <a:lnB w="12700" cap="flat" cmpd="sng" algn="ctr">
                      <a:solidFill>
                        <a:schemeClr val="bg1">
                          <a:lumMod val="75000"/>
                        </a:schemeClr>
                      </a:solidFill>
                      <a:prstDash val="lg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fr-FR" sz="1100" b="0" kern="1200" noProof="0">
                        <a:solidFill>
                          <a:schemeClr val="dk1"/>
                        </a:solidFill>
                        <a:latin typeface="+mn-lt"/>
                        <a:ea typeface="+mn-ea"/>
                        <a:cs typeface="+mn-cs"/>
                      </a:endParaRP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lgDash"/>
                      <a:round/>
                      <a:headEnd type="none" w="med" len="med"/>
                      <a:tailEnd type="none" w="med" len="med"/>
                    </a:lnT>
                    <a:lnB w="12700" cap="flat" cmpd="sng" algn="ctr">
                      <a:solidFill>
                        <a:schemeClr val="bg1">
                          <a:lumMod val="75000"/>
                        </a:schemeClr>
                      </a:solidFill>
                      <a:prstDash val="lgDash"/>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54671500"/>
                  </a:ext>
                </a:extLst>
              </a:tr>
              <a:tr h="389417">
                <a:tc rowSpan="3">
                  <a:txBody>
                    <a:bodyPr/>
                    <a:lstStyle/>
                    <a:p>
                      <a:pPr algn="ctr"/>
                      <a:r>
                        <a:rPr lang="fr-FR" sz="1200" b="0" i="1" noProof="0"/>
                        <a:t>OUTILS</a:t>
                      </a:r>
                    </a:p>
                  </a:txBody>
                  <a:tcPr marL="0" marR="0" marT="0" marB="0" vert="vert270"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fr-FR" sz="1200" b="0" i="1" noProof="0"/>
                        <a:t>11</a:t>
                      </a:r>
                    </a:p>
                  </a:txBody>
                  <a:tcPr marL="0" marR="0" marT="0" marB="0"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fr-FR" sz="1100" b="0" kern="1200" noProof="0">
                        <a:solidFill>
                          <a:schemeClr val="dk1"/>
                        </a:solidFill>
                        <a:latin typeface="+mn-lt"/>
                        <a:ea typeface="+mn-ea"/>
                        <a:cs typeface="+mn-cs"/>
                      </a:endParaRPr>
                    </a:p>
                  </a:txBody>
                  <a:tcPr marT="0" marB="0" anchor="ctr">
                    <a:lnL w="12700" cmpd="sng">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lgDash"/>
                      <a:round/>
                      <a:headEnd type="none" w="med" len="med"/>
                      <a:tailEnd type="none" w="med" len="med"/>
                    </a:lnT>
                    <a:lnB w="12700" cap="flat" cmpd="sng" algn="ctr">
                      <a:solidFill>
                        <a:schemeClr val="bg1">
                          <a:lumMod val="75000"/>
                        </a:schemeClr>
                      </a:solidFill>
                      <a:prstDash val="lg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fr-FR" sz="1100" b="0" kern="1200" noProof="0">
                        <a:solidFill>
                          <a:schemeClr val="dk1"/>
                        </a:solidFill>
                        <a:latin typeface="+mn-lt"/>
                        <a:ea typeface="+mn-ea"/>
                        <a:cs typeface="+mn-cs"/>
                      </a:endParaRP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lgDash"/>
                      <a:round/>
                      <a:headEnd type="none" w="med" len="med"/>
                      <a:tailEnd type="none" w="med" len="med"/>
                    </a:lnT>
                    <a:lnB w="12700" cap="flat" cmpd="sng" algn="ctr">
                      <a:solidFill>
                        <a:schemeClr val="bg1">
                          <a:lumMod val="75000"/>
                        </a:schemeClr>
                      </a:solidFill>
                      <a:prstDash val="lg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fr-FR" sz="1100" b="0" kern="1200" noProof="0">
                        <a:solidFill>
                          <a:schemeClr val="dk1"/>
                        </a:solidFill>
                        <a:latin typeface="+mn-lt"/>
                        <a:ea typeface="+mn-ea"/>
                        <a:cs typeface="+mn-cs"/>
                      </a:endParaRP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lgDash"/>
                      <a:round/>
                      <a:headEnd type="none" w="med" len="med"/>
                      <a:tailEnd type="none" w="med" len="med"/>
                    </a:lnT>
                    <a:lnB w="12700" cap="flat" cmpd="sng" algn="ctr">
                      <a:solidFill>
                        <a:schemeClr val="bg1">
                          <a:lumMod val="75000"/>
                        </a:schemeClr>
                      </a:solidFill>
                      <a:prstDash val="lgDash"/>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91874491"/>
                  </a:ext>
                </a:extLst>
              </a:tr>
              <a:tr h="389417">
                <a:tc vMerge="1">
                  <a:txBody>
                    <a:bodyPr/>
                    <a:lstStyle/>
                    <a:p>
                      <a:pPr algn="ctr"/>
                      <a:endParaRPr lang="fr-FR" sz="1200" b="0" i="1" noProof="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fr-FR" sz="1200" b="0" i="1" noProof="0"/>
                        <a:t>1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fr-FR" sz="1100" b="0" kern="1200" noProof="0">
                        <a:solidFill>
                          <a:schemeClr val="dk1"/>
                        </a:solidFill>
                        <a:latin typeface="+mn-lt"/>
                        <a:ea typeface="+mn-ea"/>
                        <a:cs typeface="+mn-cs"/>
                      </a:endParaRPr>
                    </a:p>
                  </a:txBody>
                  <a:tcPr marT="0" marB="0" anchor="ctr">
                    <a:lnL w="12700" cmpd="sng">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lgDash"/>
                      <a:round/>
                      <a:headEnd type="none" w="med" len="med"/>
                      <a:tailEnd type="none" w="med" len="med"/>
                    </a:lnT>
                    <a:lnB w="12700" cap="flat" cmpd="sng" algn="ctr">
                      <a:solidFill>
                        <a:schemeClr val="bg1">
                          <a:lumMod val="75000"/>
                        </a:schemeClr>
                      </a:solidFill>
                      <a:prstDash val="lg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fr-FR" sz="1100" b="0" kern="1200" noProof="0">
                        <a:solidFill>
                          <a:schemeClr val="dk1"/>
                        </a:solidFill>
                        <a:latin typeface="+mn-lt"/>
                        <a:ea typeface="+mn-ea"/>
                        <a:cs typeface="+mn-cs"/>
                      </a:endParaRP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lgDash"/>
                      <a:round/>
                      <a:headEnd type="none" w="med" len="med"/>
                      <a:tailEnd type="none" w="med" len="med"/>
                    </a:lnT>
                    <a:lnB w="12700" cap="flat" cmpd="sng" algn="ctr">
                      <a:solidFill>
                        <a:schemeClr val="bg1">
                          <a:lumMod val="75000"/>
                        </a:schemeClr>
                      </a:solidFill>
                      <a:prstDash val="lg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fr-FR" sz="1100" b="0" kern="1200" noProof="0">
                        <a:solidFill>
                          <a:schemeClr val="dk1"/>
                        </a:solidFill>
                        <a:latin typeface="+mn-lt"/>
                        <a:ea typeface="+mn-ea"/>
                        <a:cs typeface="+mn-cs"/>
                      </a:endParaRP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lgDash"/>
                      <a:round/>
                      <a:headEnd type="none" w="med" len="med"/>
                      <a:tailEnd type="none" w="med" len="med"/>
                    </a:lnT>
                    <a:lnB w="12700" cap="flat" cmpd="sng" algn="ctr">
                      <a:solidFill>
                        <a:schemeClr val="bg1">
                          <a:lumMod val="75000"/>
                        </a:schemeClr>
                      </a:solidFill>
                      <a:prstDash val="lgDash"/>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96276481"/>
                  </a:ext>
                </a:extLst>
              </a:tr>
              <a:tr h="389417">
                <a:tc vMerge="1">
                  <a:txBody>
                    <a:bodyPr/>
                    <a:lstStyle/>
                    <a:p>
                      <a:pPr algn="ctr"/>
                      <a:endParaRPr lang="fr-FR" sz="1200" b="0" i="1" noProof="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fr-FR" sz="1200" b="0" i="1" noProof="0"/>
                        <a:t>13</a:t>
                      </a:r>
                    </a:p>
                  </a:txBody>
                  <a:tcPr marL="0" marR="0" marT="0" marB="0" anchor="ctr">
                    <a:lnL w="12700" cmpd="sng">
                      <a:noFill/>
                    </a:lnL>
                    <a:lnR w="12700" cmpd="sng">
                      <a:noFill/>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r-FR" sz="1100" b="0" kern="1200" noProof="0">
                        <a:solidFill>
                          <a:schemeClr val="dk1"/>
                        </a:solidFill>
                        <a:latin typeface="+mn-lt"/>
                        <a:ea typeface="+mn-ea"/>
                        <a:cs typeface="+mn-cs"/>
                      </a:endParaRPr>
                    </a:p>
                  </a:txBody>
                  <a:tcPr marT="0" marB="0" anchor="ctr">
                    <a:lnL w="12700" cmpd="sng">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lgDash"/>
                      <a:round/>
                      <a:headEnd type="none" w="med" len="med"/>
                      <a:tailEnd type="none" w="med" len="med"/>
                    </a:lnT>
                    <a:lnB w="12700" cap="flat" cmpd="sng" algn="ctr">
                      <a:solidFill>
                        <a:schemeClr val="bg1">
                          <a:lumMod val="75000"/>
                        </a:schemeClr>
                      </a:solidFill>
                      <a:prstDash val="lg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fr-FR" sz="1100" b="0" kern="1200" noProof="0">
                        <a:solidFill>
                          <a:schemeClr val="dk1"/>
                        </a:solidFill>
                        <a:latin typeface="+mn-lt"/>
                        <a:ea typeface="+mn-ea"/>
                        <a:cs typeface="+mn-cs"/>
                      </a:endParaRP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lgDash"/>
                      <a:round/>
                      <a:headEnd type="none" w="med" len="med"/>
                      <a:tailEnd type="none" w="med" len="med"/>
                    </a:lnT>
                    <a:lnB w="12700" cap="flat" cmpd="sng" algn="ctr">
                      <a:solidFill>
                        <a:schemeClr val="bg1">
                          <a:lumMod val="75000"/>
                        </a:schemeClr>
                      </a:solidFill>
                      <a:prstDash val="lg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fr-FR" sz="1100" b="0" kern="1200" noProof="0">
                        <a:solidFill>
                          <a:schemeClr val="dk1"/>
                        </a:solidFill>
                        <a:latin typeface="+mn-lt"/>
                        <a:ea typeface="+mn-ea"/>
                        <a:cs typeface="+mn-cs"/>
                      </a:endParaRP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lgDash"/>
                      <a:round/>
                      <a:headEnd type="none" w="med" len="med"/>
                      <a:tailEnd type="none" w="med" len="med"/>
                    </a:lnT>
                    <a:lnB w="12700" cap="flat" cmpd="sng" algn="ctr">
                      <a:solidFill>
                        <a:schemeClr val="bg1">
                          <a:lumMod val="75000"/>
                        </a:schemeClr>
                      </a:solidFill>
                      <a:prstDash val="lgDash"/>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86691348"/>
                  </a:ext>
                </a:extLst>
              </a:tr>
            </a:tbl>
          </a:graphicData>
        </a:graphic>
      </p:graphicFrame>
      <p:sp>
        <p:nvSpPr>
          <p:cNvPr id="5" name="Rectangle 1">
            <a:extLst>
              <a:ext uri="{FF2B5EF4-FFF2-40B4-BE49-F238E27FC236}">
                <a16:creationId xmlns:a16="http://schemas.microsoft.com/office/drawing/2014/main" id="{56172BC9-B8D2-D089-E658-C9F8F6898ECD}"/>
              </a:ext>
            </a:extLst>
          </p:cNvPr>
          <p:cNvSpPr/>
          <p:nvPr/>
        </p:nvSpPr>
        <p:spPr>
          <a:xfrm>
            <a:off x="0" y="0"/>
            <a:ext cx="12192000" cy="6858000"/>
          </a:xfrm>
          <a:prstGeom prst="rect">
            <a:avLst/>
          </a:prstGeom>
          <a:noFill/>
          <a:ln w="762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6" name="Rectangle : avec coins arrondis en diagonale 5">
            <a:extLst>
              <a:ext uri="{FF2B5EF4-FFF2-40B4-BE49-F238E27FC236}">
                <a16:creationId xmlns:a16="http://schemas.microsoft.com/office/drawing/2014/main" id="{712F1C42-64DD-924B-8F55-4CD636001766}"/>
              </a:ext>
            </a:extLst>
          </p:cNvPr>
          <p:cNvSpPr/>
          <p:nvPr/>
        </p:nvSpPr>
        <p:spPr>
          <a:xfrm>
            <a:off x="-6394" y="1587"/>
            <a:ext cx="1494204" cy="375980"/>
          </a:xfrm>
          <a:prstGeom prst="round2Diag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t>TEMPLATE</a:t>
            </a:r>
          </a:p>
        </p:txBody>
      </p:sp>
    </p:spTree>
    <p:extLst>
      <p:ext uri="{BB962C8B-B14F-4D97-AF65-F5344CB8AC3E}">
        <p14:creationId xmlns:p14="http://schemas.microsoft.com/office/powerpoint/2010/main" val="143998387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82C18E46-EEBD-D6DE-E6A3-7F5A27B8BA41}"/>
              </a:ext>
            </a:extLst>
          </p:cNvPr>
          <p:cNvSpPr>
            <a:spLocks noGrp="1"/>
          </p:cNvSpPr>
          <p:nvPr>
            <p:ph type="title"/>
          </p:nvPr>
        </p:nvSpPr>
        <p:spPr/>
        <p:txBody>
          <a:bodyPr/>
          <a:lstStyle/>
          <a:p>
            <a:r>
              <a:rPr lang="en-US"/>
              <a:t>Sprint 3 – Résumé des documents à </a:t>
            </a:r>
            <a:r>
              <a:rPr lang="en-US" err="1"/>
              <a:t>votre</a:t>
            </a:r>
            <a:r>
              <a:rPr lang="en-US"/>
              <a:t> disposition</a:t>
            </a:r>
          </a:p>
        </p:txBody>
      </p:sp>
      <p:pic>
        <p:nvPicPr>
          <p:cNvPr id="7" name="Image 6">
            <a:extLst>
              <a:ext uri="{FF2B5EF4-FFF2-40B4-BE49-F238E27FC236}">
                <a16:creationId xmlns:a16="http://schemas.microsoft.com/office/drawing/2014/main" id="{36A7A643-7110-23EC-F436-EFCB7A1E5CC6}"/>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63769" y="2780911"/>
            <a:ext cx="3048265" cy="1714649"/>
          </a:xfrm>
          <a:prstGeom prst="rect">
            <a:avLst/>
          </a:prstGeom>
        </p:spPr>
      </p:pic>
      <p:sp>
        <p:nvSpPr>
          <p:cNvPr id="8" name="ZoneTexte 7">
            <a:extLst>
              <a:ext uri="{FF2B5EF4-FFF2-40B4-BE49-F238E27FC236}">
                <a16:creationId xmlns:a16="http://schemas.microsoft.com/office/drawing/2014/main" id="{A6E120E0-8DAA-6CEA-D040-A3830D4C6A19}"/>
              </a:ext>
            </a:extLst>
          </p:cNvPr>
          <p:cNvSpPr txBox="1"/>
          <p:nvPr/>
        </p:nvSpPr>
        <p:spPr>
          <a:xfrm>
            <a:off x="6279967" y="4627880"/>
            <a:ext cx="3048266"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a:ln>
                  <a:noFill/>
                </a:ln>
                <a:solidFill>
                  <a:srgbClr val="FFFFFF"/>
                </a:solidFill>
                <a:effectLst/>
                <a:uLnTx/>
                <a:uFillTx/>
                <a:latin typeface="Ubuntu"/>
                <a:ea typeface="+mn-ea"/>
                <a:cs typeface="+mn-cs"/>
              </a:rPr>
              <a:t>Template de la roadmap </a:t>
            </a:r>
            <a:r>
              <a:rPr kumimoji="0" lang="en-US" sz="1600" b="0" i="1" u="none" strike="noStrike" kern="1200" cap="none" spc="0" normalizeH="0" baseline="0" noProof="0" err="1">
                <a:ln>
                  <a:noFill/>
                </a:ln>
                <a:solidFill>
                  <a:srgbClr val="FFFFFF"/>
                </a:solidFill>
                <a:effectLst/>
                <a:uLnTx/>
                <a:uFillTx/>
                <a:latin typeface="Ubuntu"/>
                <a:ea typeface="+mn-ea"/>
                <a:cs typeface="+mn-cs"/>
              </a:rPr>
              <a:t>d’implémentation</a:t>
            </a:r>
            <a:r>
              <a:rPr kumimoji="0" lang="en-US" sz="1600" b="0" i="1" u="none" strike="noStrike" kern="1200" cap="none" spc="0" normalizeH="0" baseline="0" noProof="0">
                <a:ln>
                  <a:noFill/>
                </a:ln>
                <a:solidFill>
                  <a:srgbClr val="FFFFFF"/>
                </a:solidFill>
                <a:effectLst/>
                <a:uLnTx/>
                <a:uFillTx/>
                <a:latin typeface="Ubuntu"/>
                <a:ea typeface="+mn-ea"/>
                <a:cs typeface="+mn-cs"/>
              </a:rPr>
              <a:t> solutions</a:t>
            </a:r>
          </a:p>
        </p:txBody>
      </p:sp>
      <p:sp>
        <p:nvSpPr>
          <p:cNvPr id="9" name="ZoneTexte 8">
            <a:extLst>
              <a:ext uri="{FF2B5EF4-FFF2-40B4-BE49-F238E27FC236}">
                <a16:creationId xmlns:a16="http://schemas.microsoft.com/office/drawing/2014/main" id="{FBEAD0BC-6940-F5D7-E804-A5A1E8E20EC3}"/>
              </a:ext>
            </a:extLst>
          </p:cNvPr>
          <p:cNvSpPr txBox="1"/>
          <p:nvPr/>
        </p:nvSpPr>
        <p:spPr>
          <a:xfrm>
            <a:off x="2863768" y="4627880"/>
            <a:ext cx="3048266" cy="338554"/>
          </a:xfrm>
          <a:prstGeom prst="rect">
            <a:avLst/>
          </a:prstGeom>
          <a:noFill/>
        </p:spPr>
        <p:txBody>
          <a:bodyPr wrap="square" rtlCol="0">
            <a:spAutoFit/>
          </a:bodyPr>
          <a:lstStyle/>
          <a:p>
            <a:pPr algn="ctr"/>
            <a:r>
              <a:rPr lang="en-US" sz="1600" i="1">
                <a:solidFill>
                  <a:schemeClr val="bg1"/>
                </a:solidFill>
              </a:rPr>
              <a:t>Fiche </a:t>
            </a:r>
            <a:r>
              <a:rPr lang="en-US" sz="1600" i="1" err="1">
                <a:solidFill>
                  <a:schemeClr val="bg1"/>
                </a:solidFill>
              </a:rPr>
              <a:t>Consignes</a:t>
            </a:r>
            <a:r>
              <a:rPr lang="en-US" sz="1600" i="1">
                <a:solidFill>
                  <a:schemeClr val="bg1"/>
                </a:solidFill>
              </a:rPr>
              <a:t> </a:t>
            </a:r>
          </a:p>
        </p:txBody>
      </p:sp>
      <p:pic>
        <p:nvPicPr>
          <p:cNvPr id="12" name="Image 11">
            <a:extLst>
              <a:ext uri="{FF2B5EF4-FFF2-40B4-BE49-F238E27FC236}">
                <a16:creationId xmlns:a16="http://schemas.microsoft.com/office/drawing/2014/main" id="{0C3F9E01-BE6D-4EB9-C373-E92DBDE4504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284240" y="2774259"/>
            <a:ext cx="3039721" cy="1709843"/>
          </a:xfrm>
          <a:prstGeom prst="rect">
            <a:avLst/>
          </a:prstGeom>
        </p:spPr>
      </p:pic>
    </p:spTree>
    <p:extLst>
      <p:ext uri="{BB962C8B-B14F-4D97-AF65-F5344CB8AC3E}">
        <p14:creationId xmlns:p14="http://schemas.microsoft.com/office/powerpoint/2010/main" val="50604399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accent2">
            <a:lumMod val="20000"/>
            <a:lumOff val="80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7" name="Title 1">
            <a:extLst>
              <a:ext uri="{FF2B5EF4-FFF2-40B4-BE49-F238E27FC236}">
                <a16:creationId xmlns:a16="http://schemas.microsoft.com/office/drawing/2014/main" id="{A3B48900-DB81-4884-BFC1-02DBC0DE7947}"/>
              </a:ext>
            </a:extLst>
          </p:cNvPr>
          <p:cNvSpPr txBox="1">
            <a:spLocks/>
          </p:cNvSpPr>
          <p:nvPr/>
        </p:nvSpPr>
        <p:spPr>
          <a:xfrm>
            <a:off x="227013" y="-1285918"/>
            <a:ext cx="11362013" cy="1076817"/>
          </a:xfrm>
        </p:spPr>
        <p:txBody>
          <a:bodyPr tIns="180000"/>
          <a:lstStyle>
            <a:lvl1pPr marL="0" marR="0" indent="0" algn="l" defTabSz="914400" rtl="0" eaLnBrk="1" fontAlgn="auto" latinLnBrk="0" hangingPunct="1">
              <a:lnSpc>
                <a:spcPct val="90000"/>
              </a:lnSpc>
              <a:spcBef>
                <a:spcPts val="0"/>
              </a:spcBef>
              <a:spcAft>
                <a:spcPts val="0"/>
              </a:spcAft>
              <a:buClrTx/>
              <a:buSzTx/>
              <a:buFontTx/>
              <a:buNone/>
              <a:tabLst/>
              <a:defRPr kumimoji="0" lang="en-US" sz="3000" b="0" i="0" u="none" strike="noStrike" kern="1200" cap="none" spc="200" normalizeH="0" baseline="0" noProof="0">
                <a:ln>
                  <a:noFill/>
                </a:ln>
                <a:solidFill>
                  <a:schemeClr val="accent1"/>
                </a:solidFill>
                <a:effectLst/>
                <a:uLnTx/>
                <a:uFillTx/>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2400" b="0" i="0" u="none" strike="noStrike" kern="1200" cap="none" spc="200" normalizeH="0" baseline="0" noProof="0">
              <a:ln>
                <a:noFill/>
              </a:ln>
              <a:solidFill>
                <a:srgbClr val="2B143D"/>
              </a:solidFill>
              <a:effectLst/>
              <a:uLnTx/>
              <a:uFillTx/>
              <a:latin typeface="Verdana"/>
              <a:ea typeface="+mj-ea"/>
              <a:cs typeface="+mj-cs"/>
            </a:endParaRPr>
          </a:p>
        </p:txBody>
      </p:sp>
      <p:sp>
        <p:nvSpPr>
          <p:cNvPr id="22" name="Title 2">
            <a:extLst>
              <a:ext uri="{FF2B5EF4-FFF2-40B4-BE49-F238E27FC236}">
                <a16:creationId xmlns:a16="http://schemas.microsoft.com/office/drawing/2014/main" id="{92557DC4-B18F-4199-93D0-1D081E24520F}"/>
              </a:ext>
            </a:extLst>
          </p:cNvPr>
          <p:cNvSpPr>
            <a:spLocks noGrp="1"/>
          </p:cNvSpPr>
          <p:nvPr>
            <p:ph type="title"/>
          </p:nvPr>
        </p:nvSpPr>
        <p:spPr/>
        <p:txBody>
          <a:bodyPr/>
          <a:lstStyle/>
          <a:p>
            <a:pPr>
              <a:spcBef>
                <a:spcPct val="0"/>
              </a:spcBef>
              <a:defRPr/>
            </a:pPr>
            <a:r>
              <a:rPr lang="fr-FR">
                <a:solidFill>
                  <a:schemeClr val="accent1">
                    <a:lumMod val="50000"/>
                  </a:schemeClr>
                </a:solidFill>
              </a:rPr>
              <a:t>Consignes SPRINT 3</a:t>
            </a:r>
            <a:endParaRPr lang="fr-FR" b="1" spc="0">
              <a:solidFill>
                <a:schemeClr val="tx1"/>
              </a:solidFill>
            </a:endParaRPr>
          </a:p>
        </p:txBody>
      </p:sp>
      <p:sp>
        <p:nvSpPr>
          <p:cNvPr id="23" name="TextBox 22">
            <a:extLst>
              <a:ext uri="{FF2B5EF4-FFF2-40B4-BE49-F238E27FC236}">
                <a16:creationId xmlns:a16="http://schemas.microsoft.com/office/drawing/2014/main" id="{829AF7EE-145B-4C4A-8CEB-F55DCBE6686C}"/>
              </a:ext>
            </a:extLst>
          </p:cNvPr>
          <p:cNvSpPr txBox="1"/>
          <p:nvPr/>
        </p:nvSpPr>
        <p:spPr>
          <a:xfrm>
            <a:off x="420809" y="1104899"/>
            <a:ext cx="11362013" cy="618605"/>
          </a:xfrm>
          <a:prstGeom prst="rect">
            <a:avLst/>
          </a:prstGeom>
          <a:solidFill>
            <a:schemeClr val="accent1">
              <a:lumMod val="50000"/>
            </a:schemeClr>
          </a:solidFill>
        </p:spPr>
        <p:txBody>
          <a:bodyPr wrap="square">
            <a:noAutofit/>
          </a:body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fr-FR" sz="1600" b="1" i="0" u="none" strike="noStrike" kern="1200" cap="none" spc="0" normalizeH="0" baseline="0" noProof="0">
                <a:ln>
                  <a:noFill/>
                </a:ln>
                <a:solidFill>
                  <a:srgbClr val="0070AD">
                    <a:lumMod val="60000"/>
                    <a:lumOff val="40000"/>
                  </a:srgbClr>
                </a:solidFill>
                <a:effectLst/>
                <a:uLnTx/>
                <a:uFillTx/>
                <a:latin typeface="Verdana"/>
                <a:ea typeface="+mn-ea"/>
                <a:cs typeface="Arial" charset="0"/>
              </a:rPr>
              <a:t>Objectif : </a:t>
            </a:r>
            <a:r>
              <a:rPr kumimoji="0" lang="fr-FR" sz="1600" b="0" i="0" u="none" strike="noStrike" kern="1200" cap="none" spc="0" normalizeH="0" baseline="0" noProof="0">
                <a:ln>
                  <a:noFill/>
                </a:ln>
                <a:solidFill>
                  <a:srgbClr val="0070AD">
                    <a:lumMod val="60000"/>
                    <a:lumOff val="40000"/>
                  </a:srgbClr>
                </a:solidFill>
                <a:effectLst/>
                <a:uLnTx/>
                <a:uFillTx/>
                <a:latin typeface="Verdana"/>
                <a:ea typeface="+mn-ea"/>
                <a:cs typeface="Arial" charset="0"/>
              </a:rPr>
              <a:t>Synthétiser toute la démarche initiée depuis le début de l’étude de cas en une présentation des solutions proposées.</a:t>
            </a:r>
            <a:endParaRPr kumimoji="0" lang="fr-FR" sz="1600" b="0" i="0" u="none" strike="noStrike" kern="1200" cap="none" spc="0" normalizeH="0" baseline="0" noProof="0">
              <a:ln>
                <a:noFill/>
              </a:ln>
              <a:solidFill>
                <a:srgbClr val="FFFFFF"/>
              </a:solidFill>
              <a:effectLst/>
              <a:uLnTx/>
              <a:uFillTx/>
              <a:latin typeface="Verdana"/>
              <a:ea typeface="+mn-ea"/>
              <a:cs typeface="Arial" charset="0"/>
            </a:endParaRPr>
          </a:p>
        </p:txBody>
      </p:sp>
      <p:sp>
        <p:nvSpPr>
          <p:cNvPr id="5" name="Rectangle: Rounded Corners 4">
            <a:extLst>
              <a:ext uri="{FF2B5EF4-FFF2-40B4-BE49-F238E27FC236}">
                <a16:creationId xmlns:a16="http://schemas.microsoft.com/office/drawing/2014/main" id="{838FE5A2-E234-012F-35D2-7DCA13392607}"/>
              </a:ext>
            </a:extLst>
          </p:cNvPr>
          <p:cNvSpPr/>
          <p:nvPr/>
        </p:nvSpPr>
        <p:spPr>
          <a:xfrm>
            <a:off x="905199" y="2288532"/>
            <a:ext cx="3036815" cy="1208015"/>
          </a:xfrm>
          <a:prstGeom prst="round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a:ln>
                  <a:noFill/>
                </a:ln>
                <a:solidFill>
                  <a:prstClr val="black"/>
                </a:solidFill>
                <a:effectLst/>
                <a:uLnTx/>
                <a:uFillTx/>
                <a:latin typeface="Ubuntu"/>
                <a:ea typeface="+mn-ea"/>
                <a:cs typeface="+mn-cs"/>
              </a:rPr>
              <a:t>Rappel du contexte</a:t>
            </a:r>
          </a:p>
        </p:txBody>
      </p:sp>
      <p:sp>
        <p:nvSpPr>
          <p:cNvPr id="6" name="Rectangle: Rounded Corners 5">
            <a:extLst>
              <a:ext uri="{FF2B5EF4-FFF2-40B4-BE49-F238E27FC236}">
                <a16:creationId xmlns:a16="http://schemas.microsoft.com/office/drawing/2014/main" id="{BEFB9BF7-1882-0C79-7424-D4593910F14A}"/>
              </a:ext>
            </a:extLst>
          </p:cNvPr>
          <p:cNvSpPr/>
          <p:nvPr/>
        </p:nvSpPr>
        <p:spPr>
          <a:xfrm>
            <a:off x="4577593" y="2288532"/>
            <a:ext cx="3036815" cy="1208015"/>
          </a:xfrm>
          <a:prstGeom prst="round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prstClr val="black"/>
              </a:solidFill>
              <a:effectLst/>
              <a:uLnTx/>
              <a:uFillTx/>
              <a:latin typeface="Ubuntu"/>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a:ln>
                  <a:noFill/>
                </a:ln>
                <a:solidFill>
                  <a:prstClr val="black"/>
                </a:solidFill>
                <a:effectLst/>
                <a:uLnTx/>
                <a:uFillTx/>
                <a:latin typeface="Ubuntu"/>
                <a:ea typeface="+mn-ea"/>
                <a:cs typeface="+mn-cs"/>
              </a:rPr>
              <a:t>Présentation de l ’étude des leviers d’actions</a:t>
            </a:r>
          </a:p>
        </p:txBody>
      </p:sp>
      <p:sp>
        <p:nvSpPr>
          <p:cNvPr id="9" name="Rectangle: Rounded Corners 8">
            <a:extLst>
              <a:ext uri="{FF2B5EF4-FFF2-40B4-BE49-F238E27FC236}">
                <a16:creationId xmlns:a16="http://schemas.microsoft.com/office/drawing/2014/main" id="{2B0F8707-469C-F16C-9183-8D72812D5F8C}"/>
              </a:ext>
            </a:extLst>
          </p:cNvPr>
          <p:cNvSpPr/>
          <p:nvPr/>
        </p:nvSpPr>
        <p:spPr>
          <a:xfrm>
            <a:off x="8249987" y="2288532"/>
            <a:ext cx="3036815" cy="1208015"/>
          </a:xfrm>
          <a:prstGeom prst="round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prstClr val="black"/>
              </a:solidFill>
              <a:effectLst/>
              <a:uLnTx/>
              <a:uFillTx/>
              <a:latin typeface="Ubuntu"/>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a:ln>
                  <a:noFill/>
                </a:ln>
                <a:solidFill>
                  <a:prstClr val="black"/>
                </a:solidFill>
                <a:effectLst/>
                <a:uLnTx/>
                <a:uFillTx/>
                <a:latin typeface="Ubuntu"/>
                <a:ea typeface="+mn-ea"/>
                <a:cs typeface="+mn-cs"/>
              </a:rPr>
              <a:t>Justifier le choix de la/les solutions choisies</a:t>
            </a:r>
          </a:p>
        </p:txBody>
      </p:sp>
      <p:sp>
        <p:nvSpPr>
          <p:cNvPr id="26" name="Rectangle 25">
            <a:extLst>
              <a:ext uri="{FF2B5EF4-FFF2-40B4-BE49-F238E27FC236}">
                <a16:creationId xmlns:a16="http://schemas.microsoft.com/office/drawing/2014/main" id="{1E899CC4-EBDF-B6B0-C746-299BFE1E02B0}"/>
              </a:ext>
            </a:extLst>
          </p:cNvPr>
          <p:cNvSpPr/>
          <p:nvPr/>
        </p:nvSpPr>
        <p:spPr>
          <a:xfrm>
            <a:off x="1941239" y="1902638"/>
            <a:ext cx="964734" cy="788566"/>
          </a:xfrm>
          <a:prstGeom prst="rect">
            <a:avLst/>
          </a:prstGeom>
          <a:solidFill>
            <a:srgbClr val="CDF0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27" name="Rectangle 26">
            <a:extLst>
              <a:ext uri="{FF2B5EF4-FFF2-40B4-BE49-F238E27FC236}">
                <a16:creationId xmlns:a16="http://schemas.microsoft.com/office/drawing/2014/main" id="{46D71C41-F411-5EFD-328E-45422E943171}"/>
              </a:ext>
            </a:extLst>
          </p:cNvPr>
          <p:cNvSpPr/>
          <p:nvPr/>
        </p:nvSpPr>
        <p:spPr>
          <a:xfrm>
            <a:off x="5613633" y="1902638"/>
            <a:ext cx="964734" cy="788566"/>
          </a:xfrm>
          <a:prstGeom prst="rect">
            <a:avLst/>
          </a:prstGeom>
          <a:solidFill>
            <a:srgbClr val="CDF0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28" name="Rectangle 27">
            <a:extLst>
              <a:ext uri="{FF2B5EF4-FFF2-40B4-BE49-F238E27FC236}">
                <a16:creationId xmlns:a16="http://schemas.microsoft.com/office/drawing/2014/main" id="{D3087A46-8D49-261A-05FA-03EE786A9942}"/>
              </a:ext>
            </a:extLst>
          </p:cNvPr>
          <p:cNvSpPr/>
          <p:nvPr/>
        </p:nvSpPr>
        <p:spPr>
          <a:xfrm>
            <a:off x="9286027" y="1902638"/>
            <a:ext cx="964734" cy="788566"/>
          </a:xfrm>
          <a:prstGeom prst="rect">
            <a:avLst/>
          </a:prstGeom>
          <a:solidFill>
            <a:srgbClr val="CDF0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pic>
        <p:nvPicPr>
          <p:cNvPr id="5122" name="Picture 2" descr="Context ">
            <a:extLst>
              <a:ext uri="{FF2B5EF4-FFF2-40B4-BE49-F238E27FC236}">
                <a16:creationId xmlns:a16="http://schemas.microsoft.com/office/drawing/2014/main" id="{83A3CE53-AC8B-11C3-EAF8-A1D3C7C2B922}"/>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2071618" y="1936543"/>
            <a:ext cx="703977" cy="703977"/>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Lever ">
            <a:extLst>
              <a:ext uri="{FF2B5EF4-FFF2-40B4-BE49-F238E27FC236}">
                <a16:creationId xmlns:a16="http://schemas.microsoft.com/office/drawing/2014/main" id="{5ACEC331-E8A9-427B-B37F-270AD9F67E37}"/>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5778211" y="1936543"/>
            <a:ext cx="635579" cy="635579"/>
          </a:xfrm>
          <a:prstGeom prst="rect">
            <a:avLst/>
          </a:prstGeom>
          <a:noFill/>
          <a:extLst>
            <a:ext uri="{909E8E84-426E-40DD-AFC4-6F175D3DCCD1}">
              <a14:hiddenFill xmlns:a14="http://schemas.microsoft.com/office/drawing/2010/main">
                <a:solidFill>
                  <a:srgbClr val="FFFFFF"/>
                </a:solidFill>
              </a14:hiddenFill>
            </a:ext>
          </a:extLst>
        </p:spPr>
      </p:pic>
      <p:pic>
        <p:nvPicPr>
          <p:cNvPr id="5126" name="Picture 6" descr="Idea ">
            <a:extLst>
              <a:ext uri="{FF2B5EF4-FFF2-40B4-BE49-F238E27FC236}">
                <a16:creationId xmlns:a16="http://schemas.microsoft.com/office/drawing/2014/main" id="{04D337DC-F1EE-740A-67BE-3D1BC47225BA}"/>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9459091" y="1917619"/>
            <a:ext cx="618605" cy="618605"/>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Rounded Corners 9">
            <a:extLst>
              <a:ext uri="{FF2B5EF4-FFF2-40B4-BE49-F238E27FC236}">
                <a16:creationId xmlns:a16="http://schemas.microsoft.com/office/drawing/2014/main" id="{58019D62-D91C-9DF8-9086-CFA678959832}"/>
              </a:ext>
            </a:extLst>
          </p:cNvPr>
          <p:cNvSpPr/>
          <p:nvPr/>
        </p:nvSpPr>
        <p:spPr>
          <a:xfrm>
            <a:off x="2741396" y="4234693"/>
            <a:ext cx="3036815" cy="1208015"/>
          </a:xfrm>
          <a:prstGeom prst="round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prstClr val="black"/>
              </a:solidFill>
              <a:effectLst/>
              <a:uLnTx/>
              <a:uFillTx/>
              <a:latin typeface="Ubuntu"/>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a:ln>
                  <a:noFill/>
                </a:ln>
                <a:solidFill>
                  <a:prstClr val="black"/>
                </a:solidFill>
                <a:effectLst/>
                <a:uLnTx/>
                <a:uFillTx/>
                <a:latin typeface="Ubuntu"/>
                <a:ea typeface="+mn-ea"/>
                <a:cs typeface="+mn-cs"/>
              </a:rPr>
              <a:t>Communiquer le plan d’action qui en découle</a:t>
            </a:r>
          </a:p>
        </p:txBody>
      </p:sp>
      <p:sp>
        <p:nvSpPr>
          <p:cNvPr id="14" name="Rectangle: Rounded Corners 13">
            <a:extLst>
              <a:ext uri="{FF2B5EF4-FFF2-40B4-BE49-F238E27FC236}">
                <a16:creationId xmlns:a16="http://schemas.microsoft.com/office/drawing/2014/main" id="{1B384FF1-BC39-68EA-B296-CFFC72CDCAAB}"/>
              </a:ext>
            </a:extLst>
          </p:cNvPr>
          <p:cNvSpPr/>
          <p:nvPr/>
        </p:nvSpPr>
        <p:spPr>
          <a:xfrm>
            <a:off x="6413790" y="4234693"/>
            <a:ext cx="3036815" cy="1208015"/>
          </a:xfrm>
          <a:prstGeom prst="round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a:ln>
                  <a:noFill/>
                </a:ln>
                <a:solidFill>
                  <a:prstClr val="black"/>
                </a:solidFill>
                <a:effectLst/>
                <a:uLnTx/>
                <a:uFillTx/>
                <a:latin typeface="Ubuntu"/>
                <a:ea typeface="+mn-ea"/>
                <a:cs typeface="+mn-cs"/>
              </a:rPr>
              <a:t>Présenter vos conclusions</a:t>
            </a:r>
          </a:p>
        </p:txBody>
      </p:sp>
      <p:sp>
        <p:nvSpPr>
          <p:cNvPr id="29" name="Rectangle 28">
            <a:extLst>
              <a:ext uri="{FF2B5EF4-FFF2-40B4-BE49-F238E27FC236}">
                <a16:creationId xmlns:a16="http://schemas.microsoft.com/office/drawing/2014/main" id="{150A37F6-FB32-6195-27F0-BBB089BB4B96}"/>
              </a:ext>
            </a:extLst>
          </p:cNvPr>
          <p:cNvSpPr/>
          <p:nvPr/>
        </p:nvSpPr>
        <p:spPr>
          <a:xfrm>
            <a:off x="7449830" y="3840410"/>
            <a:ext cx="964734" cy="788566"/>
          </a:xfrm>
          <a:prstGeom prst="rect">
            <a:avLst/>
          </a:prstGeom>
          <a:solidFill>
            <a:srgbClr val="CDF0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30" name="Rectangle 29">
            <a:extLst>
              <a:ext uri="{FF2B5EF4-FFF2-40B4-BE49-F238E27FC236}">
                <a16:creationId xmlns:a16="http://schemas.microsoft.com/office/drawing/2014/main" id="{FA72FB36-10B3-4CDE-8F96-5931CE180416}"/>
              </a:ext>
            </a:extLst>
          </p:cNvPr>
          <p:cNvSpPr/>
          <p:nvPr/>
        </p:nvSpPr>
        <p:spPr>
          <a:xfrm>
            <a:off x="3777436" y="3749878"/>
            <a:ext cx="964734" cy="788566"/>
          </a:xfrm>
          <a:prstGeom prst="rect">
            <a:avLst/>
          </a:prstGeom>
          <a:solidFill>
            <a:srgbClr val="CDF0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err="1">
              <a:ln>
                <a:noFill/>
              </a:ln>
              <a:solidFill>
                <a:srgbClr val="FFFFFF"/>
              </a:solidFill>
              <a:effectLst/>
              <a:uLnTx/>
              <a:uFillTx/>
              <a:latin typeface="Ubuntu"/>
              <a:ea typeface="+mn-ea"/>
              <a:cs typeface="+mn-cs"/>
            </a:endParaRPr>
          </a:p>
        </p:txBody>
      </p:sp>
      <p:pic>
        <p:nvPicPr>
          <p:cNvPr id="5128" name="Picture 8" descr="Project management ">
            <a:extLst>
              <a:ext uri="{FF2B5EF4-FFF2-40B4-BE49-F238E27FC236}">
                <a16:creationId xmlns:a16="http://schemas.microsoft.com/office/drawing/2014/main" id="{5B699F63-0AA8-8986-E0CC-F2CD6B038CAB}"/>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3942014" y="3902865"/>
            <a:ext cx="635579" cy="635579"/>
          </a:xfrm>
          <a:prstGeom prst="rect">
            <a:avLst/>
          </a:prstGeom>
          <a:noFill/>
          <a:extLst>
            <a:ext uri="{909E8E84-426E-40DD-AFC4-6F175D3DCCD1}">
              <a14:hiddenFill xmlns:a14="http://schemas.microsoft.com/office/drawing/2010/main">
                <a:solidFill>
                  <a:srgbClr val="FFFFFF"/>
                </a:solidFill>
              </a14:hiddenFill>
            </a:ext>
          </a:extLst>
        </p:spPr>
      </p:pic>
      <p:pic>
        <p:nvPicPr>
          <p:cNvPr id="5130" name="Picture 10" descr="Conclusion ">
            <a:extLst>
              <a:ext uri="{FF2B5EF4-FFF2-40B4-BE49-F238E27FC236}">
                <a16:creationId xmlns:a16="http://schemas.microsoft.com/office/drawing/2014/main" id="{8092DF6E-2B9D-0A15-DF21-D4F5F6BDFD02}"/>
              </a:ext>
            </a:extLst>
          </p:cNvPr>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7614408" y="3916903"/>
            <a:ext cx="635579" cy="635579"/>
          </a:xfrm>
          <a:prstGeom prst="rect">
            <a:avLst/>
          </a:prstGeom>
          <a:noFill/>
          <a:extLst>
            <a:ext uri="{909E8E84-426E-40DD-AFC4-6F175D3DCCD1}">
              <a14:hiddenFill xmlns:a14="http://schemas.microsoft.com/office/drawing/2010/main">
                <a:solidFill>
                  <a:srgbClr val="FFFFFF"/>
                </a:solidFill>
              </a14:hiddenFill>
            </a:ext>
          </a:extLst>
        </p:spPr>
      </p:pic>
      <p:sp>
        <p:nvSpPr>
          <p:cNvPr id="33" name="Rectangle: Rounded Corners 32">
            <a:extLst>
              <a:ext uri="{FF2B5EF4-FFF2-40B4-BE49-F238E27FC236}">
                <a16:creationId xmlns:a16="http://schemas.microsoft.com/office/drawing/2014/main" id="{3506ADCC-0123-A700-E2A9-A2E3B6771BB9}"/>
              </a:ext>
            </a:extLst>
          </p:cNvPr>
          <p:cNvSpPr/>
          <p:nvPr/>
        </p:nvSpPr>
        <p:spPr>
          <a:xfrm>
            <a:off x="420809" y="5747677"/>
            <a:ext cx="10931775" cy="589129"/>
          </a:xfrm>
          <a:prstGeom prst="roundRect">
            <a:avLst/>
          </a:prstGeom>
          <a:solidFill>
            <a:srgbClr val="CDF0FB"/>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a:ln>
                  <a:noFill/>
                </a:ln>
                <a:solidFill>
                  <a:srgbClr val="003857"/>
                </a:solidFill>
                <a:effectLst/>
                <a:uLnTx/>
                <a:uFillTx/>
                <a:latin typeface="Ubuntu"/>
                <a:ea typeface="+mn-ea"/>
                <a:cs typeface="+mn-cs"/>
              </a:rPr>
              <a:t>Création et mise en page du slide deck libre !</a:t>
            </a:r>
          </a:p>
        </p:txBody>
      </p:sp>
    </p:spTree>
    <p:extLst>
      <p:ext uri="{BB962C8B-B14F-4D97-AF65-F5344CB8AC3E}">
        <p14:creationId xmlns:p14="http://schemas.microsoft.com/office/powerpoint/2010/main" val="56612576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7" name="Title 1">
            <a:extLst>
              <a:ext uri="{FF2B5EF4-FFF2-40B4-BE49-F238E27FC236}">
                <a16:creationId xmlns:a16="http://schemas.microsoft.com/office/drawing/2014/main" id="{A3B48900-DB81-4884-BFC1-02DBC0DE7947}"/>
              </a:ext>
            </a:extLst>
          </p:cNvPr>
          <p:cNvSpPr txBox="1">
            <a:spLocks/>
          </p:cNvSpPr>
          <p:nvPr/>
        </p:nvSpPr>
        <p:spPr>
          <a:xfrm>
            <a:off x="227013" y="-1285918"/>
            <a:ext cx="11362013" cy="1076817"/>
          </a:xfrm>
        </p:spPr>
        <p:txBody>
          <a:bodyPr tIns="180000"/>
          <a:lstStyle>
            <a:lvl1pPr marL="0" marR="0" indent="0" algn="l" defTabSz="914400" rtl="0" eaLnBrk="1" fontAlgn="auto" latinLnBrk="0" hangingPunct="1">
              <a:lnSpc>
                <a:spcPct val="90000"/>
              </a:lnSpc>
              <a:spcBef>
                <a:spcPts val="0"/>
              </a:spcBef>
              <a:spcAft>
                <a:spcPts val="0"/>
              </a:spcAft>
              <a:buClrTx/>
              <a:buSzTx/>
              <a:buFontTx/>
              <a:buNone/>
              <a:tabLst/>
              <a:defRPr kumimoji="0" lang="en-US" sz="3000" b="0" i="0" u="none" strike="noStrike" kern="1200" cap="none" spc="200" normalizeH="0" baseline="0" noProof="0">
                <a:ln>
                  <a:noFill/>
                </a:ln>
                <a:solidFill>
                  <a:schemeClr val="accent1"/>
                </a:solidFill>
                <a:effectLst/>
                <a:uLnTx/>
                <a:uFillTx/>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2400" b="0" i="0" u="none" strike="noStrike" kern="1200" cap="none" spc="200" normalizeH="0" baseline="0" noProof="0">
              <a:ln>
                <a:noFill/>
              </a:ln>
              <a:solidFill>
                <a:srgbClr val="2B143D"/>
              </a:solidFill>
              <a:effectLst/>
              <a:uLnTx/>
              <a:uFillTx/>
              <a:latin typeface="Verdana"/>
              <a:ea typeface="+mj-ea"/>
              <a:cs typeface="+mj-cs"/>
            </a:endParaRPr>
          </a:p>
        </p:txBody>
      </p:sp>
      <p:sp>
        <p:nvSpPr>
          <p:cNvPr id="22" name="Title 2">
            <a:extLst>
              <a:ext uri="{FF2B5EF4-FFF2-40B4-BE49-F238E27FC236}">
                <a16:creationId xmlns:a16="http://schemas.microsoft.com/office/drawing/2014/main" id="{92557DC4-B18F-4199-93D0-1D081E24520F}"/>
              </a:ext>
            </a:extLst>
          </p:cNvPr>
          <p:cNvSpPr>
            <a:spLocks noGrp="1"/>
          </p:cNvSpPr>
          <p:nvPr>
            <p:ph type="title"/>
          </p:nvPr>
        </p:nvSpPr>
        <p:spPr/>
        <p:txBody>
          <a:bodyPr/>
          <a:lstStyle/>
          <a:p>
            <a:pPr>
              <a:spcBef>
                <a:spcPct val="0"/>
              </a:spcBef>
              <a:defRPr/>
            </a:pPr>
            <a:r>
              <a:rPr lang="fr-FR">
                <a:solidFill>
                  <a:schemeClr val="accent1">
                    <a:lumMod val="50000"/>
                  </a:schemeClr>
                </a:solidFill>
              </a:rPr>
              <a:t>Roadmap sprint 3</a:t>
            </a:r>
            <a:endParaRPr lang="fr-FR" b="1" spc="0">
              <a:solidFill>
                <a:schemeClr val="tx1"/>
              </a:solidFill>
            </a:endParaRPr>
          </a:p>
        </p:txBody>
      </p:sp>
      <p:sp>
        <p:nvSpPr>
          <p:cNvPr id="23" name="TextBox 22">
            <a:extLst>
              <a:ext uri="{FF2B5EF4-FFF2-40B4-BE49-F238E27FC236}">
                <a16:creationId xmlns:a16="http://schemas.microsoft.com/office/drawing/2014/main" id="{829AF7EE-145B-4C4A-8CEB-F55DCBE6686C}"/>
              </a:ext>
            </a:extLst>
          </p:cNvPr>
          <p:cNvSpPr txBox="1"/>
          <p:nvPr/>
        </p:nvSpPr>
        <p:spPr>
          <a:xfrm>
            <a:off x="420809" y="1104899"/>
            <a:ext cx="10931775" cy="618605"/>
          </a:xfrm>
          <a:prstGeom prst="rect">
            <a:avLst/>
          </a:prstGeom>
          <a:solidFill>
            <a:schemeClr val="accent1">
              <a:lumMod val="50000"/>
            </a:schemeClr>
          </a:solidFill>
        </p:spPr>
        <p:txBody>
          <a:bodyPr wrap="square">
            <a:noAutofit/>
          </a:body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fr-FR" sz="1600" b="1" i="0" u="none" strike="noStrike" kern="1200" cap="none" spc="0" normalizeH="0" baseline="0" noProof="0">
                <a:ln>
                  <a:noFill/>
                </a:ln>
                <a:solidFill>
                  <a:srgbClr val="0070AD">
                    <a:lumMod val="60000"/>
                    <a:lumOff val="40000"/>
                  </a:srgbClr>
                </a:solidFill>
                <a:effectLst/>
                <a:uLnTx/>
                <a:uFillTx/>
                <a:latin typeface="Verdana"/>
                <a:ea typeface="+mn-ea"/>
                <a:cs typeface="Arial" charset="0"/>
              </a:rPr>
              <a:t>Objectif : </a:t>
            </a:r>
            <a:r>
              <a:rPr kumimoji="0" lang="fr-FR" sz="1600" b="0" i="0" u="none" strike="noStrike" kern="1200" cap="none" spc="0" normalizeH="0" baseline="0" noProof="0">
                <a:ln>
                  <a:noFill/>
                </a:ln>
                <a:solidFill>
                  <a:srgbClr val="0070AD">
                    <a:lumMod val="60000"/>
                    <a:lumOff val="40000"/>
                  </a:srgbClr>
                </a:solidFill>
                <a:effectLst/>
                <a:uLnTx/>
                <a:uFillTx/>
                <a:latin typeface="Verdana"/>
                <a:ea typeface="+mn-ea"/>
                <a:cs typeface="Arial" charset="0"/>
              </a:rPr>
              <a:t>E</a:t>
            </a:r>
            <a:r>
              <a:rPr kumimoji="0" lang="fr-FR" sz="1600" b="0" i="0" u="none" strike="noStrike" kern="1200" cap="none" spc="0" normalizeH="0" baseline="0" noProof="0" err="1">
                <a:ln>
                  <a:noFill/>
                </a:ln>
                <a:solidFill>
                  <a:srgbClr val="0070AD">
                    <a:lumMod val="60000"/>
                    <a:lumOff val="40000"/>
                  </a:srgbClr>
                </a:solidFill>
                <a:effectLst/>
                <a:uLnTx/>
                <a:uFillTx/>
                <a:latin typeface="Verdana"/>
                <a:ea typeface="+mn-ea"/>
                <a:cs typeface="Arial" charset="0"/>
              </a:rPr>
              <a:t>tablir</a:t>
            </a:r>
            <a:r>
              <a:rPr kumimoji="0" lang="fr-FR" sz="1600" b="0" i="0" u="none" strike="noStrike" kern="1200" cap="none" spc="0" normalizeH="0" baseline="0" noProof="0">
                <a:ln>
                  <a:noFill/>
                </a:ln>
                <a:solidFill>
                  <a:srgbClr val="0070AD">
                    <a:lumMod val="60000"/>
                    <a:lumOff val="40000"/>
                  </a:srgbClr>
                </a:solidFill>
                <a:effectLst/>
                <a:uLnTx/>
                <a:uFillTx/>
                <a:latin typeface="Verdana"/>
                <a:ea typeface="+mn-ea"/>
                <a:cs typeface="Arial" charset="0"/>
              </a:rPr>
              <a:t> un plan d’action pour mettre en place les cas d’usages priorisés précédemment et transcrire les étapes nécessaires jusqu’à leur réalisation complète.</a:t>
            </a:r>
            <a:endParaRPr kumimoji="0" lang="fr-FR" sz="1600" b="0" i="0" u="none" strike="noStrike" kern="1200" cap="none" spc="0" normalizeH="0" baseline="0" noProof="0">
              <a:ln>
                <a:noFill/>
              </a:ln>
              <a:solidFill>
                <a:srgbClr val="FFFFFF"/>
              </a:solidFill>
              <a:effectLst/>
              <a:uLnTx/>
              <a:uFillTx/>
              <a:latin typeface="Verdana"/>
              <a:ea typeface="+mn-ea"/>
              <a:cs typeface="Arial" charset="0"/>
            </a:endParaRPr>
          </a:p>
        </p:txBody>
      </p:sp>
      <p:graphicFrame>
        <p:nvGraphicFramePr>
          <p:cNvPr id="3" name="Table 3">
            <a:extLst>
              <a:ext uri="{FF2B5EF4-FFF2-40B4-BE49-F238E27FC236}">
                <a16:creationId xmlns:a16="http://schemas.microsoft.com/office/drawing/2014/main" id="{CA4CA62F-C8D4-6836-8CC8-4AA3F902AF26}"/>
              </a:ext>
            </a:extLst>
          </p:cNvPr>
          <p:cNvGraphicFramePr>
            <a:graphicFrameLocks noGrp="1"/>
          </p:cNvGraphicFramePr>
          <p:nvPr/>
        </p:nvGraphicFramePr>
        <p:xfrm>
          <a:off x="1702964" y="2432807"/>
          <a:ext cx="9886060" cy="3780287"/>
        </p:xfrm>
        <a:graphic>
          <a:graphicData uri="http://schemas.openxmlformats.org/drawingml/2006/table">
            <a:tbl>
              <a:tblPr bandRow="1">
                <a:tableStyleId>{21E4AEA4-8DFA-4A89-87EB-49C32662AFE0}</a:tableStyleId>
              </a:tblPr>
              <a:tblGrid>
                <a:gridCol w="1977212">
                  <a:extLst>
                    <a:ext uri="{9D8B030D-6E8A-4147-A177-3AD203B41FA5}">
                      <a16:colId xmlns:a16="http://schemas.microsoft.com/office/drawing/2014/main" val="2615356394"/>
                    </a:ext>
                  </a:extLst>
                </a:gridCol>
                <a:gridCol w="1977212">
                  <a:extLst>
                    <a:ext uri="{9D8B030D-6E8A-4147-A177-3AD203B41FA5}">
                      <a16:colId xmlns:a16="http://schemas.microsoft.com/office/drawing/2014/main" val="2244160181"/>
                    </a:ext>
                  </a:extLst>
                </a:gridCol>
                <a:gridCol w="1977212">
                  <a:extLst>
                    <a:ext uri="{9D8B030D-6E8A-4147-A177-3AD203B41FA5}">
                      <a16:colId xmlns:a16="http://schemas.microsoft.com/office/drawing/2014/main" val="148715442"/>
                    </a:ext>
                  </a:extLst>
                </a:gridCol>
                <a:gridCol w="1977212">
                  <a:extLst>
                    <a:ext uri="{9D8B030D-6E8A-4147-A177-3AD203B41FA5}">
                      <a16:colId xmlns:a16="http://schemas.microsoft.com/office/drawing/2014/main" val="996944372"/>
                    </a:ext>
                  </a:extLst>
                </a:gridCol>
                <a:gridCol w="1977212">
                  <a:extLst>
                    <a:ext uri="{9D8B030D-6E8A-4147-A177-3AD203B41FA5}">
                      <a16:colId xmlns:a16="http://schemas.microsoft.com/office/drawing/2014/main" val="360711201"/>
                    </a:ext>
                  </a:extLst>
                </a:gridCol>
              </a:tblGrid>
              <a:tr h="540041">
                <a:tc>
                  <a:txBody>
                    <a:bodyPr/>
                    <a:lstStyle/>
                    <a:p>
                      <a:endParaRPr lang="fr-FR"/>
                    </a:p>
                  </a:txBody>
                  <a:tcP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solidFill>
                      <a:schemeClr val="bg1"/>
                    </a:solidFill>
                  </a:tcPr>
                </a:tc>
                <a:tc>
                  <a:txBody>
                    <a:bodyPr/>
                    <a:lstStyle/>
                    <a:p>
                      <a:endParaRPr lang="fr-FR"/>
                    </a:p>
                  </a:txBody>
                  <a:tcP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solidFill>
                      <a:schemeClr val="bg1"/>
                    </a:solidFill>
                  </a:tcPr>
                </a:tc>
                <a:tc>
                  <a:txBody>
                    <a:bodyPr/>
                    <a:lstStyle/>
                    <a:p>
                      <a:endParaRPr lang="fr-FR"/>
                    </a:p>
                  </a:txBody>
                  <a:tcP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solidFill>
                      <a:schemeClr val="bg1"/>
                    </a:solidFill>
                  </a:tcPr>
                </a:tc>
                <a:tc>
                  <a:txBody>
                    <a:bodyPr/>
                    <a:lstStyle/>
                    <a:p>
                      <a:endParaRPr lang="fr-FR"/>
                    </a:p>
                  </a:txBody>
                  <a:tcP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solidFill>
                      <a:schemeClr val="bg1"/>
                    </a:solidFill>
                  </a:tcPr>
                </a:tc>
                <a:tc>
                  <a:txBody>
                    <a:bodyPr/>
                    <a:lstStyle/>
                    <a:p>
                      <a:endParaRPr lang="fr-FR"/>
                    </a:p>
                  </a:txBody>
                  <a:tcP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solidFill>
                      <a:schemeClr val="bg1"/>
                    </a:solidFill>
                  </a:tcPr>
                </a:tc>
                <a:extLst>
                  <a:ext uri="{0D108BD9-81ED-4DB2-BD59-A6C34878D82A}">
                    <a16:rowId xmlns:a16="http://schemas.microsoft.com/office/drawing/2014/main" val="3377332612"/>
                  </a:ext>
                </a:extLst>
              </a:tr>
              <a:tr h="540041">
                <a:tc>
                  <a:txBody>
                    <a:bodyPr/>
                    <a:lstStyle/>
                    <a:p>
                      <a:endParaRPr lang="fr-FR"/>
                    </a:p>
                  </a:txBody>
                  <a:tcP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solidFill>
                      <a:schemeClr val="bg1"/>
                    </a:solidFill>
                  </a:tcPr>
                </a:tc>
                <a:tc>
                  <a:txBody>
                    <a:bodyPr/>
                    <a:lstStyle/>
                    <a:p>
                      <a:endParaRPr lang="fr-FR"/>
                    </a:p>
                  </a:txBody>
                  <a:tcP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solidFill>
                      <a:schemeClr val="bg1"/>
                    </a:solidFill>
                  </a:tcPr>
                </a:tc>
                <a:tc>
                  <a:txBody>
                    <a:bodyPr/>
                    <a:lstStyle/>
                    <a:p>
                      <a:endParaRPr lang="fr-FR"/>
                    </a:p>
                  </a:txBody>
                  <a:tcP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solidFill>
                      <a:schemeClr val="bg1"/>
                    </a:solidFill>
                  </a:tcPr>
                </a:tc>
                <a:tc>
                  <a:txBody>
                    <a:bodyPr/>
                    <a:lstStyle/>
                    <a:p>
                      <a:endParaRPr lang="fr-FR"/>
                    </a:p>
                  </a:txBody>
                  <a:tcP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solidFill>
                      <a:schemeClr val="bg1"/>
                    </a:solidFill>
                  </a:tcPr>
                </a:tc>
                <a:tc>
                  <a:txBody>
                    <a:bodyPr/>
                    <a:lstStyle/>
                    <a:p>
                      <a:endParaRPr lang="fr-FR"/>
                    </a:p>
                  </a:txBody>
                  <a:tcP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solidFill>
                      <a:schemeClr val="bg1"/>
                    </a:solidFill>
                  </a:tcPr>
                </a:tc>
                <a:extLst>
                  <a:ext uri="{0D108BD9-81ED-4DB2-BD59-A6C34878D82A}">
                    <a16:rowId xmlns:a16="http://schemas.microsoft.com/office/drawing/2014/main" val="3887358451"/>
                  </a:ext>
                </a:extLst>
              </a:tr>
              <a:tr h="540041">
                <a:tc>
                  <a:txBody>
                    <a:bodyPr/>
                    <a:lstStyle/>
                    <a:p>
                      <a:endParaRPr lang="fr-FR"/>
                    </a:p>
                  </a:txBody>
                  <a:tcP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solidFill>
                      <a:schemeClr val="bg1"/>
                    </a:solidFill>
                  </a:tcPr>
                </a:tc>
                <a:tc>
                  <a:txBody>
                    <a:bodyPr/>
                    <a:lstStyle/>
                    <a:p>
                      <a:endParaRPr lang="fr-FR"/>
                    </a:p>
                  </a:txBody>
                  <a:tcP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solidFill>
                      <a:schemeClr val="bg1"/>
                    </a:solidFill>
                  </a:tcPr>
                </a:tc>
                <a:tc>
                  <a:txBody>
                    <a:bodyPr/>
                    <a:lstStyle/>
                    <a:p>
                      <a:endParaRPr lang="fr-FR"/>
                    </a:p>
                  </a:txBody>
                  <a:tcP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solidFill>
                      <a:schemeClr val="bg1"/>
                    </a:solidFill>
                  </a:tcPr>
                </a:tc>
                <a:tc>
                  <a:txBody>
                    <a:bodyPr/>
                    <a:lstStyle/>
                    <a:p>
                      <a:endParaRPr lang="fr-FR"/>
                    </a:p>
                  </a:txBody>
                  <a:tcP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solidFill>
                      <a:schemeClr val="bg1"/>
                    </a:solidFill>
                  </a:tcPr>
                </a:tc>
                <a:tc>
                  <a:txBody>
                    <a:bodyPr/>
                    <a:lstStyle/>
                    <a:p>
                      <a:endParaRPr lang="fr-FR"/>
                    </a:p>
                  </a:txBody>
                  <a:tcP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solidFill>
                      <a:schemeClr val="bg1"/>
                    </a:solidFill>
                  </a:tcPr>
                </a:tc>
                <a:extLst>
                  <a:ext uri="{0D108BD9-81ED-4DB2-BD59-A6C34878D82A}">
                    <a16:rowId xmlns:a16="http://schemas.microsoft.com/office/drawing/2014/main" val="807464998"/>
                  </a:ext>
                </a:extLst>
              </a:tr>
              <a:tr h="540041">
                <a:tc>
                  <a:txBody>
                    <a:bodyPr/>
                    <a:lstStyle/>
                    <a:p>
                      <a:endParaRPr lang="fr-FR"/>
                    </a:p>
                  </a:txBody>
                  <a:tcP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solidFill>
                      <a:schemeClr val="bg1"/>
                    </a:solidFill>
                  </a:tcPr>
                </a:tc>
                <a:tc>
                  <a:txBody>
                    <a:bodyPr/>
                    <a:lstStyle/>
                    <a:p>
                      <a:endParaRPr lang="fr-FR"/>
                    </a:p>
                  </a:txBody>
                  <a:tcP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solidFill>
                      <a:schemeClr val="bg1"/>
                    </a:solidFill>
                  </a:tcPr>
                </a:tc>
                <a:tc>
                  <a:txBody>
                    <a:bodyPr/>
                    <a:lstStyle/>
                    <a:p>
                      <a:endParaRPr lang="fr-FR"/>
                    </a:p>
                  </a:txBody>
                  <a:tcP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solidFill>
                      <a:schemeClr val="bg1"/>
                    </a:solidFill>
                  </a:tcPr>
                </a:tc>
                <a:tc>
                  <a:txBody>
                    <a:bodyPr/>
                    <a:lstStyle/>
                    <a:p>
                      <a:endParaRPr lang="fr-FR"/>
                    </a:p>
                  </a:txBody>
                  <a:tcP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solidFill>
                      <a:schemeClr val="bg1"/>
                    </a:solidFill>
                  </a:tcPr>
                </a:tc>
                <a:tc>
                  <a:txBody>
                    <a:bodyPr/>
                    <a:lstStyle/>
                    <a:p>
                      <a:endParaRPr lang="fr-FR"/>
                    </a:p>
                  </a:txBody>
                  <a:tcP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solidFill>
                      <a:schemeClr val="bg1"/>
                    </a:solidFill>
                  </a:tcPr>
                </a:tc>
                <a:extLst>
                  <a:ext uri="{0D108BD9-81ED-4DB2-BD59-A6C34878D82A}">
                    <a16:rowId xmlns:a16="http://schemas.microsoft.com/office/drawing/2014/main" val="1008022208"/>
                  </a:ext>
                </a:extLst>
              </a:tr>
              <a:tr h="540041">
                <a:tc>
                  <a:txBody>
                    <a:bodyPr/>
                    <a:lstStyle/>
                    <a:p>
                      <a:endParaRPr lang="fr-FR"/>
                    </a:p>
                  </a:txBody>
                  <a:tcP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solidFill>
                      <a:schemeClr val="bg1"/>
                    </a:solidFill>
                  </a:tcPr>
                </a:tc>
                <a:tc>
                  <a:txBody>
                    <a:bodyPr/>
                    <a:lstStyle/>
                    <a:p>
                      <a:endParaRPr lang="fr-FR"/>
                    </a:p>
                  </a:txBody>
                  <a:tcP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solidFill>
                      <a:schemeClr val="bg1"/>
                    </a:solidFill>
                  </a:tcPr>
                </a:tc>
                <a:tc>
                  <a:txBody>
                    <a:bodyPr/>
                    <a:lstStyle/>
                    <a:p>
                      <a:endParaRPr lang="fr-FR"/>
                    </a:p>
                  </a:txBody>
                  <a:tcP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solidFill>
                      <a:schemeClr val="bg1"/>
                    </a:solidFill>
                  </a:tcPr>
                </a:tc>
                <a:tc>
                  <a:txBody>
                    <a:bodyPr/>
                    <a:lstStyle/>
                    <a:p>
                      <a:endParaRPr lang="fr-FR"/>
                    </a:p>
                  </a:txBody>
                  <a:tcP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solidFill>
                      <a:schemeClr val="bg1"/>
                    </a:solidFill>
                  </a:tcPr>
                </a:tc>
                <a:tc>
                  <a:txBody>
                    <a:bodyPr/>
                    <a:lstStyle/>
                    <a:p>
                      <a:endParaRPr lang="fr-FR"/>
                    </a:p>
                  </a:txBody>
                  <a:tcP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solidFill>
                      <a:schemeClr val="bg1"/>
                    </a:solidFill>
                  </a:tcPr>
                </a:tc>
                <a:extLst>
                  <a:ext uri="{0D108BD9-81ED-4DB2-BD59-A6C34878D82A}">
                    <a16:rowId xmlns:a16="http://schemas.microsoft.com/office/drawing/2014/main" val="429942975"/>
                  </a:ext>
                </a:extLst>
              </a:tr>
              <a:tr h="540041">
                <a:tc>
                  <a:txBody>
                    <a:bodyPr/>
                    <a:lstStyle/>
                    <a:p>
                      <a:endParaRPr lang="fr-FR"/>
                    </a:p>
                  </a:txBody>
                  <a:tcP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solidFill>
                      <a:schemeClr val="bg1"/>
                    </a:solidFill>
                  </a:tcPr>
                </a:tc>
                <a:tc>
                  <a:txBody>
                    <a:bodyPr/>
                    <a:lstStyle/>
                    <a:p>
                      <a:endParaRPr lang="fr-FR"/>
                    </a:p>
                  </a:txBody>
                  <a:tcP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solidFill>
                      <a:schemeClr val="bg1"/>
                    </a:solidFill>
                  </a:tcPr>
                </a:tc>
                <a:tc>
                  <a:txBody>
                    <a:bodyPr/>
                    <a:lstStyle/>
                    <a:p>
                      <a:endParaRPr lang="fr-FR"/>
                    </a:p>
                  </a:txBody>
                  <a:tcP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solidFill>
                      <a:schemeClr val="bg1"/>
                    </a:solidFill>
                  </a:tcPr>
                </a:tc>
                <a:tc>
                  <a:txBody>
                    <a:bodyPr/>
                    <a:lstStyle/>
                    <a:p>
                      <a:endParaRPr lang="fr-FR"/>
                    </a:p>
                  </a:txBody>
                  <a:tcP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solidFill>
                      <a:schemeClr val="bg1"/>
                    </a:solidFill>
                  </a:tcPr>
                </a:tc>
                <a:tc>
                  <a:txBody>
                    <a:bodyPr/>
                    <a:lstStyle/>
                    <a:p>
                      <a:endParaRPr lang="fr-FR"/>
                    </a:p>
                  </a:txBody>
                  <a:tcP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solidFill>
                      <a:schemeClr val="bg1"/>
                    </a:solidFill>
                  </a:tcPr>
                </a:tc>
                <a:extLst>
                  <a:ext uri="{0D108BD9-81ED-4DB2-BD59-A6C34878D82A}">
                    <a16:rowId xmlns:a16="http://schemas.microsoft.com/office/drawing/2014/main" val="481758572"/>
                  </a:ext>
                </a:extLst>
              </a:tr>
              <a:tr h="540041">
                <a:tc>
                  <a:txBody>
                    <a:bodyPr/>
                    <a:lstStyle/>
                    <a:p>
                      <a:endParaRPr lang="fr-FR"/>
                    </a:p>
                  </a:txBody>
                  <a:tcP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solidFill>
                      <a:schemeClr val="bg1"/>
                    </a:solidFill>
                  </a:tcPr>
                </a:tc>
                <a:tc>
                  <a:txBody>
                    <a:bodyPr/>
                    <a:lstStyle/>
                    <a:p>
                      <a:endParaRPr lang="fr-FR"/>
                    </a:p>
                  </a:txBody>
                  <a:tcP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solidFill>
                      <a:schemeClr val="bg1"/>
                    </a:solidFill>
                  </a:tcPr>
                </a:tc>
                <a:tc>
                  <a:txBody>
                    <a:bodyPr/>
                    <a:lstStyle/>
                    <a:p>
                      <a:endParaRPr lang="fr-FR"/>
                    </a:p>
                  </a:txBody>
                  <a:tcP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solidFill>
                      <a:schemeClr val="bg1"/>
                    </a:solidFill>
                  </a:tcPr>
                </a:tc>
                <a:tc>
                  <a:txBody>
                    <a:bodyPr/>
                    <a:lstStyle/>
                    <a:p>
                      <a:endParaRPr lang="fr-FR"/>
                    </a:p>
                  </a:txBody>
                  <a:tcP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solidFill>
                      <a:schemeClr val="bg1"/>
                    </a:solidFill>
                  </a:tcPr>
                </a:tc>
                <a:tc>
                  <a:txBody>
                    <a:bodyPr/>
                    <a:lstStyle/>
                    <a:p>
                      <a:endParaRPr lang="fr-FR"/>
                    </a:p>
                  </a:txBody>
                  <a:tcP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solidFill>
                      <a:schemeClr val="bg1"/>
                    </a:solidFill>
                  </a:tcPr>
                </a:tc>
                <a:extLst>
                  <a:ext uri="{0D108BD9-81ED-4DB2-BD59-A6C34878D82A}">
                    <a16:rowId xmlns:a16="http://schemas.microsoft.com/office/drawing/2014/main" val="1046146463"/>
                  </a:ext>
                </a:extLst>
              </a:tr>
            </a:tbl>
          </a:graphicData>
        </a:graphic>
      </p:graphicFrame>
      <p:sp>
        <p:nvSpPr>
          <p:cNvPr id="13" name="Rectangle: Top Corners Rounded 12">
            <a:extLst>
              <a:ext uri="{FF2B5EF4-FFF2-40B4-BE49-F238E27FC236}">
                <a16:creationId xmlns:a16="http://schemas.microsoft.com/office/drawing/2014/main" id="{30647647-BC1A-0825-CF8A-41AD024BDAE8}"/>
              </a:ext>
            </a:extLst>
          </p:cNvPr>
          <p:cNvSpPr/>
          <p:nvPr/>
        </p:nvSpPr>
        <p:spPr>
          <a:xfrm rot="16200000">
            <a:off x="392769" y="2229018"/>
            <a:ext cx="1060486" cy="1468066"/>
          </a:xfrm>
          <a:prstGeom prst="round2SameRect">
            <a:avLst>
              <a:gd name="adj1" fmla="val 5962"/>
              <a:gd name="adj2" fmla="val 0"/>
            </a:avLst>
          </a:prstGeom>
          <a:solidFill>
            <a:srgbClr val="7D2469"/>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Ubuntu"/>
                <a:ea typeface="+mn-ea"/>
                <a:cs typeface="+mn-cs"/>
              </a:rPr>
              <a:t>Levier 1</a:t>
            </a:r>
            <a:endParaRPr kumimoji="0" lang="fr-FR" sz="1600" b="0" i="0" u="none" strike="noStrike" kern="1200" cap="none" spc="0" normalizeH="0" baseline="0" noProof="0">
              <a:ln>
                <a:noFill/>
              </a:ln>
              <a:solidFill>
                <a:srgbClr val="FFFFFF"/>
              </a:solidFill>
              <a:effectLst/>
              <a:uLnTx/>
              <a:uFillTx/>
              <a:latin typeface="Ubuntu"/>
              <a:ea typeface="+mn-ea"/>
              <a:cs typeface="+mn-cs"/>
            </a:endParaRPr>
          </a:p>
        </p:txBody>
      </p:sp>
      <p:sp>
        <p:nvSpPr>
          <p:cNvPr id="17" name="Rectangle: Top Corners Rounded 16">
            <a:extLst>
              <a:ext uri="{FF2B5EF4-FFF2-40B4-BE49-F238E27FC236}">
                <a16:creationId xmlns:a16="http://schemas.microsoft.com/office/drawing/2014/main" id="{2D53651A-E05D-5A3F-CF90-BC22AB40E019}"/>
              </a:ext>
            </a:extLst>
          </p:cNvPr>
          <p:cNvSpPr/>
          <p:nvPr/>
        </p:nvSpPr>
        <p:spPr>
          <a:xfrm rot="16200000">
            <a:off x="132973" y="3585881"/>
            <a:ext cx="1580078" cy="1468066"/>
          </a:xfrm>
          <a:prstGeom prst="round2SameRect">
            <a:avLst>
              <a:gd name="adj1" fmla="val 6448"/>
              <a:gd name="adj2" fmla="val 0"/>
            </a:avLst>
          </a:prstGeom>
          <a:solidFill>
            <a:srgbClr val="7D2469"/>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a:ln>
                  <a:noFill/>
                </a:ln>
                <a:solidFill>
                  <a:srgbClr val="FFFFFF"/>
                </a:solidFill>
                <a:effectLst/>
                <a:uLnTx/>
                <a:uFillTx/>
                <a:latin typeface="Ubuntu"/>
                <a:ea typeface="+mn-ea"/>
                <a:cs typeface="+mn-cs"/>
              </a:rPr>
              <a:t>Levier 2</a:t>
            </a:r>
          </a:p>
        </p:txBody>
      </p:sp>
      <p:sp>
        <p:nvSpPr>
          <p:cNvPr id="20" name="Rectangle: Top Corners Rounded 19">
            <a:extLst>
              <a:ext uri="{FF2B5EF4-FFF2-40B4-BE49-F238E27FC236}">
                <a16:creationId xmlns:a16="http://schemas.microsoft.com/office/drawing/2014/main" id="{2DBD63B9-C49A-DDBE-F483-DF9D2E025BDF}"/>
              </a:ext>
            </a:extLst>
          </p:cNvPr>
          <p:cNvSpPr/>
          <p:nvPr/>
        </p:nvSpPr>
        <p:spPr>
          <a:xfrm rot="16200000">
            <a:off x="667486" y="5215662"/>
            <a:ext cx="511053" cy="1468066"/>
          </a:xfrm>
          <a:prstGeom prst="round2SameRect">
            <a:avLst/>
          </a:prstGeom>
          <a:solidFill>
            <a:srgbClr val="7D2469"/>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a:ln>
                  <a:noFill/>
                </a:ln>
                <a:solidFill>
                  <a:srgbClr val="FFFFFF"/>
                </a:solidFill>
                <a:effectLst/>
                <a:uLnTx/>
                <a:uFillTx/>
                <a:latin typeface="Ubuntu"/>
                <a:ea typeface="+mn-ea"/>
                <a:cs typeface="+mn-cs"/>
              </a:rPr>
              <a:t>…</a:t>
            </a:r>
          </a:p>
        </p:txBody>
      </p:sp>
      <p:sp>
        <p:nvSpPr>
          <p:cNvPr id="5" name="Arrow: Pentagon 4">
            <a:extLst>
              <a:ext uri="{FF2B5EF4-FFF2-40B4-BE49-F238E27FC236}">
                <a16:creationId xmlns:a16="http://schemas.microsoft.com/office/drawing/2014/main" id="{842748CF-96A3-649D-CC2B-F85F52A56A24}"/>
              </a:ext>
            </a:extLst>
          </p:cNvPr>
          <p:cNvSpPr/>
          <p:nvPr/>
        </p:nvSpPr>
        <p:spPr>
          <a:xfrm>
            <a:off x="1702963" y="1884629"/>
            <a:ext cx="1937857" cy="484632"/>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a:ln>
                  <a:noFill/>
                </a:ln>
                <a:solidFill>
                  <a:srgbClr val="FFFFFF"/>
                </a:solidFill>
                <a:effectLst/>
                <a:uLnTx/>
                <a:uFillTx/>
                <a:latin typeface="Ubuntu"/>
                <a:ea typeface="+mn-ea"/>
                <a:cs typeface="+mn-cs"/>
              </a:rPr>
              <a:t>Mois 1</a:t>
            </a:r>
          </a:p>
        </p:txBody>
      </p:sp>
      <p:sp>
        <p:nvSpPr>
          <p:cNvPr id="6" name="Arrow: Chevron 5">
            <a:extLst>
              <a:ext uri="{FF2B5EF4-FFF2-40B4-BE49-F238E27FC236}">
                <a16:creationId xmlns:a16="http://schemas.microsoft.com/office/drawing/2014/main" id="{F89608D4-628F-FC81-1BED-B3F1FD2ADDC8}"/>
              </a:ext>
            </a:extLst>
          </p:cNvPr>
          <p:cNvSpPr/>
          <p:nvPr/>
        </p:nvSpPr>
        <p:spPr>
          <a:xfrm>
            <a:off x="3640820" y="1882700"/>
            <a:ext cx="1996582" cy="486561"/>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a:ln>
                  <a:noFill/>
                </a:ln>
                <a:solidFill>
                  <a:srgbClr val="ECECEC"/>
                </a:solidFill>
                <a:effectLst/>
                <a:uLnTx/>
                <a:uFillTx/>
                <a:latin typeface="Ubuntu"/>
                <a:ea typeface="+mn-ea"/>
                <a:cs typeface="+mn-cs"/>
              </a:rPr>
              <a:t>Mois 2</a:t>
            </a:r>
          </a:p>
        </p:txBody>
      </p:sp>
      <p:sp>
        <p:nvSpPr>
          <p:cNvPr id="9" name="Arrow: Chevron 8">
            <a:extLst>
              <a:ext uri="{FF2B5EF4-FFF2-40B4-BE49-F238E27FC236}">
                <a16:creationId xmlns:a16="http://schemas.microsoft.com/office/drawing/2014/main" id="{832DAA52-9CA9-7534-75E1-26E1EAAAAE89}"/>
              </a:ext>
            </a:extLst>
          </p:cNvPr>
          <p:cNvSpPr/>
          <p:nvPr/>
        </p:nvSpPr>
        <p:spPr>
          <a:xfrm>
            <a:off x="5637402" y="1882700"/>
            <a:ext cx="1996582" cy="486561"/>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a:ln>
                  <a:noFill/>
                </a:ln>
                <a:solidFill>
                  <a:srgbClr val="ECECEC"/>
                </a:solidFill>
                <a:effectLst/>
                <a:uLnTx/>
                <a:uFillTx/>
                <a:latin typeface="Ubuntu"/>
                <a:ea typeface="+mn-ea"/>
                <a:cs typeface="+mn-cs"/>
              </a:rPr>
              <a:t>Mois 3</a:t>
            </a:r>
          </a:p>
        </p:txBody>
      </p:sp>
      <p:sp>
        <p:nvSpPr>
          <p:cNvPr id="10" name="Arrow: Chevron 9">
            <a:extLst>
              <a:ext uri="{FF2B5EF4-FFF2-40B4-BE49-F238E27FC236}">
                <a16:creationId xmlns:a16="http://schemas.microsoft.com/office/drawing/2014/main" id="{49DA012A-CF49-ED59-3437-575FF13026D7}"/>
              </a:ext>
            </a:extLst>
          </p:cNvPr>
          <p:cNvSpPr/>
          <p:nvPr/>
        </p:nvSpPr>
        <p:spPr>
          <a:xfrm>
            <a:off x="7633984" y="1882700"/>
            <a:ext cx="1996582" cy="486561"/>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a:ln>
                  <a:noFill/>
                </a:ln>
                <a:solidFill>
                  <a:srgbClr val="ECECEC"/>
                </a:solidFill>
                <a:effectLst/>
                <a:uLnTx/>
                <a:uFillTx/>
                <a:latin typeface="Ubuntu"/>
                <a:ea typeface="+mn-ea"/>
                <a:cs typeface="+mn-cs"/>
              </a:rPr>
              <a:t>Mois 4</a:t>
            </a:r>
          </a:p>
        </p:txBody>
      </p:sp>
      <p:sp>
        <p:nvSpPr>
          <p:cNvPr id="4" name="Rectangle 1">
            <a:extLst>
              <a:ext uri="{FF2B5EF4-FFF2-40B4-BE49-F238E27FC236}">
                <a16:creationId xmlns:a16="http://schemas.microsoft.com/office/drawing/2014/main" id="{E56A21B4-44C4-FDF2-804D-1008419F93EA}"/>
              </a:ext>
            </a:extLst>
          </p:cNvPr>
          <p:cNvSpPr/>
          <p:nvPr/>
        </p:nvSpPr>
        <p:spPr>
          <a:xfrm>
            <a:off x="0" y="0"/>
            <a:ext cx="12192000" cy="6858000"/>
          </a:xfrm>
          <a:prstGeom prst="rect">
            <a:avLst/>
          </a:prstGeom>
          <a:noFill/>
          <a:ln w="762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err="1">
              <a:ln>
                <a:noFill/>
              </a:ln>
              <a:solidFill>
                <a:srgbClr val="FFFFFF"/>
              </a:solidFill>
              <a:effectLst/>
              <a:uLnTx/>
              <a:uFillTx/>
              <a:latin typeface="Ubuntu"/>
              <a:ea typeface="+mn-ea"/>
              <a:cs typeface="+mn-cs"/>
            </a:endParaRPr>
          </a:p>
        </p:txBody>
      </p:sp>
      <p:sp>
        <p:nvSpPr>
          <p:cNvPr id="7" name="Rectangle : avec coins arrondis en diagonale 6">
            <a:extLst>
              <a:ext uri="{FF2B5EF4-FFF2-40B4-BE49-F238E27FC236}">
                <a16:creationId xmlns:a16="http://schemas.microsoft.com/office/drawing/2014/main" id="{A26A80F6-0250-2061-C83E-7E7DD3CE4AA6}"/>
              </a:ext>
            </a:extLst>
          </p:cNvPr>
          <p:cNvSpPr/>
          <p:nvPr/>
        </p:nvSpPr>
        <p:spPr>
          <a:xfrm>
            <a:off x="-6394" y="1587"/>
            <a:ext cx="1494204" cy="375980"/>
          </a:xfrm>
          <a:prstGeom prst="round2Diag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Ubuntu"/>
                <a:ea typeface="+mn-ea"/>
                <a:cs typeface="+mn-cs"/>
              </a:rPr>
              <a:t>TEMPLATE</a:t>
            </a:r>
          </a:p>
        </p:txBody>
      </p:sp>
      <p:sp>
        <p:nvSpPr>
          <p:cNvPr id="14" name="Arrow: Chevron 13">
            <a:extLst>
              <a:ext uri="{FF2B5EF4-FFF2-40B4-BE49-F238E27FC236}">
                <a16:creationId xmlns:a16="http://schemas.microsoft.com/office/drawing/2014/main" id="{F40E5E4D-FD0D-53B3-CAF9-9CE546BF43CF}"/>
              </a:ext>
            </a:extLst>
          </p:cNvPr>
          <p:cNvSpPr/>
          <p:nvPr/>
        </p:nvSpPr>
        <p:spPr>
          <a:xfrm>
            <a:off x="9630566" y="1882700"/>
            <a:ext cx="638389" cy="486561"/>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1" i="0" u="none" strike="noStrike" kern="1200" cap="none" spc="0" normalizeH="0" baseline="0" noProof="0">
              <a:ln>
                <a:noFill/>
              </a:ln>
              <a:solidFill>
                <a:srgbClr val="ECECEC"/>
              </a:solidFill>
              <a:effectLst/>
              <a:uLnTx/>
              <a:uFillTx/>
              <a:latin typeface="Ubuntu"/>
              <a:ea typeface="+mn-ea"/>
              <a:cs typeface="+mn-cs"/>
            </a:endParaRPr>
          </a:p>
        </p:txBody>
      </p:sp>
      <p:sp>
        <p:nvSpPr>
          <p:cNvPr id="8" name="Arrow: Chevron 13">
            <a:extLst>
              <a:ext uri="{FF2B5EF4-FFF2-40B4-BE49-F238E27FC236}">
                <a16:creationId xmlns:a16="http://schemas.microsoft.com/office/drawing/2014/main" id="{4DFDC98A-257E-E0F5-F3FF-3C322DB40B2E}"/>
              </a:ext>
            </a:extLst>
          </p:cNvPr>
          <p:cNvSpPr/>
          <p:nvPr/>
        </p:nvSpPr>
        <p:spPr>
          <a:xfrm>
            <a:off x="10070589" y="1882700"/>
            <a:ext cx="638389" cy="486561"/>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1" i="0" u="none" strike="noStrike" kern="1200" cap="none" spc="0" normalizeH="0" baseline="0" noProof="0">
              <a:ln>
                <a:noFill/>
              </a:ln>
              <a:solidFill>
                <a:srgbClr val="ECECEC"/>
              </a:solidFill>
              <a:effectLst/>
              <a:uLnTx/>
              <a:uFillTx/>
              <a:latin typeface="Ubuntu"/>
              <a:ea typeface="+mn-ea"/>
              <a:cs typeface="+mn-cs"/>
            </a:endParaRPr>
          </a:p>
        </p:txBody>
      </p:sp>
      <p:sp>
        <p:nvSpPr>
          <p:cNvPr id="11" name="Arrow: Chevron 13">
            <a:extLst>
              <a:ext uri="{FF2B5EF4-FFF2-40B4-BE49-F238E27FC236}">
                <a16:creationId xmlns:a16="http://schemas.microsoft.com/office/drawing/2014/main" id="{9E5DDBDF-EEFE-EA91-98FC-4CA5619472CF}"/>
              </a:ext>
            </a:extLst>
          </p:cNvPr>
          <p:cNvSpPr/>
          <p:nvPr/>
        </p:nvSpPr>
        <p:spPr>
          <a:xfrm>
            <a:off x="10510612" y="1882700"/>
            <a:ext cx="638389" cy="486561"/>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1" i="0" u="none" strike="noStrike" kern="1200" cap="none" spc="0" normalizeH="0" baseline="0" noProof="0">
              <a:ln>
                <a:noFill/>
              </a:ln>
              <a:solidFill>
                <a:srgbClr val="ECECEC"/>
              </a:solidFill>
              <a:effectLst/>
              <a:uLnTx/>
              <a:uFillTx/>
              <a:latin typeface="Ubuntu"/>
              <a:ea typeface="+mn-ea"/>
              <a:cs typeface="+mn-cs"/>
            </a:endParaRPr>
          </a:p>
        </p:txBody>
      </p:sp>
      <p:sp>
        <p:nvSpPr>
          <p:cNvPr id="12" name="Arrow: Chevron 13">
            <a:extLst>
              <a:ext uri="{FF2B5EF4-FFF2-40B4-BE49-F238E27FC236}">
                <a16:creationId xmlns:a16="http://schemas.microsoft.com/office/drawing/2014/main" id="{80016D73-5818-C244-A266-FD32AD1A6311}"/>
              </a:ext>
            </a:extLst>
          </p:cNvPr>
          <p:cNvSpPr/>
          <p:nvPr/>
        </p:nvSpPr>
        <p:spPr>
          <a:xfrm>
            <a:off x="10950635" y="1882700"/>
            <a:ext cx="638389" cy="486561"/>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1" i="0" u="none" strike="noStrike" kern="1200" cap="none" spc="0" normalizeH="0" baseline="0" noProof="0">
              <a:ln>
                <a:noFill/>
              </a:ln>
              <a:solidFill>
                <a:srgbClr val="ECECEC"/>
              </a:solidFill>
              <a:effectLst/>
              <a:uLnTx/>
              <a:uFillTx/>
              <a:latin typeface="Ubuntu"/>
              <a:ea typeface="+mn-ea"/>
              <a:cs typeface="+mn-cs"/>
            </a:endParaRPr>
          </a:p>
        </p:txBody>
      </p:sp>
      <p:sp>
        <p:nvSpPr>
          <p:cNvPr id="24" name="Flèche : pentagone 23">
            <a:extLst>
              <a:ext uri="{FF2B5EF4-FFF2-40B4-BE49-F238E27FC236}">
                <a16:creationId xmlns:a16="http://schemas.microsoft.com/office/drawing/2014/main" id="{FFE9D206-188F-6E4A-62BC-D422D49911E0}"/>
              </a:ext>
            </a:extLst>
          </p:cNvPr>
          <p:cNvSpPr/>
          <p:nvPr/>
        </p:nvSpPr>
        <p:spPr>
          <a:xfrm>
            <a:off x="1846023" y="2578362"/>
            <a:ext cx="2543175" cy="271462"/>
          </a:xfrm>
          <a:prstGeom prst="homePlate">
            <a:avLst/>
          </a:prstGeom>
          <a:solidFill>
            <a:schemeClr val="bg1">
              <a:lumMod val="95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Ubuntu"/>
                <a:ea typeface="+mn-ea"/>
                <a:cs typeface="+mn-cs"/>
              </a:rPr>
              <a:t>Etape 1</a:t>
            </a:r>
            <a:endParaRPr kumimoji="0" lang="fr-FR" sz="1600" b="0" i="0" u="none" strike="noStrike" kern="1200" cap="none" spc="0" normalizeH="0" baseline="0" noProof="0" err="1">
              <a:ln>
                <a:noFill/>
              </a:ln>
              <a:solidFill>
                <a:prstClr val="black"/>
              </a:solidFill>
              <a:effectLst/>
              <a:uLnTx/>
              <a:uFillTx/>
              <a:latin typeface="Ubuntu"/>
              <a:ea typeface="+mn-ea"/>
              <a:cs typeface="+mn-cs"/>
            </a:endParaRPr>
          </a:p>
        </p:txBody>
      </p:sp>
      <p:sp>
        <p:nvSpPr>
          <p:cNvPr id="25" name="Flèche : chevron 24">
            <a:extLst>
              <a:ext uri="{FF2B5EF4-FFF2-40B4-BE49-F238E27FC236}">
                <a16:creationId xmlns:a16="http://schemas.microsoft.com/office/drawing/2014/main" id="{E16FB659-1047-FF35-AC46-ABB90EFB9E6E}"/>
              </a:ext>
            </a:extLst>
          </p:cNvPr>
          <p:cNvSpPr/>
          <p:nvPr/>
        </p:nvSpPr>
        <p:spPr>
          <a:xfrm>
            <a:off x="4532257" y="2578362"/>
            <a:ext cx="2543175" cy="271462"/>
          </a:xfrm>
          <a:prstGeom prst="chevron">
            <a:avLst/>
          </a:prstGeom>
          <a:solidFill>
            <a:schemeClr val="bg1">
              <a:lumMod val="95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Ubuntu"/>
                <a:ea typeface="+mn-ea"/>
                <a:cs typeface="+mn-cs"/>
              </a:rPr>
              <a:t>Etape 2</a:t>
            </a:r>
            <a:endParaRPr kumimoji="0" lang="fr-FR" sz="1600" b="0" i="0" u="none" strike="noStrike" kern="1200" cap="none" spc="0" normalizeH="0" baseline="0" noProof="0" err="1">
              <a:ln>
                <a:noFill/>
              </a:ln>
              <a:solidFill>
                <a:prstClr val="black"/>
              </a:solidFill>
              <a:effectLst/>
              <a:uLnTx/>
              <a:uFillTx/>
              <a:latin typeface="Ubuntu"/>
              <a:ea typeface="+mn-ea"/>
              <a:cs typeface="+mn-cs"/>
            </a:endParaRPr>
          </a:p>
        </p:txBody>
      </p:sp>
      <p:sp>
        <p:nvSpPr>
          <p:cNvPr id="26" name="Flèche : chevron 25">
            <a:extLst>
              <a:ext uri="{FF2B5EF4-FFF2-40B4-BE49-F238E27FC236}">
                <a16:creationId xmlns:a16="http://schemas.microsoft.com/office/drawing/2014/main" id="{5563464F-63F9-0AD3-BD77-FE57EA21AFCE}"/>
              </a:ext>
            </a:extLst>
          </p:cNvPr>
          <p:cNvSpPr/>
          <p:nvPr/>
        </p:nvSpPr>
        <p:spPr>
          <a:xfrm>
            <a:off x="7218491" y="2578362"/>
            <a:ext cx="2543175" cy="271462"/>
          </a:xfrm>
          <a:prstGeom prst="chevron">
            <a:avLst/>
          </a:prstGeom>
          <a:solidFill>
            <a:schemeClr val="bg1">
              <a:lumMod val="95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Ubuntu"/>
                <a:ea typeface="+mn-ea"/>
                <a:cs typeface="+mn-cs"/>
              </a:rPr>
              <a:t>Etape 3</a:t>
            </a:r>
            <a:endParaRPr kumimoji="0" lang="fr-FR" sz="1600" b="0" i="0" u="none" strike="noStrike" kern="1200" cap="none" spc="0" normalizeH="0" baseline="0" noProof="0" err="1">
              <a:ln>
                <a:noFill/>
              </a:ln>
              <a:solidFill>
                <a:prstClr val="black"/>
              </a:solidFill>
              <a:effectLst/>
              <a:uLnTx/>
              <a:uFillTx/>
              <a:latin typeface="Ubuntu"/>
              <a:ea typeface="+mn-ea"/>
              <a:cs typeface="+mn-cs"/>
            </a:endParaRPr>
          </a:p>
        </p:txBody>
      </p:sp>
      <p:sp>
        <p:nvSpPr>
          <p:cNvPr id="27" name="Flèche : pentagone 26">
            <a:extLst>
              <a:ext uri="{FF2B5EF4-FFF2-40B4-BE49-F238E27FC236}">
                <a16:creationId xmlns:a16="http://schemas.microsoft.com/office/drawing/2014/main" id="{F5999106-3207-26BB-F8ED-F0C42AB83DB9}"/>
              </a:ext>
            </a:extLst>
          </p:cNvPr>
          <p:cNvSpPr/>
          <p:nvPr/>
        </p:nvSpPr>
        <p:spPr>
          <a:xfrm>
            <a:off x="3731973" y="3133677"/>
            <a:ext cx="7726602" cy="271462"/>
          </a:xfrm>
          <a:prstGeom prst="homePlate">
            <a:avLst/>
          </a:prstGeom>
          <a:solidFill>
            <a:schemeClr val="bg1">
              <a:lumMod val="95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Ubuntu"/>
                <a:ea typeface="+mn-ea"/>
                <a:cs typeface="+mn-cs"/>
              </a:rPr>
              <a:t>Etape 4</a:t>
            </a:r>
            <a:endParaRPr kumimoji="0" lang="fr-FR" sz="1600" b="0" i="0" u="none" strike="noStrike" kern="1200" cap="none" spc="0" normalizeH="0" baseline="0" noProof="0" err="1">
              <a:ln>
                <a:noFill/>
              </a:ln>
              <a:solidFill>
                <a:prstClr val="black"/>
              </a:solidFill>
              <a:effectLst/>
              <a:uLnTx/>
              <a:uFillTx/>
              <a:latin typeface="Ubuntu"/>
              <a:ea typeface="+mn-ea"/>
              <a:cs typeface="+mn-cs"/>
            </a:endParaRPr>
          </a:p>
        </p:txBody>
      </p:sp>
      <p:sp>
        <p:nvSpPr>
          <p:cNvPr id="29" name="Rectangle: Top Corners Rounded 19">
            <a:extLst>
              <a:ext uri="{FF2B5EF4-FFF2-40B4-BE49-F238E27FC236}">
                <a16:creationId xmlns:a16="http://schemas.microsoft.com/office/drawing/2014/main" id="{E94DE1B7-573E-4117-7F14-22634895171C}"/>
              </a:ext>
            </a:extLst>
          </p:cNvPr>
          <p:cNvSpPr/>
          <p:nvPr/>
        </p:nvSpPr>
        <p:spPr>
          <a:xfrm rot="16200000">
            <a:off x="667487" y="4668028"/>
            <a:ext cx="511053" cy="1468066"/>
          </a:xfrm>
          <a:prstGeom prst="round2SameRect">
            <a:avLst/>
          </a:prstGeom>
          <a:solidFill>
            <a:srgbClr val="7D2469"/>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0" i="0" u="none" strike="noStrike" kern="1200" cap="none" spc="0" normalizeH="0" baseline="0" noProof="0">
                <a:ln>
                  <a:noFill/>
                </a:ln>
                <a:solidFill>
                  <a:srgbClr val="FFFFFF"/>
                </a:solidFill>
                <a:effectLst/>
                <a:uLnTx/>
                <a:uFillTx/>
                <a:latin typeface="Ubuntu"/>
                <a:ea typeface="+mn-ea"/>
                <a:cs typeface="+mn-cs"/>
              </a:rPr>
              <a:t>Levier 3</a:t>
            </a:r>
          </a:p>
        </p:txBody>
      </p:sp>
    </p:spTree>
    <p:extLst>
      <p:ext uri="{BB962C8B-B14F-4D97-AF65-F5344CB8AC3E}">
        <p14:creationId xmlns:p14="http://schemas.microsoft.com/office/powerpoint/2010/main" val="295546587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4CD45B33-9486-32A6-6CF0-6CCC4CDC502C}"/>
              </a:ext>
            </a:extLst>
          </p:cNvPr>
          <p:cNvSpPr>
            <a:spLocks noGrp="1"/>
          </p:cNvSpPr>
          <p:nvPr>
            <p:ph type="ctrTitle"/>
          </p:nvPr>
        </p:nvSpPr>
        <p:spPr>
          <a:xfrm>
            <a:off x="404813" y="3003625"/>
            <a:ext cx="11329987" cy="738664"/>
          </a:xfrm>
        </p:spPr>
        <p:txBody>
          <a:bodyPr/>
          <a:lstStyle/>
          <a:p>
            <a:r>
              <a:rPr lang="en-US"/>
              <a:t>Annexes</a:t>
            </a:r>
          </a:p>
        </p:txBody>
      </p:sp>
    </p:spTree>
    <p:extLst>
      <p:ext uri="{BB962C8B-B14F-4D97-AF65-F5344CB8AC3E}">
        <p14:creationId xmlns:p14="http://schemas.microsoft.com/office/powerpoint/2010/main" val="405412225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45F714E-B0DB-4AC0-A544-A6932E332BDD}"/>
              </a:ext>
            </a:extLst>
          </p:cNvPr>
          <p:cNvSpPr>
            <a:spLocks noGrp="1"/>
          </p:cNvSpPr>
          <p:nvPr>
            <p:ph type="title"/>
          </p:nvPr>
        </p:nvSpPr>
        <p:spPr/>
        <p:txBody>
          <a:bodyPr anchor="ctr">
            <a:normAutofit/>
          </a:bodyPr>
          <a:lstStyle/>
          <a:p>
            <a:r>
              <a:rPr lang="fr-FR" sz="2800">
                <a:solidFill>
                  <a:schemeClr val="tx1"/>
                </a:solidFill>
              </a:rPr>
              <a:t>Des temps modernes à nos jours</a:t>
            </a:r>
          </a:p>
        </p:txBody>
      </p:sp>
      <p:grpSp>
        <p:nvGrpSpPr>
          <p:cNvPr id="7" name="Group 6">
            <a:extLst>
              <a:ext uri="{FF2B5EF4-FFF2-40B4-BE49-F238E27FC236}">
                <a16:creationId xmlns:a16="http://schemas.microsoft.com/office/drawing/2014/main" id="{EF0A36C6-45CE-EC3E-64BB-E0CA6855C00A}"/>
              </a:ext>
            </a:extLst>
          </p:cNvPr>
          <p:cNvGrpSpPr/>
          <p:nvPr/>
        </p:nvGrpSpPr>
        <p:grpSpPr>
          <a:xfrm>
            <a:off x="1588354" y="1370305"/>
            <a:ext cx="9015291" cy="5099507"/>
            <a:chOff x="1599620" y="863548"/>
            <a:chExt cx="9483232" cy="5550368"/>
          </a:xfrm>
        </p:grpSpPr>
        <p:pic>
          <p:nvPicPr>
            <p:cNvPr id="10" name="Picture 2" descr="industrie 4.0 : les rÃ©volutions industrielles">
              <a:extLst>
                <a:ext uri="{FF2B5EF4-FFF2-40B4-BE49-F238E27FC236}">
                  <a16:creationId xmlns:a16="http://schemas.microsoft.com/office/drawing/2014/main" id="{0F91385B-30AA-033D-3254-292A61A21F06}"/>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599620" y="863548"/>
              <a:ext cx="9483232" cy="4059135"/>
            </a:xfrm>
            <a:prstGeom prst="rect">
              <a:avLst/>
            </a:prstGeom>
            <a:noFill/>
            <a:extLst>
              <a:ext uri="{909E8E84-426E-40DD-AFC4-6F175D3DCCD1}">
                <a14:hiddenFill xmlns:a14="http://schemas.microsoft.com/office/drawing/2010/main">
                  <a:solidFill>
                    <a:srgbClr val="FFFFFF"/>
                  </a:solidFill>
                </a14:hiddenFill>
              </a:ext>
            </a:extLst>
          </p:spPr>
        </p:pic>
        <p:sp>
          <p:nvSpPr>
            <p:cNvPr id="15" name="Text Box 13" descr="PresentationLoad.com">
              <a:extLst>
                <a:ext uri="{FF2B5EF4-FFF2-40B4-BE49-F238E27FC236}">
                  <a16:creationId xmlns:a16="http://schemas.microsoft.com/office/drawing/2014/main" id="{37AB39C9-6081-D82D-B852-2B1EEA33A148}"/>
                </a:ext>
              </a:extLst>
            </p:cNvPr>
            <p:cNvSpPr txBox="1">
              <a:spLocks noChangeArrowheads="1"/>
            </p:cNvSpPr>
            <p:nvPr/>
          </p:nvSpPr>
          <p:spPr bwMode="gray">
            <a:xfrm>
              <a:off x="9306876" y="5453374"/>
              <a:ext cx="1039704" cy="590931"/>
            </a:xfrm>
            <a:prstGeom prst="rect">
              <a:avLst/>
            </a:prstGeom>
            <a:noFill/>
            <a:ln w="9525" algn="ctr">
              <a:noFill/>
              <a:miter lim="800000"/>
              <a:headEnd/>
              <a:tailEnd/>
            </a:ln>
          </p:spPr>
          <p:txBody>
            <a:bodyPr wrap="square" lIns="0" tIns="0" rIns="0" bIns="0" anchor="t">
              <a:spAutoFit/>
            </a:bodyPr>
            <a:lstStyle/>
            <a:p>
              <a:pPr marL="0" marR="0" lvl="0" indent="0" algn="ctr" defTabSz="801688" rtl="0" eaLnBrk="1" fontAlgn="base" latinLnBrk="0" hangingPunct="1">
                <a:lnSpc>
                  <a:spcPct val="80000"/>
                </a:lnSpc>
                <a:spcBef>
                  <a:spcPct val="0"/>
                </a:spcBef>
                <a:spcAft>
                  <a:spcPts val="600"/>
                </a:spcAft>
                <a:buClrTx/>
                <a:buSzTx/>
                <a:buFontTx/>
                <a:buNone/>
                <a:tabLst/>
                <a:defRPr/>
              </a:pPr>
              <a:r>
                <a:rPr kumimoji="0" lang="fr-FR" sz="1600" b="0" i="0" u="none" strike="noStrike" kern="1200" cap="none" spc="0" normalizeH="0" baseline="0" noProof="0">
                  <a:ln>
                    <a:noFill/>
                  </a:ln>
                  <a:solidFill>
                    <a:srgbClr val="FFFFFF"/>
                  </a:solidFill>
                  <a:effectLst/>
                  <a:uLnTx/>
                  <a:uFillTx/>
                  <a:latin typeface="Ubuntu Medium"/>
                  <a:ea typeface="+mn-ea"/>
                  <a:cs typeface="Arial" charset="0"/>
                  <a:sym typeface="Calibri"/>
                </a:rPr>
                <a:t>4</a:t>
              </a:r>
              <a:r>
                <a:rPr kumimoji="0" lang="fr-FR" sz="1600" b="0" i="0" u="none" strike="noStrike" kern="1200" cap="none" spc="0" normalizeH="0" baseline="30000" noProof="0">
                  <a:ln>
                    <a:noFill/>
                  </a:ln>
                  <a:solidFill>
                    <a:srgbClr val="FFFFFF"/>
                  </a:solidFill>
                  <a:effectLst/>
                  <a:uLnTx/>
                  <a:uFillTx/>
                  <a:latin typeface="Ubuntu Medium"/>
                  <a:ea typeface="+mn-ea"/>
                  <a:cs typeface="Arial" charset="0"/>
                  <a:sym typeface="Calibri"/>
                </a:rPr>
                <a:t>ème</a:t>
              </a:r>
              <a:r>
                <a:rPr kumimoji="0" lang="fr-FR" sz="1600" b="0" i="0" u="none" strike="noStrike" kern="1200" cap="none" spc="0" normalizeH="0" baseline="0" noProof="0">
                  <a:ln>
                    <a:noFill/>
                  </a:ln>
                  <a:solidFill>
                    <a:srgbClr val="FFFFFF"/>
                  </a:solidFill>
                  <a:effectLst/>
                  <a:uLnTx/>
                  <a:uFillTx/>
                  <a:latin typeface="Ubuntu Medium"/>
                  <a:ea typeface="+mn-ea"/>
                  <a:cs typeface="Arial" charset="0"/>
                  <a:sym typeface="Calibri"/>
                </a:rPr>
                <a:t>   Révolution</a:t>
              </a:r>
            </a:p>
          </p:txBody>
        </p:sp>
        <p:sp>
          <p:nvSpPr>
            <p:cNvPr id="16" name="Rectangle 15">
              <a:extLst>
                <a:ext uri="{FF2B5EF4-FFF2-40B4-BE49-F238E27FC236}">
                  <a16:creationId xmlns:a16="http://schemas.microsoft.com/office/drawing/2014/main" id="{70096508-1E81-68AE-1737-57E803A501EC}"/>
                </a:ext>
              </a:extLst>
            </p:cNvPr>
            <p:cNvSpPr/>
            <p:nvPr/>
          </p:nvSpPr>
          <p:spPr>
            <a:xfrm>
              <a:off x="2072005" y="4959516"/>
              <a:ext cx="1939858" cy="506234"/>
            </a:xfrm>
            <a:prstGeom prst="rect">
              <a:avLst/>
            </a:prstGeom>
            <a:solidFill>
              <a:srgbClr val="82640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90000"/>
                </a:lnSpc>
                <a:spcBef>
                  <a:spcPts val="400"/>
                </a:spcBef>
                <a:spcAft>
                  <a:spcPct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Ubuntu Medium"/>
                  <a:ea typeface="+mn-ea"/>
                  <a:cs typeface="+mn-cs"/>
                  <a:sym typeface="Calibri"/>
                </a:rPr>
                <a:t>Augmenter la productivité par la mécanisation</a:t>
              </a:r>
            </a:p>
          </p:txBody>
        </p:sp>
        <p:sp>
          <p:nvSpPr>
            <p:cNvPr id="17" name="Rectangle 16">
              <a:extLst>
                <a:ext uri="{FF2B5EF4-FFF2-40B4-BE49-F238E27FC236}">
                  <a16:creationId xmlns:a16="http://schemas.microsoft.com/office/drawing/2014/main" id="{9849644F-DF0D-B09A-7EDC-4C4E9CC1EAC6}"/>
                </a:ext>
              </a:extLst>
            </p:cNvPr>
            <p:cNvSpPr/>
            <p:nvPr/>
          </p:nvSpPr>
          <p:spPr>
            <a:xfrm>
              <a:off x="2072005" y="5935761"/>
              <a:ext cx="1939858" cy="478155"/>
            </a:xfrm>
            <a:prstGeom prst="rect">
              <a:avLst/>
            </a:prstGeom>
            <a:solidFill>
              <a:srgbClr val="EFB80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90000"/>
                </a:lnSpc>
                <a:spcBef>
                  <a:spcPts val="400"/>
                </a:spcBef>
                <a:spcAft>
                  <a:spcPct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Ubuntu Medium"/>
                  <a:ea typeface="+mn-ea"/>
                  <a:cs typeface="+mn-cs"/>
                  <a:sym typeface="Calibri"/>
                </a:rPr>
                <a:t>Améliorer la précision des machines-outils</a:t>
              </a:r>
            </a:p>
          </p:txBody>
        </p:sp>
        <p:sp>
          <p:nvSpPr>
            <p:cNvPr id="21" name="Rectangle 20">
              <a:extLst>
                <a:ext uri="{FF2B5EF4-FFF2-40B4-BE49-F238E27FC236}">
                  <a16:creationId xmlns:a16="http://schemas.microsoft.com/office/drawing/2014/main" id="{04DDCA8A-36EC-9148-E51F-6185C9BDC989}"/>
                </a:ext>
              </a:extLst>
            </p:cNvPr>
            <p:cNvSpPr/>
            <p:nvPr/>
          </p:nvSpPr>
          <p:spPr>
            <a:xfrm>
              <a:off x="2072005" y="5462807"/>
              <a:ext cx="1939858" cy="478154"/>
            </a:xfrm>
            <a:prstGeom prst="rect">
              <a:avLst/>
            </a:prstGeom>
            <a:solidFill>
              <a:srgbClr val="CC9D0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90000"/>
                </a:lnSpc>
                <a:spcBef>
                  <a:spcPts val="400"/>
                </a:spcBef>
                <a:spcAft>
                  <a:spcPct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Ubuntu Medium"/>
                  <a:ea typeface="+mn-ea"/>
                  <a:cs typeface="+mn-cs"/>
                  <a:sym typeface="Calibri"/>
                </a:rPr>
                <a:t>Diminuer le coût de production unitaire </a:t>
              </a:r>
            </a:p>
          </p:txBody>
        </p:sp>
        <p:sp>
          <p:nvSpPr>
            <p:cNvPr id="22" name="Rectangle 21">
              <a:extLst>
                <a:ext uri="{FF2B5EF4-FFF2-40B4-BE49-F238E27FC236}">
                  <a16:creationId xmlns:a16="http://schemas.microsoft.com/office/drawing/2014/main" id="{B73BCC84-C27A-FCF6-AA6E-512D2186531A}"/>
                </a:ext>
              </a:extLst>
            </p:cNvPr>
            <p:cNvSpPr/>
            <p:nvPr/>
          </p:nvSpPr>
          <p:spPr>
            <a:xfrm>
              <a:off x="4212333" y="4949505"/>
              <a:ext cx="1939858" cy="506973"/>
            </a:xfrm>
            <a:prstGeom prst="rect">
              <a:avLst/>
            </a:prstGeom>
            <a:solidFill>
              <a:srgbClr val="7929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90000"/>
                </a:lnSpc>
                <a:spcBef>
                  <a:spcPts val="400"/>
                </a:spcBef>
                <a:spcAft>
                  <a:spcPct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Ubuntu Medium"/>
                  <a:ea typeface="+mn-ea"/>
                  <a:cs typeface="+mn-cs"/>
                  <a:sym typeface="Calibri"/>
                </a:rPr>
                <a:t>Exploiter des énergies fossiles</a:t>
              </a:r>
            </a:p>
          </p:txBody>
        </p:sp>
        <p:sp>
          <p:nvSpPr>
            <p:cNvPr id="23" name="Rectangle 22">
              <a:extLst>
                <a:ext uri="{FF2B5EF4-FFF2-40B4-BE49-F238E27FC236}">
                  <a16:creationId xmlns:a16="http://schemas.microsoft.com/office/drawing/2014/main" id="{8D7346A9-2942-C45D-A1F4-A53ACC5D9FD8}"/>
                </a:ext>
              </a:extLst>
            </p:cNvPr>
            <p:cNvSpPr/>
            <p:nvPr/>
          </p:nvSpPr>
          <p:spPr>
            <a:xfrm>
              <a:off x="4212333" y="5425014"/>
              <a:ext cx="1939858" cy="475090"/>
            </a:xfrm>
            <a:prstGeom prst="rect">
              <a:avLst/>
            </a:prstGeom>
            <a:solidFill>
              <a:srgbClr val="923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90000"/>
                </a:lnSpc>
                <a:spcBef>
                  <a:spcPts val="400"/>
                </a:spcBef>
                <a:spcAft>
                  <a:spcPct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Ubuntu Medium"/>
                  <a:ea typeface="+mn-ea"/>
                  <a:cs typeface="+mn-cs"/>
                  <a:sym typeface="Calibri"/>
                </a:rPr>
                <a:t>Produire en masse</a:t>
              </a:r>
            </a:p>
          </p:txBody>
        </p:sp>
        <p:sp>
          <p:nvSpPr>
            <p:cNvPr id="24" name="Rectangle 23">
              <a:extLst>
                <a:ext uri="{FF2B5EF4-FFF2-40B4-BE49-F238E27FC236}">
                  <a16:creationId xmlns:a16="http://schemas.microsoft.com/office/drawing/2014/main" id="{692C1193-5569-607C-EEFB-3DE8EBA9985D}"/>
                </a:ext>
              </a:extLst>
            </p:cNvPr>
            <p:cNvSpPr/>
            <p:nvPr/>
          </p:nvSpPr>
          <p:spPr>
            <a:xfrm>
              <a:off x="4212333" y="5900103"/>
              <a:ext cx="1939858" cy="503802"/>
            </a:xfrm>
            <a:prstGeom prst="rect">
              <a:avLst/>
            </a:prstGeom>
            <a:solidFill>
              <a:srgbClr val="A539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90000"/>
                </a:lnSpc>
                <a:spcBef>
                  <a:spcPts val="400"/>
                </a:spcBef>
                <a:spcAft>
                  <a:spcPct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Ubuntu Medium"/>
                  <a:ea typeface="+mn-ea"/>
                  <a:cs typeface="+mn-cs"/>
                  <a:sym typeface="Calibri"/>
                </a:rPr>
                <a:t>Augmenter les rendements</a:t>
              </a:r>
            </a:p>
          </p:txBody>
        </p:sp>
        <p:sp>
          <p:nvSpPr>
            <p:cNvPr id="25" name="Rectangle 24">
              <a:extLst>
                <a:ext uri="{FF2B5EF4-FFF2-40B4-BE49-F238E27FC236}">
                  <a16:creationId xmlns:a16="http://schemas.microsoft.com/office/drawing/2014/main" id="{E3C5ECD2-57EE-6116-13D4-6147CBDCF4AC}"/>
                </a:ext>
              </a:extLst>
            </p:cNvPr>
            <p:cNvSpPr/>
            <p:nvPr/>
          </p:nvSpPr>
          <p:spPr>
            <a:xfrm>
              <a:off x="6341657" y="4947192"/>
              <a:ext cx="1939858" cy="503291"/>
            </a:xfrm>
            <a:prstGeom prst="rect">
              <a:avLst/>
            </a:prstGeom>
            <a:solidFill>
              <a:srgbClr val="01699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90000"/>
                </a:lnSpc>
                <a:spcBef>
                  <a:spcPts val="400"/>
                </a:spcBef>
                <a:spcAft>
                  <a:spcPct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Ubuntu Medium"/>
                  <a:ea typeface="+mn-ea"/>
                  <a:cs typeface="+mn-cs"/>
                  <a:sym typeface="Calibri"/>
                </a:rPr>
                <a:t>Augmenter la productivité</a:t>
              </a:r>
            </a:p>
          </p:txBody>
        </p:sp>
        <p:sp>
          <p:nvSpPr>
            <p:cNvPr id="26" name="Rectangle 25">
              <a:extLst>
                <a:ext uri="{FF2B5EF4-FFF2-40B4-BE49-F238E27FC236}">
                  <a16:creationId xmlns:a16="http://schemas.microsoft.com/office/drawing/2014/main" id="{097283B5-E359-8E4F-E199-5583D372950A}"/>
                </a:ext>
              </a:extLst>
            </p:cNvPr>
            <p:cNvSpPr/>
            <p:nvPr/>
          </p:nvSpPr>
          <p:spPr>
            <a:xfrm>
              <a:off x="6341657" y="5450483"/>
              <a:ext cx="1939858" cy="472954"/>
            </a:xfrm>
            <a:prstGeom prst="rect">
              <a:avLst/>
            </a:prstGeom>
            <a:solidFill>
              <a:srgbClr val="0175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90000"/>
                </a:lnSpc>
                <a:spcBef>
                  <a:spcPts val="400"/>
                </a:spcBef>
                <a:spcAft>
                  <a:spcPct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Ubuntu Medium"/>
                  <a:ea typeface="+mn-ea"/>
                  <a:cs typeface="+mn-cs"/>
                  <a:sym typeface="Calibri"/>
                </a:rPr>
                <a:t>Diminuer les coûts du travail</a:t>
              </a:r>
            </a:p>
          </p:txBody>
        </p:sp>
        <p:sp>
          <p:nvSpPr>
            <p:cNvPr id="27" name="Rectangle 26">
              <a:extLst>
                <a:ext uri="{FF2B5EF4-FFF2-40B4-BE49-F238E27FC236}">
                  <a16:creationId xmlns:a16="http://schemas.microsoft.com/office/drawing/2014/main" id="{9B1642DC-19CF-701F-D91D-F0CEDC483E77}"/>
                </a:ext>
              </a:extLst>
            </p:cNvPr>
            <p:cNvSpPr/>
            <p:nvPr/>
          </p:nvSpPr>
          <p:spPr>
            <a:xfrm>
              <a:off x="6341657" y="5923437"/>
              <a:ext cx="1939858" cy="478155"/>
            </a:xfrm>
            <a:prstGeom prst="rect">
              <a:avLst/>
            </a:prstGeom>
            <a:solidFill>
              <a:srgbClr val="0188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90000"/>
                </a:lnSpc>
                <a:spcBef>
                  <a:spcPts val="400"/>
                </a:spcBef>
                <a:spcAft>
                  <a:spcPct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Ubuntu Medium"/>
                  <a:ea typeface="+mn-ea"/>
                  <a:cs typeface="+mn-cs"/>
                  <a:sym typeface="Calibri"/>
                </a:rPr>
                <a:t>Optimiser les ressources</a:t>
              </a:r>
            </a:p>
          </p:txBody>
        </p:sp>
        <p:sp>
          <p:nvSpPr>
            <p:cNvPr id="28" name="Rectangle 27">
              <a:extLst>
                <a:ext uri="{FF2B5EF4-FFF2-40B4-BE49-F238E27FC236}">
                  <a16:creationId xmlns:a16="http://schemas.microsoft.com/office/drawing/2014/main" id="{27BB2581-9FC1-19D3-7029-BEC0F656E8F2}"/>
                </a:ext>
              </a:extLst>
            </p:cNvPr>
            <p:cNvSpPr/>
            <p:nvPr/>
          </p:nvSpPr>
          <p:spPr>
            <a:xfrm>
              <a:off x="8391542" y="4959516"/>
              <a:ext cx="2203629" cy="366796"/>
            </a:xfrm>
            <a:prstGeom prst="rect">
              <a:avLst/>
            </a:prstGeom>
            <a:solidFill>
              <a:srgbClr val="016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90000"/>
                </a:lnSpc>
                <a:spcBef>
                  <a:spcPts val="400"/>
                </a:spcBef>
                <a:spcAft>
                  <a:spcPct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Ubuntu Medium"/>
                  <a:ea typeface="+mn-ea"/>
                  <a:cs typeface="+mn-cs"/>
                  <a:sym typeface="Calibri"/>
                </a:rPr>
                <a:t>Recentrer sur l’humain</a:t>
              </a:r>
            </a:p>
          </p:txBody>
        </p:sp>
        <p:sp>
          <p:nvSpPr>
            <p:cNvPr id="29" name="Rectangle 28">
              <a:extLst>
                <a:ext uri="{FF2B5EF4-FFF2-40B4-BE49-F238E27FC236}">
                  <a16:creationId xmlns:a16="http://schemas.microsoft.com/office/drawing/2014/main" id="{387D347E-E521-A2EB-9580-974972D52953}"/>
                </a:ext>
              </a:extLst>
            </p:cNvPr>
            <p:cNvSpPr/>
            <p:nvPr/>
          </p:nvSpPr>
          <p:spPr>
            <a:xfrm>
              <a:off x="8391543" y="5657463"/>
              <a:ext cx="2203629" cy="382743"/>
            </a:xfrm>
            <a:prstGeom prst="rect">
              <a:avLst/>
            </a:prstGeom>
            <a:solidFill>
              <a:srgbClr val="019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90000"/>
                </a:lnSpc>
                <a:spcBef>
                  <a:spcPts val="400"/>
                </a:spcBef>
                <a:spcAft>
                  <a:spcPct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Ubuntu Medium"/>
                  <a:ea typeface="+mn-ea"/>
                  <a:cs typeface="+mn-cs"/>
                  <a:sym typeface="Calibri"/>
                </a:rPr>
                <a:t>Être plus flexible</a:t>
              </a:r>
            </a:p>
          </p:txBody>
        </p:sp>
        <p:sp>
          <p:nvSpPr>
            <p:cNvPr id="30" name="Rectangle 29">
              <a:extLst>
                <a:ext uri="{FF2B5EF4-FFF2-40B4-BE49-F238E27FC236}">
                  <a16:creationId xmlns:a16="http://schemas.microsoft.com/office/drawing/2014/main" id="{9CE84770-8C70-2777-499E-53BC55D4CD2D}"/>
                </a:ext>
              </a:extLst>
            </p:cNvPr>
            <p:cNvSpPr/>
            <p:nvPr/>
          </p:nvSpPr>
          <p:spPr>
            <a:xfrm>
              <a:off x="8391543" y="5300723"/>
              <a:ext cx="2203629" cy="366796"/>
            </a:xfrm>
            <a:prstGeom prst="rect">
              <a:avLst/>
            </a:prstGeom>
            <a:solidFill>
              <a:srgbClr val="0183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90000"/>
                </a:lnSpc>
                <a:spcBef>
                  <a:spcPts val="400"/>
                </a:spcBef>
                <a:spcAft>
                  <a:spcPct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Ubuntu Medium"/>
                  <a:ea typeface="+mn-ea"/>
                  <a:cs typeface="+mn-cs"/>
                  <a:sym typeface="Calibri"/>
                </a:rPr>
                <a:t>Améliorer la productivité</a:t>
              </a:r>
            </a:p>
          </p:txBody>
        </p:sp>
        <p:sp>
          <p:nvSpPr>
            <p:cNvPr id="31" name="Rectangle 30">
              <a:extLst>
                <a:ext uri="{FF2B5EF4-FFF2-40B4-BE49-F238E27FC236}">
                  <a16:creationId xmlns:a16="http://schemas.microsoft.com/office/drawing/2014/main" id="{4B3688BA-3EA1-995D-4885-94DB118E21E1}"/>
                </a:ext>
              </a:extLst>
            </p:cNvPr>
            <p:cNvSpPr/>
            <p:nvPr/>
          </p:nvSpPr>
          <p:spPr>
            <a:xfrm>
              <a:off x="8391543" y="6031173"/>
              <a:ext cx="2203629" cy="382743"/>
            </a:xfrm>
            <a:prstGeom prst="rect">
              <a:avLst/>
            </a:prstGeom>
            <a:solidFill>
              <a:srgbClr val="01A9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90000"/>
                </a:lnSpc>
                <a:spcBef>
                  <a:spcPts val="400"/>
                </a:spcBef>
                <a:spcAft>
                  <a:spcPct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Ubuntu Medium"/>
                  <a:ea typeface="+mn-ea"/>
                  <a:cs typeface="+mn-cs"/>
                  <a:sym typeface="Calibri"/>
                </a:rPr>
                <a:t>Avoir une vision holistique</a:t>
              </a:r>
            </a:p>
          </p:txBody>
        </p:sp>
      </p:grpSp>
    </p:spTree>
    <p:extLst>
      <p:ext uri="{BB962C8B-B14F-4D97-AF65-F5344CB8AC3E}">
        <p14:creationId xmlns:p14="http://schemas.microsoft.com/office/powerpoint/2010/main" val="316802729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45F714E-B0DB-4AC0-A544-A6932E332BDD}"/>
              </a:ext>
            </a:extLst>
          </p:cNvPr>
          <p:cNvSpPr>
            <a:spLocks noGrp="1"/>
          </p:cNvSpPr>
          <p:nvPr>
            <p:ph type="title"/>
          </p:nvPr>
        </p:nvSpPr>
        <p:spPr/>
        <p:txBody>
          <a:bodyPr anchor="ctr">
            <a:normAutofit/>
          </a:bodyPr>
          <a:lstStyle/>
          <a:p>
            <a:r>
              <a:rPr lang="fr-FR" sz="2800">
                <a:solidFill>
                  <a:schemeClr val="tx1"/>
                </a:solidFill>
              </a:rPr>
              <a:t>Enjeux industriels à l’ère de l’information</a:t>
            </a:r>
          </a:p>
        </p:txBody>
      </p:sp>
      <p:sp>
        <p:nvSpPr>
          <p:cNvPr id="7" name="TextBox 6">
            <a:extLst>
              <a:ext uri="{FF2B5EF4-FFF2-40B4-BE49-F238E27FC236}">
                <a16:creationId xmlns:a16="http://schemas.microsoft.com/office/drawing/2014/main" id="{F1B2EEE1-1304-879D-3D34-7069FE995678}"/>
              </a:ext>
            </a:extLst>
          </p:cNvPr>
          <p:cNvSpPr txBox="1"/>
          <p:nvPr/>
        </p:nvSpPr>
        <p:spPr>
          <a:xfrm>
            <a:off x="505050" y="1216353"/>
            <a:ext cx="3398148"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a:ln>
                  <a:noFill/>
                </a:ln>
                <a:solidFill>
                  <a:prstClr val="black"/>
                </a:solidFill>
                <a:effectLst/>
                <a:uLnTx/>
                <a:uFillTx/>
                <a:ea typeface="+mn-ea"/>
                <a:cs typeface="+mn-cs"/>
              </a:rPr>
              <a:t>Une demande moins prédictible</a:t>
            </a:r>
          </a:p>
        </p:txBody>
      </p:sp>
      <p:sp>
        <p:nvSpPr>
          <p:cNvPr id="10" name="TextBox 9">
            <a:extLst>
              <a:ext uri="{FF2B5EF4-FFF2-40B4-BE49-F238E27FC236}">
                <a16:creationId xmlns:a16="http://schemas.microsoft.com/office/drawing/2014/main" id="{3AF24337-FFCF-10B4-4BCC-AA6E0C5C5917}"/>
              </a:ext>
            </a:extLst>
          </p:cNvPr>
          <p:cNvSpPr txBox="1"/>
          <p:nvPr/>
        </p:nvSpPr>
        <p:spPr>
          <a:xfrm>
            <a:off x="4381814" y="1104899"/>
            <a:ext cx="3398148"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a:ln>
                  <a:noFill/>
                </a:ln>
                <a:solidFill>
                  <a:prstClr val="black"/>
                </a:solidFill>
                <a:effectLst/>
                <a:uLnTx/>
                <a:uFillTx/>
                <a:ea typeface="+mn-ea"/>
                <a:cs typeface="+mn-cs"/>
              </a:rPr>
              <a:t>Des acteurs de plus en plus nombreux</a:t>
            </a:r>
          </a:p>
        </p:txBody>
      </p:sp>
      <p:sp>
        <p:nvSpPr>
          <p:cNvPr id="15" name="TextBox 14">
            <a:extLst>
              <a:ext uri="{FF2B5EF4-FFF2-40B4-BE49-F238E27FC236}">
                <a16:creationId xmlns:a16="http://schemas.microsoft.com/office/drawing/2014/main" id="{E484EDC2-FEC4-3F93-0F3F-03417C6C3C01}"/>
              </a:ext>
            </a:extLst>
          </p:cNvPr>
          <p:cNvSpPr txBox="1"/>
          <p:nvPr/>
        </p:nvSpPr>
        <p:spPr>
          <a:xfrm>
            <a:off x="8258577" y="1227626"/>
            <a:ext cx="3398148"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a:ln>
                  <a:noFill/>
                </a:ln>
                <a:solidFill>
                  <a:prstClr val="black"/>
                </a:solidFill>
                <a:effectLst/>
                <a:uLnTx/>
                <a:uFillTx/>
                <a:ea typeface="+mn-ea"/>
                <a:cs typeface="+mn-cs"/>
              </a:rPr>
              <a:t>Une complexité grandissante</a:t>
            </a:r>
          </a:p>
        </p:txBody>
      </p:sp>
      <p:sp>
        <p:nvSpPr>
          <p:cNvPr id="16" name="TextBox 15">
            <a:extLst>
              <a:ext uri="{FF2B5EF4-FFF2-40B4-BE49-F238E27FC236}">
                <a16:creationId xmlns:a16="http://schemas.microsoft.com/office/drawing/2014/main" id="{159C1621-7D77-FA46-578E-2141E9507077}"/>
              </a:ext>
            </a:extLst>
          </p:cNvPr>
          <p:cNvSpPr txBox="1"/>
          <p:nvPr/>
        </p:nvSpPr>
        <p:spPr>
          <a:xfrm>
            <a:off x="0" y="5697755"/>
            <a:ext cx="12192000" cy="665451"/>
          </a:xfrm>
          <a:prstGeom prst="rect">
            <a:avLst/>
          </a:prstGeom>
          <a:solidFill>
            <a:schemeClr val="accent2">
              <a:lumMod val="50000"/>
            </a:schemeClr>
          </a:solidFill>
        </p:spPr>
        <p:txBody>
          <a:bodyPr wrap="square" lIns="0" r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ea typeface="+mn-ea"/>
                <a:cs typeface="+mn-cs"/>
              </a:rPr>
              <a:t>Les approches historiques de l’industrie (Lean, 6 sigma) sont complétées par de nouvelles technologies pour faire face à ces enjeux </a:t>
            </a:r>
          </a:p>
        </p:txBody>
      </p:sp>
      <p:sp>
        <p:nvSpPr>
          <p:cNvPr id="17" name="Rectangle 16">
            <a:extLst>
              <a:ext uri="{FF2B5EF4-FFF2-40B4-BE49-F238E27FC236}">
                <a16:creationId xmlns:a16="http://schemas.microsoft.com/office/drawing/2014/main" id="{33A9EA35-D98F-D2A4-5FD7-276A8884346D}"/>
              </a:ext>
            </a:extLst>
          </p:cNvPr>
          <p:cNvSpPr/>
          <p:nvPr/>
        </p:nvSpPr>
        <p:spPr>
          <a:xfrm>
            <a:off x="505050" y="1694602"/>
            <a:ext cx="3398147" cy="3706277"/>
          </a:xfrm>
          <a:prstGeom prst="rect">
            <a:avLst/>
          </a:prstGeom>
          <a:solidFill>
            <a:srgbClr val="09617D">
              <a:alpha val="2902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grpSp>
        <p:nvGrpSpPr>
          <p:cNvPr id="21" name="Group 20">
            <a:extLst>
              <a:ext uri="{FF2B5EF4-FFF2-40B4-BE49-F238E27FC236}">
                <a16:creationId xmlns:a16="http://schemas.microsoft.com/office/drawing/2014/main" id="{DEF55DF7-A455-18A5-E328-02DD822A0210}"/>
              </a:ext>
            </a:extLst>
          </p:cNvPr>
          <p:cNvGrpSpPr/>
          <p:nvPr/>
        </p:nvGrpSpPr>
        <p:grpSpPr>
          <a:xfrm>
            <a:off x="685951" y="4270355"/>
            <a:ext cx="3126783" cy="720000"/>
            <a:chOff x="697983" y="3993931"/>
            <a:chExt cx="3126783" cy="720000"/>
          </a:xfrm>
        </p:grpSpPr>
        <p:grpSp>
          <p:nvGrpSpPr>
            <p:cNvPr id="22" name="Groupe 645">
              <a:extLst>
                <a:ext uri="{FF2B5EF4-FFF2-40B4-BE49-F238E27FC236}">
                  <a16:creationId xmlns:a16="http://schemas.microsoft.com/office/drawing/2014/main" id="{64908B85-309D-7441-4E2D-64640466A68F}"/>
                </a:ext>
              </a:extLst>
            </p:cNvPr>
            <p:cNvGrpSpPr>
              <a:grpSpLocks noChangeAspect="1"/>
            </p:cNvGrpSpPr>
            <p:nvPr/>
          </p:nvGrpSpPr>
          <p:grpSpPr>
            <a:xfrm>
              <a:off x="697983" y="3993931"/>
              <a:ext cx="770809" cy="720000"/>
              <a:chOff x="6269038" y="2919413"/>
              <a:chExt cx="987425" cy="922338"/>
            </a:xfrm>
          </p:grpSpPr>
          <p:sp>
            <p:nvSpPr>
              <p:cNvPr id="24" name="Freeform 208">
                <a:extLst>
                  <a:ext uri="{FF2B5EF4-FFF2-40B4-BE49-F238E27FC236}">
                    <a16:creationId xmlns:a16="http://schemas.microsoft.com/office/drawing/2014/main" id="{A66C81E4-1566-8F0D-CC90-CAB9D7C03405}"/>
                  </a:ext>
                </a:extLst>
              </p:cNvPr>
              <p:cNvSpPr>
                <a:spLocks/>
              </p:cNvSpPr>
              <p:nvPr/>
            </p:nvSpPr>
            <p:spPr bwMode="auto">
              <a:xfrm>
                <a:off x="6269038" y="2919413"/>
                <a:ext cx="987425" cy="922338"/>
              </a:xfrm>
              <a:custGeom>
                <a:avLst/>
                <a:gdLst>
                  <a:gd name="T0" fmla="*/ 42 w 292"/>
                  <a:gd name="T1" fmla="*/ 213 h 272"/>
                  <a:gd name="T2" fmla="*/ 70 w 292"/>
                  <a:gd name="T3" fmla="*/ 41 h 272"/>
                  <a:gd name="T4" fmla="*/ 250 w 292"/>
                  <a:gd name="T5" fmla="*/ 66 h 272"/>
                  <a:gd name="T6" fmla="*/ 217 w 292"/>
                  <a:gd name="T7" fmla="*/ 231 h 272"/>
                  <a:gd name="T8" fmla="*/ 42 w 292"/>
                  <a:gd name="T9" fmla="*/ 213 h 272"/>
                </a:gdLst>
                <a:ahLst/>
                <a:cxnLst>
                  <a:cxn ang="0">
                    <a:pos x="T0" y="T1"/>
                  </a:cxn>
                  <a:cxn ang="0">
                    <a:pos x="T2" y="T3"/>
                  </a:cxn>
                  <a:cxn ang="0">
                    <a:pos x="T4" y="T5"/>
                  </a:cxn>
                  <a:cxn ang="0">
                    <a:pos x="T6" y="T7"/>
                  </a:cxn>
                  <a:cxn ang="0">
                    <a:pos x="T8" y="T9"/>
                  </a:cxn>
                </a:cxnLst>
                <a:rect l="0" t="0" r="r" b="b"/>
                <a:pathLst>
                  <a:path w="292" h="272">
                    <a:moveTo>
                      <a:pt x="42" y="213"/>
                    </a:moveTo>
                    <a:cubicBezTo>
                      <a:pt x="0" y="158"/>
                      <a:pt x="12" y="81"/>
                      <a:pt x="70" y="41"/>
                    </a:cubicBezTo>
                    <a:cubicBezTo>
                      <a:pt x="127" y="0"/>
                      <a:pt x="208" y="12"/>
                      <a:pt x="250" y="66"/>
                    </a:cubicBezTo>
                    <a:cubicBezTo>
                      <a:pt x="292" y="120"/>
                      <a:pt x="274" y="191"/>
                      <a:pt x="217" y="231"/>
                    </a:cubicBezTo>
                    <a:cubicBezTo>
                      <a:pt x="160" y="272"/>
                      <a:pt x="84" y="267"/>
                      <a:pt x="42" y="213"/>
                    </a:cubicBezTo>
                  </a:path>
                </a:pathLst>
              </a:custGeom>
              <a:solidFill>
                <a:srgbClr val="E539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grpSp>
            <p:nvGrpSpPr>
              <p:cNvPr id="25" name="Groupe 647">
                <a:extLst>
                  <a:ext uri="{FF2B5EF4-FFF2-40B4-BE49-F238E27FC236}">
                    <a16:creationId xmlns:a16="http://schemas.microsoft.com/office/drawing/2014/main" id="{EC402164-C7EE-8227-B993-A521B486875A}"/>
                  </a:ext>
                </a:extLst>
              </p:cNvPr>
              <p:cNvGrpSpPr/>
              <p:nvPr/>
            </p:nvGrpSpPr>
            <p:grpSpPr>
              <a:xfrm>
                <a:off x="6553201" y="3146426"/>
                <a:ext cx="385763" cy="454025"/>
                <a:chOff x="6553201" y="3146426"/>
                <a:chExt cx="385763" cy="454025"/>
              </a:xfrm>
            </p:grpSpPr>
            <p:sp>
              <p:nvSpPr>
                <p:cNvPr id="26" name="Freeform 209">
                  <a:extLst>
                    <a:ext uri="{FF2B5EF4-FFF2-40B4-BE49-F238E27FC236}">
                      <a16:creationId xmlns:a16="http://schemas.microsoft.com/office/drawing/2014/main" id="{A5367D0A-15D0-FA4B-6D6C-EEA254260813}"/>
                    </a:ext>
                  </a:extLst>
                </p:cNvPr>
                <p:cNvSpPr>
                  <a:spLocks/>
                </p:cNvSpPr>
                <p:nvPr/>
              </p:nvSpPr>
              <p:spPr bwMode="auto">
                <a:xfrm>
                  <a:off x="6630988" y="3146426"/>
                  <a:ext cx="236538" cy="280988"/>
                </a:xfrm>
                <a:custGeom>
                  <a:avLst/>
                  <a:gdLst>
                    <a:gd name="T0" fmla="*/ 16 w 70"/>
                    <a:gd name="T1" fmla="*/ 83 h 83"/>
                    <a:gd name="T2" fmla="*/ 1 w 70"/>
                    <a:gd name="T3" fmla="*/ 83 h 83"/>
                    <a:gd name="T4" fmla="*/ 0 w 70"/>
                    <a:gd name="T5" fmla="*/ 36 h 83"/>
                    <a:gd name="T6" fmla="*/ 21 w 70"/>
                    <a:gd name="T7" fmla="*/ 2 h 83"/>
                    <a:gd name="T8" fmla="*/ 48 w 70"/>
                    <a:gd name="T9" fmla="*/ 1 h 83"/>
                    <a:gd name="T10" fmla="*/ 70 w 70"/>
                    <a:gd name="T11" fmla="*/ 35 h 83"/>
                    <a:gd name="T12" fmla="*/ 70 w 70"/>
                    <a:gd name="T13" fmla="*/ 82 h 83"/>
                    <a:gd name="T14" fmla="*/ 57 w 70"/>
                    <a:gd name="T15" fmla="*/ 82 h 83"/>
                    <a:gd name="T16" fmla="*/ 57 w 70"/>
                    <a:gd name="T17" fmla="*/ 35 h 83"/>
                    <a:gd name="T18" fmla="*/ 46 w 70"/>
                    <a:gd name="T19" fmla="*/ 16 h 83"/>
                    <a:gd name="T20" fmla="*/ 26 w 70"/>
                    <a:gd name="T21" fmla="*/ 17 h 83"/>
                    <a:gd name="T22" fmla="*/ 16 w 70"/>
                    <a:gd name="T23" fmla="*/ 36 h 83"/>
                    <a:gd name="T24" fmla="*/ 16 w 70"/>
                    <a:gd name="T25"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83">
                      <a:moveTo>
                        <a:pt x="16" y="83"/>
                      </a:moveTo>
                      <a:cubicBezTo>
                        <a:pt x="1" y="83"/>
                        <a:pt x="1" y="83"/>
                        <a:pt x="1" y="83"/>
                      </a:cubicBezTo>
                      <a:cubicBezTo>
                        <a:pt x="1" y="69"/>
                        <a:pt x="0" y="37"/>
                        <a:pt x="0" y="36"/>
                      </a:cubicBezTo>
                      <a:cubicBezTo>
                        <a:pt x="0" y="30"/>
                        <a:pt x="0" y="9"/>
                        <a:pt x="21" y="2"/>
                      </a:cubicBezTo>
                      <a:cubicBezTo>
                        <a:pt x="29" y="0"/>
                        <a:pt x="38" y="0"/>
                        <a:pt x="48" y="1"/>
                      </a:cubicBezTo>
                      <a:cubicBezTo>
                        <a:pt x="62" y="4"/>
                        <a:pt x="70" y="16"/>
                        <a:pt x="70" y="35"/>
                      </a:cubicBezTo>
                      <a:cubicBezTo>
                        <a:pt x="70" y="82"/>
                        <a:pt x="70" y="82"/>
                        <a:pt x="70" y="82"/>
                      </a:cubicBezTo>
                      <a:cubicBezTo>
                        <a:pt x="57" y="82"/>
                        <a:pt x="57" y="82"/>
                        <a:pt x="57" y="82"/>
                      </a:cubicBezTo>
                      <a:cubicBezTo>
                        <a:pt x="57" y="35"/>
                        <a:pt x="57" y="35"/>
                        <a:pt x="57" y="35"/>
                      </a:cubicBezTo>
                      <a:cubicBezTo>
                        <a:pt x="57" y="24"/>
                        <a:pt x="52" y="18"/>
                        <a:pt x="46" y="16"/>
                      </a:cubicBezTo>
                      <a:cubicBezTo>
                        <a:pt x="38" y="14"/>
                        <a:pt x="31" y="15"/>
                        <a:pt x="26" y="17"/>
                      </a:cubicBezTo>
                      <a:cubicBezTo>
                        <a:pt x="20" y="19"/>
                        <a:pt x="16" y="23"/>
                        <a:pt x="16" y="36"/>
                      </a:cubicBezTo>
                      <a:cubicBezTo>
                        <a:pt x="16" y="38"/>
                        <a:pt x="16" y="69"/>
                        <a:pt x="16" y="8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sp>
              <p:nvSpPr>
                <p:cNvPr id="27" name="Freeform 210">
                  <a:extLst>
                    <a:ext uri="{FF2B5EF4-FFF2-40B4-BE49-F238E27FC236}">
                      <a16:creationId xmlns:a16="http://schemas.microsoft.com/office/drawing/2014/main" id="{6B52ED45-923D-6CC4-3FE4-3E27BFF0BA61}"/>
                    </a:ext>
                  </a:extLst>
                </p:cNvPr>
                <p:cNvSpPr>
                  <a:spLocks/>
                </p:cNvSpPr>
                <p:nvPr/>
              </p:nvSpPr>
              <p:spPr bwMode="auto">
                <a:xfrm>
                  <a:off x="6630988" y="3146426"/>
                  <a:ext cx="236538" cy="280988"/>
                </a:xfrm>
                <a:custGeom>
                  <a:avLst/>
                  <a:gdLst>
                    <a:gd name="T0" fmla="*/ 16 w 70"/>
                    <a:gd name="T1" fmla="*/ 83 h 83"/>
                    <a:gd name="T2" fmla="*/ 1 w 70"/>
                    <a:gd name="T3" fmla="*/ 83 h 83"/>
                    <a:gd name="T4" fmla="*/ 0 w 70"/>
                    <a:gd name="T5" fmla="*/ 36 h 83"/>
                    <a:gd name="T6" fmla="*/ 21 w 70"/>
                    <a:gd name="T7" fmla="*/ 2 h 83"/>
                    <a:gd name="T8" fmla="*/ 48 w 70"/>
                    <a:gd name="T9" fmla="*/ 1 h 83"/>
                    <a:gd name="T10" fmla="*/ 70 w 70"/>
                    <a:gd name="T11" fmla="*/ 35 h 83"/>
                    <a:gd name="T12" fmla="*/ 70 w 70"/>
                    <a:gd name="T13" fmla="*/ 82 h 83"/>
                    <a:gd name="T14" fmla="*/ 57 w 70"/>
                    <a:gd name="T15" fmla="*/ 82 h 83"/>
                    <a:gd name="T16" fmla="*/ 57 w 70"/>
                    <a:gd name="T17" fmla="*/ 35 h 83"/>
                    <a:gd name="T18" fmla="*/ 46 w 70"/>
                    <a:gd name="T19" fmla="*/ 16 h 83"/>
                    <a:gd name="T20" fmla="*/ 26 w 70"/>
                    <a:gd name="T21" fmla="*/ 17 h 83"/>
                    <a:gd name="T22" fmla="*/ 16 w 70"/>
                    <a:gd name="T23" fmla="*/ 36 h 83"/>
                    <a:gd name="T24" fmla="*/ 16 w 70"/>
                    <a:gd name="T25"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83">
                      <a:moveTo>
                        <a:pt x="16" y="83"/>
                      </a:moveTo>
                      <a:cubicBezTo>
                        <a:pt x="1" y="83"/>
                        <a:pt x="1" y="83"/>
                        <a:pt x="1" y="83"/>
                      </a:cubicBezTo>
                      <a:cubicBezTo>
                        <a:pt x="1" y="69"/>
                        <a:pt x="0" y="37"/>
                        <a:pt x="0" y="36"/>
                      </a:cubicBezTo>
                      <a:cubicBezTo>
                        <a:pt x="0" y="30"/>
                        <a:pt x="0" y="9"/>
                        <a:pt x="21" y="2"/>
                      </a:cubicBezTo>
                      <a:cubicBezTo>
                        <a:pt x="29" y="0"/>
                        <a:pt x="38" y="0"/>
                        <a:pt x="48" y="1"/>
                      </a:cubicBezTo>
                      <a:cubicBezTo>
                        <a:pt x="62" y="4"/>
                        <a:pt x="70" y="16"/>
                        <a:pt x="70" y="35"/>
                      </a:cubicBezTo>
                      <a:cubicBezTo>
                        <a:pt x="70" y="82"/>
                        <a:pt x="70" y="82"/>
                        <a:pt x="70" y="82"/>
                      </a:cubicBezTo>
                      <a:cubicBezTo>
                        <a:pt x="57" y="82"/>
                        <a:pt x="57" y="82"/>
                        <a:pt x="57" y="82"/>
                      </a:cubicBezTo>
                      <a:cubicBezTo>
                        <a:pt x="57" y="35"/>
                        <a:pt x="57" y="35"/>
                        <a:pt x="57" y="35"/>
                      </a:cubicBezTo>
                      <a:cubicBezTo>
                        <a:pt x="57" y="24"/>
                        <a:pt x="52" y="18"/>
                        <a:pt x="46" y="16"/>
                      </a:cubicBezTo>
                      <a:cubicBezTo>
                        <a:pt x="38" y="14"/>
                        <a:pt x="31" y="15"/>
                        <a:pt x="26" y="17"/>
                      </a:cubicBezTo>
                      <a:cubicBezTo>
                        <a:pt x="20" y="19"/>
                        <a:pt x="16" y="23"/>
                        <a:pt x="16" y="36"/>
                      </a:cubicBezTo>
                      <a:cubicBezTo>
                        <a:pt x="16" y="38"/>
                        <a:pt x="16" y="69"/>
                        <a:pt x="16" y="83"/>
                      </a:cubicBezTo>
                    </a:path>
                  </a:pathLst>
                </a:custGeom>
                <a:noFill/>
                <a:ln w="9525"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sp>
              <p:nvSpPr>
                <p:cNvPr id="28" name="Freeform 211">
                  <a:extLst>
                    <a:ext uri="{FF2B5EF4-FFF2-40B4-BE49-F238E27FC236}">
                      <a16:creationId xmlns:a16="http://schemas.microsoft.com/office/drawing/2014/main" id="{EB72B5FD-2B76-AF28-4F85-0AA164097359}"/>
                    </a:ext>
                  </a:extLst>
                </p:cNvPr>
                <p:cNvSpPr>
                  <a:spLocks/>
                </p:cNvSpPr>
                <p:nvPr/>
              </p:nvSpPr>
              <p:spPr bwMode="auto">
                <a:xfrm>
                  <a:off x="6553201" y="3349626"/>
                  <a:ext cx="385763" cy="250825"/>
                </a:xfrm>
                <a:custGeom>
                  <a:avLst/>
                  <a:gdLst>
                    <a:gd name="T0" fmla="*/ 21 w 114"/>
                    <a:gd name="T1" fmla="*/ 73 h 74"/>
                    <a:gd name="T2" fmla="*/ 93 w 114"/>
                    <a:gd name="T3" fmla="*/ 73 h 74"/>
                    <a:gd name="T4" fmla="*/ 113 w 114"/>
                    <a:gd name="T5" fmla="*/ 49 h 74"/>
                    <a:gd name="T6" fmla="*/ 113 w 114"/>
                    <a:gd name="T7" fmla="*/ 3 h 74"/>
                    <a:gd name="T8" fmla="*/ 21 w 114"/>
                    <a:gd name="T9" fmla="*/ 1 h 74"/>
                    <a:gd name="T10" fmla="*/ 0 w 114"/>
                    <a:gd name="T11" fmla="*/ 26 h 74"/>
                    <a:gd name="T12" fmla="*/ 0 w 114"/>
                    <a:gd name="T13" fmla="*/ 55 h 74"/>
                    <a:gd name="T14" fmla="*/ 21 w 114"/>
                    <a:gd name="T15" fmla="*/ 73 h 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4" h="74">
                      <a:moveTo>
                        <a:pt x="21" y="73"/>
                      </a:moveTo>
                      <a:cubicBezTo>
                        <a:pt x="33" y="74"/>
                        <a:pt x="84" y="74"/>
                        <a:pt x="93" y="73"/>
                      </a:cubicBezTo>
                      <a:cubicBezTo>
                        <a:pt x="109" y="72"/>
                        <a:pt x="114" y="69"/>
                        <a:pt x="113" y="49"/>
                      </a:cubicBezTo>
                      <a:cubicBezTo>
                        <a:pt x="113" y="49"/>
                        <a:pt x="113" y="21"/>
                        <a:pt x="113" y="3"/>
                      </a:cubicBezTo>
                      <a:cubicBezTo>
                        <a:pt x="86" y="1"/>
                        <a:pt x="37" y="0"/>
                        <a:pt x="21" y="1"/>
                      </a:cubicBezTo>
                      <a:cubicBezTo>
                        <a:pt x="6" y="3"/>
                        <a:pt x="0" y="7"/>
                        <a:pt x="0" y="26"/>
                      </a:cubicBezTo>
                      <a:cubicBezTo>
                        <a:pt x="0" y="55"/>
                        <a:pt x="0" y="55"/>
                        <a:pt x="0" y="55"/>
                      </a:cubicBezTo>
                      <a:cubicBezTo>
                        <a:pt x="0" y="70"/>
                        <a:pt x="5" y="73"/>
                        <a:pt x="21" y="7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sp>
              <p:nvSpPr>
                <p:cNvPr id="29" name="Freeform 212">
                  <a:extLst>
                    <a:ext uri="{FF2B5EF4-FFF2-40B4-BE49-F238E27FC236}">
                      <a16:creationId xmlns:a16="http://schemas.microsoft.com/office/drawing/2014/main" id="{7470AE1F-8D2B-0905-DF65-503A766D36F2}"/>
                    </a:ext>
                  </a:extLst>
                </p:cNvPr>
                <p:cNvSpPr>
                  <a:spLocks/>
                </p:cNvSpPr>
                <p:nvPr/>
              </p:nvSpPr>
              <p:spPr bwMode="auto">
                <a:xfrm>
                  <a:off x="6718301" y="3400426"/>
                  <a:ext cx="71438" cy="77788"/>
                </a:xfrm>
                <a:custGeom>
                  <a:avLst/>
                  <a:gdLst>
                    <a:gd name="T0" fmla="*/ 11 w 21"/>
                    <a:gd name="T1" fmla="*/ 23 h 23"/>
                    <a:gd name="T2" fmla="*/ 21 w 21"/>
                    <a:gd name="T3" fmla="*/ 11 h 23"/>
                    <a:gd name="T4" fmla="*/ 11 w 21"/>
                    <a:gd name="T5" fmla="*/ 1 h 23"/>
                    <a:gd name="T6" fmla="*/ 0 w 21"/>
                    <a:gd name="T7" fmla="*/ 13 h 23"/>
                    <a:gd name="T8" fmla="*/ 11 w 21"/>
                    <a:gd name="T9" fmla="*/ 23 h 23"/>
                  </a:gdLst>
                  <a:ahLst/>
                  <a:cxnLst>
                    <a:cxn ang="0">
                      <a:pos x="T0" y="T1"/>
                    </a:cxn>
                    <a:cxn ang="0">
                      <a:pos x="T2" y="T3"/>
                    </a:cxn>
                    <a:cxn ang="0">
                      <a:pos x="T4" y="T5"/>
                    </a:cxn>
                    <a:cxn ang="0">
                      <a:pos x="T6" y="T7"/>
                    </a:cxn>
                    <a:cxn ang="0">
                      <a:pos x="T8" y="T9"/>
                    </a:cxn>
                  </a:cxnLst>
                  <a:rect l="0" t="0" r="r" b="b"/>
                  <a:pathLst>
                    <a:path w="21" h="23">
                      <a:moveTo>
                        <a:pt x="11" y="23"/>
                      </a:moveTo>
                      <a:cubicBezTo>
                        <a:pt x="17" y="23"/>
                        <a:pt x="21" y="17"/>
                        <a:pt x="21" y="11"/>
                      </a:cubicBezTo>
                      <a:cubicBezTo>
                        <a:pt x="21" y="5"/>
                        <a:pt x="17" y="0"/>
                        <a:pt x="11" y="1"/>
                      </a:cubicBezTo>
                      <a:cubicBezTo>
                        <a:pt x="4" y="1"/>
                        <a:pt x="0" y="7"/>
                        <a:pt x="0" y="13"/>
                      </a:cubicBezTo>
                      <a:cubicBezTo>
                        <a:pt x="0" y="19"/>
                        <a:pt x="5" y="23"/>
                        <a:pt x="11" y="23"/>
                      </a:cubicBezTo>
                    </a:path>
                  </a:pathLst>
                </a:custGeom>
                <a:solidFill>
                  <a:srgbClr val="E539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sp>
              <p:nvSpPr>
                <p:cNvPr id="30" name="Freeform 213">
                  <a:extLst>
                    <a:ext uri="{FF2B5EF4-FFF2-40B4-BE49-F238E27FC236}">
                      <a16:creationId xmlns:a16="http://schemas.microsoft.com/office/drawing/2014/main" id="{FB1152A7-939B-B238-506A-EB675F184095}"/>
                    </a:ext>
                  </a:extLst>
                </p:cNvPr>
                <p:cNvSpPr>
                  <a:spLocks/>
                </p:cNvSpPr>
                <p:nvPr/>
              </p:nvSpPr>
              <p:spPr bwMode="auto">
                <a:xfrm>
                  <a:off x="6718301" y="3400426"/>
                  <a:ext cx="71438" cy="77788"/>
                </a:xfrm>
                <a:custGeom>
                  <a:avLst/>
                  <a:gdLst>
                    <a:gd name="T0" fmla="*/ 11 w 21"/>
                    <a:gd name="T1" fmla="*/ 23 h 23"/>
                    <a:gd name="T2" fmla="*/ 21 w 21"/>
                    <a:gd name="T3" fmla="*/ 11 h 23"/>
                    <a:gd name="T4" fmla="*/ 11 w 21"/>
                    <a:gd name="T5" fmla="*/ 1 h 23"/>
                    <a:gd name="T6" fmla="*/ 0 w 21"/>
                    <a:gd name="T7" fmla="*/ 13 h 23"/>
                    <a:gd name="T8" fmla="*/ 11 w 21"/>
                    <a:gd name="T9" fmla="*/ 23 h 23"/>
                  </a:gdLst>
                  <a:ahLst/>
                  <a:cxnLst>
                    <a:cxn ang="0">
                      <a:pos x="T0" y="T1"/>
                    </a:cxn>
                    <a:cxn ang="0">
                      <a:pos x="T2" y="T3"/>
                    </a:cxn>
                    <a:cxn ang="0">
                      <a:pos x="T4" y="T5"/>
                    </a:cxn>
                    <a:cxn ang="0">
                      <a:pos x="T6" y="T7"/>
                    </a:cxn>
                    <a:cxn ang="0">
                      <a:pos x="T8" y="T9"/>
                    </a:cxn>
                  </a:cxnLst>
                  <a:rect l="0" t="0" r="r" b="b"/>
                  <a:pathLst>
                    <a:path w="21" h="23">
                      <a:moveTo>
                        <a:pt x="11" y="23"/>
                      </a:moveTo>
                      <a:cubicBezTo>
                        <a:pt x="17" y="23"/>
                        <a:pt x="21" y="17"/>
                        <a:pt x="21" y="11"/>
                      </a:cubicBezTo>
                      <a:cubicBezTo>
                        <a:pt x="21" y="5"/>
                        <a:pt x="17" y="0"/>
                        <a:pt x="11" y="1"/>
                      </a:cubicBezTo>
                      <a:cubicBezTo>
                        <a:pt x="4" y="1"/>
                        <a:pt x="0" y="7"/>
                        <a:pt x="0" y="13"/>
                      </a:cubicBezTo>
                      <a:cubicBezTo>
                        <a:pt x="0" y="19"/>
                        <a:pt x="5" y="23"/>
                        <a:pt x="11" y="23"/>
                      </a:cubicBezTo>
                    </a:path>
                  </a:pathLst>
                </a:custGeom>
                <a:noFill/>
                <a:ln w="9525" cap="flat">
                  <a:solidFill>
                    <a:srgbClr val="E5395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sp>
              <p:nvSpPr>
                <p:cNvPr id="31" name="Freeform 214">
                  <a:extLst>
                    <a:ext uri="{FF2B5EF4-FFF2-40B4-BE49-F238E27FC236}">
                      <a16:creationId xmlns:a16="http://schemas.microsoft.com/office/drawing/2014/main" id="{D53CC9DD-E2E1-CA0B-1707-3FA68BE5BD3F}"/>
                    </a:ext>
                  </a:extLst>
                </p:cNvPr>
                <p:cNvSpPr>
                  <a:spLocks/>
                </p:cNvSpPr>
                <p:nvPr/>
              </p:nvSpPr>
              <p:spPr bwMode="auto">
                <a:xfrm>
                  <a:off x="6721476" y="3471863"/>
                  <a:ext cx="65088" cy="71438"/>
                </a:xfrm>
                <a:custGeom>
                  <a:avLst/>
                  <a:gdLst>
                    <a:gd name="T0" fmla="*/ 11 w 41"/>
                    <a:gd name="T1" fmla="*/ 0 h 45"/>
                    <a:gd name="T2" fmla="*/ 0 w 41"/>
                    <a:gd name="T3" fmla="*/ 45 h 45"/>
                    <a:gd name="T4" fmla="*/ 41 w 41"/>
                    <a:gd name="T5" fmla="*/ 45 h 45"/>
                    <a:gd name="T6" fmla="*/ 28 w 41"/>
                    <a:gd name="T7" fmla="*/ 0 h 45"/>
                    <a:gd name="T8" fmla="*/ 11 w 41"/>
                    <a:gd name="T9" fmla="*/ 0 h 45"/>
                    <a:gd name="T10" fmla="*/ 11 w 41"/>
                    <a:gd name="T11" fmla="*/ 0 h 45"/>
                    <a:gd name="T12" fmla="*/ 11 w 41"/>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1" h="45">
                      <a:moveTo>
                        <a:pt x="11" y="0"/>
                      </a:moveTo>
                      <a:lnTo>
                        <a:pt x="0" y="45"/>
                      </a:lnTo>
                      <a:lnTo>
                        <a:pt x="41" y="45"/>
                      </a:lnTo>
                      <a:lnTo>
                        <a:pt x="28" y="0"/>
                      </a:lnTo>
                      <a:lnTo>
                        <a:pt x="11" y="0"/>
                      </a:lnTo>
                      <a:lnTo>
                        <a:pt x="11" y="0"/>
                      </a:lnTo>
                      <a:lnTo>
                        <a:pt x="11" y="0"/>
                      </a:lnTo>
                      <a:close/>
                    </a:path>
                  </a:pathLst>
                </a:custGeom>
                <a:solidFill>
                  <a:srgbClr val="E539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sp>
              <p:nvSpPr>
                <p:cNvPr id="248" name="Freeform 215">
                  <a:extLst>
                    <a:ext uri="{FF2B5EF4-FFF2-40B4-BE49-F238E27FC236}">
                      <a16:creationId xmlns:a16="http://schemas.microsoft.com/office/drawing/2014/main" id="{284E4223-A9FD-1D66-ABD9-1175C325DF87}"/>
                    </a:ext>
                  </a:extLst>
                </p:cNvPr>
                <p:cNvSpPr>
                  <a:spLocks/>
                </p:cNvSpPr>
                <p:nvPr/>
              </p:nvSpPr>
              <p:spPr bwMode="auto">
                <a:xfrm>
                  <a:off x="6721476" y="3471863"/>
                  <a:ext cx="65088" cy="71438"/>
                </a:xfrm>
                <a:custGeom>
                  <a:avLst/>
                  <a:gdLst>
                    <a:gd name="T0" fmla="*/ 11 w 41"/>
                    <a:gd name="T1" fmla="*/ 0 h 45"/>
                    <a:gd name="T2" fmla="*/ 0 w 41"/>
                    <a:gd name="T3" fmla="*/ 45 h 45"/>
                    <a:gd name="T4" fmla="*/ 41 w 41"/>
                    <a:gd name="T5" fmla="*/ 45 h 45"/>
                    <a:gd name="T6" fmla="*/ 28 w 41"/>
                    <a:gd name="T7" fmla="*/ 0 h 45"/>
                    <a:gd name="T8" fmla="*/ 11 w 41"/>
                    <a:gd name="T9" fmla="*/ 0 h 45"/>
                    <a:gd name="T10" fmla="*/ 11 w 41"/>
                    <a:gd name="T11" fmla="*/ 0 h 45"/>
                    <a:gd name="T12" fmla="*/ 11 w 41"/>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1" h="45">
                      <a:moveTo>
                        <a:pt x="11" y="0"/>
                      </a:moveTo>
                      <a:lnTo>
                        <a:pt x="0" y="45"/>
                      </a:lnTo>
                      <a:lnTo>
                        <a:pt x="41" y="45"/>
                      </a:lnTo>
                      <a:lnTo>
                        <a:pt x="28" y="0"/>
                      </a:lnTo>
                      <a:lnTo>
                        <a:pt x="11" y="0"/>
                      </a:lnTo>
                      <a:lnTo>
                        <a:pt x="11" y="0"/>
                      </a:lnTo>
                      <a:lnTo>
                        <a:pt x="11" y="0"/>
                      </a:lnTo>
                      <a:close/>
                    </a:path>
                  </a:pathLst>
                </a:custGeom>
                <a:noFill/>
                <a:ln w="9525" cap="flat">
                  <a:solidFill>
                    <a:srgbClr val="E5395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grpSp>
        </p:grpSp>
        <p:sp>
          <p:nvSpPr>
            <p:cNvPr id="23" name="TextBox 22">
              <a:extLst>
                <a:ext uri="{FF2B5EF4-FFF2-40B4-BE49-F238E27FC236}">
                  <a16:creationId xmlns:a16="http://schemas.microsoft.com/office/drawing/2014/main" id="{7AD43E0E-8876-ECEC-60D6-C8F01D8C9D94}"/>
                </a:ext>
              </a:extLst>
            </p:cNvPr>
            <p:cNvSpPr txBox="1"/>
            <p:nvPr/>
          </p:nvSpPr>
          <p:spPr>
            <a:xfrm>
              <a:off x="1558686" y="4030766"/>
              <a:ext cx="2266080" cy="646331"/>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prstClr val="black"/>
                  </a:solidFill>
                  <a:effectLst/>
                  <a:uLnTx/>
                  <a:uFillTx/>
                  <a:ea typeface="+mn-ea"/>
                  <a:cs typeface="+mn-cs"/>
                </a:rPr>
                <a:t>De la propriété à l’usage locatif temporaire, locative, partage, uberisation.</a:t>
              </a:r>
            </a:p>
          </p:txBody>
        </p:sp>
      </p:grpSp>
      <p:grpSp>
        <p:nvGrpSpPr>
          <p:cNvPr id="249" name="Group 248">
            <a:extLst>
              <a:ext uri="{FF2B5EF4-FFF2-40B4-BE49-F238E27FC236}">
                <a16:creationId xmlns:a16="http://schemas.microsoft.com/office/drawing/2014/main" id="{A13D6006-2C5A-B191-0E1E-44149B816CFB}"/>
              </a:ext>
            </a:extLst>
          </p:cNvPr>
          <p:cNvGrpSpPr/>
          <p:nvPr/>
        </p:nvGrpSpPr>
        <p:grpSpPr>
          <a:xfrm>
            <a:off x="689453" y="3122732"/>
            <a:ext cx="3119778" cy="830997"/>
            <a:chOff x="704988" y="2846308"/>
            <a:chExt cx="3119778" cy="830997"/>
          </a:xfrm>
        </p:grpSpPr>
        <p:grpSp>
          <p:nvGrpSpPr>
            <p:cNvPr id="250" name="Groupe 493">
              <a:extLst>
                <a:ext uri="{FF2B5EF4-FFF2-40B4-BE49-F238E27FC236}">
                  <a16:creationId xmlns:a16="http://schemas.microsoft.com/office/drawing/2014/main" id="{58E43DE7-1A46-EC13-5A31-994B9BBE4A0C}"/>
                </a:ext>
              </a:extLst>
            </p:cNvPr>
            <p:cNvGrpSpPr>
              <a:grpSpLocks noChangeAspect="1"/>
            </p:cNvGrpSpPr>
            <p:nvPr/>
          </p:nvGrpSpPr>
          <p:grpSpPr>
            <a:xfrm>
              <a:off x="704988" y="2901806"/>
              <a:ext cx="756798" cy="720000"/>
              <a:chOff x="8942388" y="1439863"/>
              <a:chExt cx="979488" cy="931862"/>
            </a:xfrm>
          </p:grpSpPr>
          <p:sp>
            <p:nvSpPr>
              <p:cNvPr id="252" name="Freeform 113">
                <a:extLst>
                  <a:ext uri="{FF2B5EF4-FFF2-40B4-BE49-F238E27FC236}">
                    <a16:creationId xmlns:a16="http://schemas.microsoft.com/office/drawing/2014/main" id="{D4548EBF-E070-23C9-9D72-A5D87DB375CA}"/>
                  </a:ext>
                </a:extLst>
              </p:cNvPr>
              <p:cNvSpPr>
                <a:spLocks/>
              </p:cNvSpPr>
              <p:nvPr/>
            </p:nvSpPr>
            <p:spPr bwMode="auto">
              <a:xfrm>
                <a:off x="8942388" y="1439863"/>
                <a:ext cx="979488" cy="931862"/>
              </a:xfrm>
              <a:custGeom>
                <a:avLst/>
                <a:gdLst>
                  <a:gd name="T0" fmla="*/ 42 w 290"/>
                  <a:gd name="T1" fmla="*/ 212 h 272"/>
                  <a:gd name="T2" fmla="*/ 70 w 290"/>
                  <a:gd name="T3" fmla="*/ 41 h 272"/>
                  <a:gd name="T4" fmla="*/ 249 w 290"/>
                  <a:gd name="T5" fmla="*/ 66 h 272"/>
                  <a:gd name="T6" fmla="*/ 216 w 290"/>
                  <a:gd name="T7" fmla="*/ 231 h 272"/>
                  <a:gd name="T8" fmla="*/ 42 w 290"/>
                  <a:gd name="T9" fmla="*/ 212 h 272"/>
                </a:gdLst>
                <a:ahLst/>
                <a:cxnLst>
                  <a:cxn ang="0">
                    <a:pos x="T0" y="T1"/>
                  </a:cxn>
                  <a:cxn ang="0">
                    <a:pos x="T2" y="T3"/>
                  </a:cxn>
                  <a:cxn ang="0">
                    <a:pos x="T4" y="T5"/>
                  </a:cxn>
                  <a:cxn ang="0">
                    <a:pos x="T6" y="T7"/>
                  </a:cxn>
                  <a:cxn ang="0">
                    <a:pos x="T8" y="T9"/>
                  </a:cxn>
                </a:cxnLst>
                <a:rect l="0" t="0" r="r" b="b"/>
                <a:pathLst>
                  <a:path w="290" h="272">
                    <a:moveTo>
                      <a:pt x="42" y="212"/>
                    </a:moveTo>
                    <a:cubicBezTo>
                      <a:pt x="0" y="158"/>
                      <a:pt x="12" y="81"/>
                      <a:pt x="70" y="41"/>
                    </a:cubicBezTo>
                    <a:cubicBezTo>
                      <a:pt x="127" y="0"/>
                      <a:pt x="207" y="11"/>
                      <a:pt x="249" y="66"/>
                    </a:cubicBezTo>
                    <a:cubicBezTo>
                      <a:pt x="290" y="120"/>
                      <a:pt x="273" y="191"/>
                      <a:pt x="216" y="231"/>
                    </a:cubicBezTo>
                    <a:cubicBezTo>
                      <a:pt x="159" y="272"/>
                      <a:pt x="83" y="267"/>
                      <a:pt x="42" y="212"/>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grpSp>
            <p:nvGrpSpPr>
              <p:cNvPr id="253" name="Groupe 495">
                <a:extLst>
                  <a:ext uri="{FF2B5EF4-FFF2-40B4-BE49-F238E27FC236}">
                    <a16:creationId xmlns:a16="http://schemas.microsoft.com/office/drawing/2014/main" id="{618ACE7F-23FB-8440-C8BE-6D21D5438E8E}"/>
                  </a:ext>
                </a:extLst>
              </p:cNvPr>
              <p:cNvGrpSpPr/>
              <p:nvPr/>
            </p:nvGrpSpPr>
            <p:grpSpPr>
              <a:xfrm>
                <a:off x="9178925" y="1682750"/>
                <a:ext cx="479425" cy="479425"/>
                <a:chOff x="9178925" y="1682750"/>
                <a:chExt cx="479425" cy="479425"/>
              </a:xfrm>
            </p:grpSpPr>
            <p:sp>
              <p:nvSpPr>
                <p:cNvPr id="254" name="Freeform 114">
                  <a:extLst>
                    <a:ext uri="{FF2B5EF4-FFF2-40B4-BE49-F238E27FC236}">
                      <a16:creationId xmlns:a16="http://schemas.microsoft.com/office/drawing/2014/main" id="{A07A445A-35CE-0CE1-25AB-111B392B3747}"/>
                    </a:ext>
                  </a:extLst>
                </p:cNvPr>
                <p:cNvSpPr>
                  <a:spLocks/>
                </p:cNvSpPr>
                <p:nvPr/>
              </p:nvSpPr>
              <p:spPr bwMode="auto">
                <a:xfrm>
                  <a:off x="9499600" y="1682750"/>
                  <a:ext cx="158750" cy="150812"/>
                </a:xfrm>
                <a:custGeom>
                  <a:avLst/>
                  <a:gdLst>
                    <a:gd name="T0" fmla="*/ 24 w 47"/>
                    <a:gd name="T1" fmla="*/ 0 h 44"/>
                    <a:gd name="T2" fmla="*/ 43 w 47"/>
                    <a:gd name="T3" fmla="*/ 17 h 44"/>
                    <a:gd name="T4" fmla="*/ 42 w 47"/>
                    <a:gd name="T5" fmla="*/ 31 h 44"/>
                    <a:gd name="T6" fmla="*/ 29 w 47"/>
                    <a:gd name="T7" fmla="*/ 44 h 44"/>
                    <a:gd name="T8" fmla="*/ 2 w 47"/>
                    <a:gd name="T9" fmla="*/ 18 h 44"/>
                    <a:gd name="T10" fmla="*/ 2 w 47"/>
                    <a:gd name="T11" fmla="*/ 14 h 44"/>
                    <a:gd name="T12" fmla="*/ 19 w 47"/>
                    <a:gd name="T13" fmla="*/ 0 h 44"/>
                    <a:gd name="T14" fmla="*/ 24 w 47"/>
                    <a:gd name="T15" fmla="*/ 0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44">
                      <a:moveTo>
                        <a:pt x="24" y="0"/>
                      </a:moveTo>
                      <a:cubicBezTo>
                        <a:pt x="32" y="4"/>
                        <a:pt x="37" y="11"/>
                        <a:pt x="43" y="17"/>
                      </a:cubicBezTo>
                      <a:cubicBezTo>
                        <a:pt x="47" y="21"/>
                        <a:pt x="46" y="26"/>
                        <a:pt x="42" y="31"/>
                      </a:cubicBezTo>
                      <a:cubicBezTo>
                        <a:pt x="38" y="35"/>
                        <a:pt x="33" y="40"/>
                        <a:pt x="29" y="44"/>
                      </a:cubicBezTo>
                      <a:cubicBezTo>
                        <a:pt x="20" y="35"/>
                        <a:pt x="11" y="27"/>
                        <a:pt x="2" y="18"/>
                      </a:cubicBezTo>
                      <a:cubicBezTo>
                        <a:pt x="1" y="17"/>
                        <a:pt x="0" y="16"/>
                        <a:pt x="2" y="14"/>
                      </a:cubicBezTo>
                      <a:cubicBezTo>
                        <a:pt x="7" y="9"/>
                        <a:pt x="12" y="3"/>
                        <a:pt x="19" y="0"/>
                      </a:cubicBezTo>
                      <a:lnTo>
                        <a:pt x="24" y="0"/>
                      </a:lnTo>
                      <a:close/>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sp>
              <p:nvSpPr>
                <p:cNvPr id="255" name="Freeform 115">
                  <a:extLst>
                    <a:ext uri="{FF2B5EF4-FFF2-40B4-BE49-F238E27FC236}">
                      <a16:creationId xmlns:a16="http://schemas.microsoft.com/office/drawing/2014/main" id="{DA5FF205-F2D0-9775-1BE7-07BFF30F1003}"/>
                    </a:ext>
                  </a:extLst>
                </p:cNvPr>
                <p:cNvSpPr>
                  <a:spLocks/>
                </p:cNvSpPr>
                <p:nvPr/>
              </p:nvSpPr>
              <p:spPr bwMode="auto">
                <a:xfrm>
                  <a:off x="9178925" y="2038350"/>
                  <a:ext cx="122238" cy="123825"/>
                </a:xfrm>
                <a:custGeom>
                  <a:avLst/>
                  <a:gdLst>
                    <a:gd name="T0" fmla="*/ 2 w 36"/>
                    <a:gd name="T1" fmla="*/ 26 h 36"/>
                    <a:gd name="T2" fmla="*/ 9 w 36"/>
                    <a:gd name="T3" fmla="*/ 0 h 36"/>
                    <a:gd name="T4" fmla="*/ 36 w 36"/>
                    <a:gd name="T5" fmla="*/ 26 h 36"/>
                    <a:gd name="T6" fmla="*/ 8 w 36"/>
                    <a:gd name="T7" fmla="*/ 34 h 36"/>
                    <a:gd name="T8" fmla="*/ 2 w 36"/>
                    <a:gd name="T9" fmla="*/ 26 h 36"/>
                  </a:gdLst>
                  <a:ahLst/>
                  <a:cxnLst>
                    <a:cxn ang="0">
                      <a:pos x="T0" y="T1"/>
                    </a:cxn>
                    <a:cxn ang="0">
                      <a:pos x="T2" y="T3"/>
                    </a:cxn>
                    <a:cxn ang="0">
                      <a:pos x="T4" y="T5"/>
                    </a:cxn>
                    <a:cxn ang="0">
                      <a:pos x="T6" y="T7"/>
                    </a:cxn>
                    <a:cxn ang="0">
                      <a:pos x="T8" y="T9"/>
                    </a:cxn>
                  </a:cxnLst>
                  <a:rect l="0" t="0" r="r" b="b"/>
                  <a:pathLst>
                    <a:path w="36" h="36">
                      <a:moveTo>
                        <a:pt x="2" y="26"/>
                      </a:moveTo>
                      <a:cubicBezTo>
                        <a:pt x="6" y="18"/>
                        <a:pt x="6" y="8"/>
                        <a:pt x="9" y="0"/>
                      </a:cubicBezTo>
                      <a:cubicBezTo>
                        <a:pt x="18" y="8"/>
                        <a:pt x="27" y="17"/>
                        <a:pt x="36" y="26"/>
                      </a:cubicBezTo>
                      <a:cubicBezTo>
                        <a:pt x="27" y="29"/>
                        <a:pt x="17" y="30"/>
                        <a:pt x="8" y="34"/>
                      </a:cubicBezTo>
                      <a:cubicBezTo>
                        <a:pt x="0" y="36"/>
                        <a:pt x="3" y="30"/>
                        <a:pt x="2" y="26"/>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sp>
              <p:nvSpPr>
                <p:cNvPr id="32" name="Freeform 116">
                  <a:extLst>
                    <a:ext uri="{FF2B5EF4-FFF2-40B4-BE49-F238E27FC236}">
                      <a16:creationId xmlns:a16="http://schemas.microsoft.com/office/drawing/2014/main" id="{35A24502-E8A4-20C0-D7C1-C4702DFBD86B}"/>
                    </a:ext>
                  </a:extLst>
                </p:cNvPr>
                <p:cNvSpPr>
                  <a:spLocks/>
                </p:cNvSpPr>
                <p:nvPr/>
              </p:nvSpPr>
              <p:spPr bwMode="auto">
                <a:xfrm>
                  <a:off x="9236075" y="1762125"/>
                  <a:ext cx="334963" cy="338137"/>
                </a:xfrm>
                <a:custGeom>
                  <a:avLst/>
                  <a:gdLst>
                    <a:gd name="T0" fmla="*/ 99 w 99"/>
                    <a:gd name="T1" fmla="*/ 28 h 99"/>
                    <a:gd name="T2" fmla="*/ 97 w 99"/>
                    <a:gd name="T3" fmla="*/ 31 h 99"/>
                    <a:gd name="T4" fmla="*/ 31 w 99"/>
                    <a:gd name="T5" fmla="*/ 97 h 99"/>
                    <a:gd name="T6" fmla="*/ 26 w 99"/>
                    <a:gd name="T7" fmla="*/ 97 h 99"/>
                    <a:gd name="T8" fmla="*/ 2 w 99"/>
                    <a:gd name="T9" fmla="*/ 74 h 99"/>
                    <a:gd name="T10" fmla="*/ 2 w 99"/>
                    <a:gd name="T11" fmla="*/ 69 h 99"/>
                    <a:gd name="T12" fmla="*/ 69 w 99"/>
                    <a:gd name="T13" fmla="*/ 3 h 99"/>
                    <a:gd name="T14" fmla="*/ 73 w 99"/>
                    <a:gd name="T15" fmla="*/ 2 h 99"/>
                    <a:gd name="T16" fmla="*/ 98 w 99"/>
                    <a:gd name="T17" fmla="*/ 27 h 99"/>
                    <a:gd name="T18" fmla="*/ 99 w 99"/>
                    <a:gd name="T19" fmla="*/ 28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99">
                      <a:moveTo>
                        <a:pt x="99" y="28"/>
                      </a:moveTo>
                      <a:cubicBezTo>
                        <a:pt x="98" y="29"/>
                        <a:pt x="98" y="30"/>
                        <a:pt x="97" y="31"/>
                      </a:cubicBezTo>
                      <a:cubicBezTo>
                        <a:pt x="75" y="53"/>
                        <a:pt x="53" y="75"/>
                        <a:pt x="31" y="97"/>
                      </a:cubicBezTo>
                      <a:cubicBezTo>
                        <a:pt x="29" y="99"/>
                        <a:pt x="28" y="99"/>
                        <a:pt x="26" y="97"/>
                      </a:cubicBezTo>
                      <a:cubicBezTo>
                        <a:pt x="18" y="89"/>
                        <a:pt x="10" y="82"/>
                        <a:pt x="2" y="74"/>
                      </a:cubicBezTo>
                      <a:cubicBezTo>
                        <a:pt x="1" y="72"/>
                        <a:pt x="0" y="71"/>
                        <a:pt x="2" y="69"/>
                      </a:cubicBezTo>
                      <a:cubicBezTo>
                        <a:pt x="25" y="47"/>
                        <a:pt x="47" y="25"/>
                        <a:pt x="69" y="3"/>
                      </a:cubicBezTo>
                      <a:cubicBezTo>
                        <a:pt x="70" y="1"/>
                        <a:pt x="71" y="0"/>
                        <a:pt x="73" y="2"/>
                      </a:cubicBezTo>
                      <a:cubicBezTo>
                        <a:pt x="81" y="10"/>
                        <a:pt x="89" y="18"/>
                        <a:pt x="98" y="27"/>
                      </a:cubicBezTo>
                      <a:cubicBezTo>
                        <a:pt x="98" y="27"/>
                        <a:pt x="99" y="28"/>
                        <a:pt x="99" y="2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grpSp>
        </p:grpSp>
        <p:sp>
          <p:nvSpPr>
            <p:cNvPr id="251" name="TextBox 250">
              <a:extLst>
                <a:ext uri="{FF2B5EF4-FFF2-40B4-BE49-F238E27FC236}">
                  <a16:creationId xmlns:a16="http://schemas.microsoft.com/office/drawing/2014/main" id="{34AD6FBC-56DD-1CB6-CB42-A5E158FD6656}"/>
                </a:ext>
              </a:extLst>
            </p:cNvPr>
            <p:cNvSpPr txBox="1"/>
            <p:nvPr/>
          </p:nvSpPr>
          <p:spPr>
            <a:xfrm>
              <a:off x="1558686" y="2846308"/>
              <a:ext cx="2266080" cy="830997"/>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prstClr val="black"/>
                  </a:solidFill>
                  <a:effectLst/>
                  <a:uLnTx/>
                  <a:uFillTx/>
                  <a:ea typeface="+mn-ea"/>
                  <a:cs typeface="+mn-cs"/>
                </a:rPr>
                <a:t>Les clients souhaitent des produits personnalisés ce qui amène des impacts dès la fabrication.</a:t>
              </a:r>
            </a:p>
          </p:txBody>
        </p:sp>
      </p:grpSp>
      <p:cxnSp>
        <p:nvCxnSpPr>
          <p:cNvPr id="33" name="Straight Connector 32">
            <a:extLst>
              <a:ext uri="{FF2B5EF4-FFF2-40B4-BE49-F238E27FC236}">
                <a16:creationId xmlns:a16="http://schemas.microsoft.com/office/drawing/2014/main" id="{1204B050-1DC7-F7FF-695F-B19A2EA81217}"/>
              </a:ext>
            </a:extLst>
          </p:cNvPr>
          <p:cNvCxnSpPr/>
          <p:nvPr/>
        </p:nvCxnSpPr>
        <p:spPr>
          <a:xfrm>
            <a:off x="505050" y="1694602"/>
            <a:ext cx="3398147" cy="0"/>
          </a:xfrm>
          <a:prstGeom prst="line">
            <a:avLst/>
          </a:prstGeom>
          <a:ln w="19050">
            <a:solidFill>
              <a:srgbClr val="055C8C"/>
            </a:solidFill>
          </a:ln>
        </p:spPr>
        <p:style>
          <a:lnRef idx="1">
            <a:schemeClr val="accent1"/>
          </a:lnRef>
          <a:fillRef idx="0">
            <a:schemeClr val="accent1"/>
          </a:fillRef>
          <a:effectRef idx="0">
            <a:schemeClr val="accent1"/>
          </a:effectRef>
          <a:fontRef idx="minor">
            <a:schemeClr val="tx1"/>
          </a:fontRef>
        </p:style>
      </p:cxnSp>
      <p:grpSp>
        <p:nvGrpSpPr>
          <p:cNvPr id="34" name="Group 33">
            <a:extLst>
              <a:ext uri="{FF2B5EF4-FFF2-40B4-BE49-F238E27FC236}">
                <a16:creationId xmlns:a16="http://schemas.microsoft.com/office/drawing/2014/main" id="{E4BF0198-F099-4414-F4DE-4263EC683654}"/>
              </a:ext>
            </a:extLst>
          </p:cNvPr>
          <p:cNvGrpSpPr/>
          <p:nvPr/>
        </p:nvGrpSpPr>
        <p:grpSpPr>
          <a:xfrm>
            <a:off x="689453" y="2052413"/>
            <a:ext cx="3119778" cy="830997"/>
            <a:chOff x="704988" y="1775989"/>
            <a:chExt cx="3119778" cy="830997"/>
          </a:xfrm>
        </p:grpSpPr>
        <p:grpSp>
          <p:nvGrpSpPr>
            <p:cNvPr id="35" name="Groupe 1050">
              <a:extLst>
                <a:ext uri="{FF2B5EF4-FFF2-40B4-BE49-F238E27FC236}">
                  <a16:creationId xmlns:a16="http://schemas.microsoft.com/office/drawing/2014/main" id="{B97383B1-889B-72B7-C2FD-6ADDAFDAFFC6}"/>
                </a:ext>
              </a:extLst>
            </p:cNvPr>
            <p:cNvGrpSpPr>
              <a:grpSpLocks noChangeAspect="1"/>
            </p:cNvGrpSpPr>
            <p:nvPr/>
          </p:nvGrpSpPr>
          <p:grpSpPr>
            <a:xfrm>
              <a:off x="704988" y="1831487"/>
              <a:ext cx="771330" cy="720000"/>
              <a:chOff x="2116138" y="629980"/>
              <a:chExt cx="882650" cy="823912"/>
            </a:xfrm>
          </p:grpSpPr>
          <p:sp>
            <p:nvSpPr>
              <p:cNvPr id="37" name="Freeform 104">
                <a:extLst>
                  <a:ext uri="{FF2B5EF4-FFF2-40B4-BE49-F238E27FC236}">
                    <a16:creationId xmlns:a16="http://schemas.microsoft.com/office/drawing/2014/main" id="{EE3B57A8-C274-9EF8-32BB-3C59ED9C6021}"/>
                  </a:ext>
                </a:extLst>
              </p:cNvPr>
              <p:cNvSpPr>
                <a:spLocks/>
              </p:cNvSpPr>
              <p:nvPr/>
            </p:nvSpPr>
            <p:spPr bwMode="auto">
              <a:xfrm>
                <a:off x="2116138" y="629980"/>
                <a:ext cx="882650" cy="823912"/>
              </a:xfrm>
              <a:custGeom>
                <a:avLst/>
                <a:gdLst>
                  <a:gd name="T0" fmla="*/ 34 w 235"/>
                  <a:gd name="T1" fmla="*/ 171 h 219"/>
                  <a:gd name="T2" fmla="*/ 57 w 235"/>
                  <a:gd name="T3" fmla="*/ 32 h 219"/>
                  <a:gd name="T4" fmla="*/ 201 w 235"/>
                  <a:gd name="T5" fmla="*/ 53 h 219"/>
                  <a:gd name="T6" fmla="*/ 175 w 235"/>
                  <a:gd name="T7" fmla="*/ 186 h 219"/>
                  <a:gd name="T8" fmla="*/ 34 w 235"/>
                  <a:gd name="T9" fmla="*/ 171 h 219"/>
                </a:gdLst>
                <a:ahLst/>
                <a:cxnLst>
                  <a:cxn ang="0">
                    <a:pos x="T0" y="T1"/>
                  </a:cxn>
                  <a:cxn ang="0">
                    <a:pos x="T2" y="T3"/>
                  </a:cxn>
                  <a:cxn ang="0">
                    <a:pos x="T4" y="T5"/>
                  </a:cxn>
                  <a:cxn ang="0">
                    <a:pos x="T6" y="T7"/>
                  </a:cxn>
                  <a:cxn ang="0">
                    <a:pos x="T8" y="T9"/>
                  </a:cxn>
                </a:cxnLst>
                <a:rect l="0" t="0" r="r" b="b"/>
                <a:pathLst>
                  <a:path w="235" h="219">
                    <a:moveTo>
                      <a:pt x="34" y="171"/>
                    </a:moveTo>
                    <a:cubicBezTo>
                      <a:pt x="0" y="127"/>
                      <a:pt x="11" y="65"/>
                      <a:pt x="57" y="32"/>
                    </a:cubicBezTo>
                    <a:cubicBezTo>
                      <a:pt x="103" y="0"/>
                      <a:pt x="168" y="9"/>
                      <a:pt x="201" y="53"/>
                    </a:cubicBezTo>
                    <a:cubicBezTo>
                      <a:pt x="235" y="97"/>
                      <a:pt x="221" y="154"/>
                      <a:pt x="175" y="186"/>
                    </a:cubicBezTo>
                    <a:cubicBezTo>
                      <a:pt x="129" y="219"/>
                      <a:pt x="68" y="215"/>
                      <a:pt x="34" y="171"/>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900" b="0" i="0" u="none" strike="noStrike" kern="1200" cap="none" spc="0" normalizeH="0" baseline="0" noProof="0">
                  <a:ln>
                    <a:noFill/>
                  </a:ln>
                  <a:solidFill>
                    <a:srgbClr val="FFFFFF"/>
                  </a:solidFill>
                  <a:effectLst/>
                  <a:uLnTx/>
                  <a:uFillTx/>
                  <a:ea typeface="+mn-ea"/>
                  <a:cs typeface="+mn-cs"/>
                </a:endParaRPr>
              </a:p>
            </p:txBody>
          </p:sp>
          <p:grpSp>
            <p:nvGrpSpPr>
              <p:cNvPr id="38" name="Groupe 1052">
                <a:extLst>
                  <a:ext uri="{FF2B5EF4-FFF2-40B4-BE49-F238E27FC236}">
                    <a16:creationId xmlns:a16="http://schemas.microsoft.com/office/drawing/2014/main" id="{F1176D11-9AD0-A1C8-C06D-D3578B00F00F}"/>
                  </a:ext>
                </a:extLst>
              </p:cNvPr>
              <p:cNvGrpSpPr/>
              <p:nvPr/>
            </p:nvGrpSpPr>
            <p:grpSpPr>
              <a:xfrm>
                <a:off x="2211483" y="766763"/>
                <a:ext cx="617443" cy="576961"/>
                <a:chOff x="2211483" y="766763"/>
                <a:chExt cx="617443" cy="576961"/>
              </a:xfrm>
            </p:grpSpPr>
            <p:sp>
              <p:nvSpPr>
                <p:cNvPr id="39" name="Freeform 105">
                  <a:extLst>
                    <a:ext uri="{FF2B5EF4-FFF2-40B4-BE49-F238E27FC236}">
                      <a16:creationId xmlns:a16="http://schemas.microsoft.com/office/drawing/2014/main" id="{68776F4F-E72B-9780-2F72-CFEF305AE7F7}"/>
                    </a:ext>
                  </a:extLst>
                </p:cNvPr>
                <p:cNvSpPr>
                  <a:spLocks/>
                </p:cNvSpPr>
                <p:nvPr/>
              </p:nvSpPr>
              <p:spPr bwMode="auto">
                <a:xfrm>
                  <a:off x="2592388" y="892175"/>
                  <a:ext cx="93663" cy="30162"/>
                </a:xfrm>
                <a:custGeom>
                  <a:avLst/>
                  <a:gdLst>
                    <a:gd name="T0" fmla="*/ 23 w 25"/>
                    <a:gd name="T1" fmla="*/ 5 h 8"/>
                    <a:gd name="T2" fmla="*/ 22 w 25"/>
                    <a:gd name="T3" fmla="*/ 4 h 8"/>
                    <a:gd name="T4" fmla="*/ 20 w 25"/>
                    <a:gd name="T5" fmla="*/ 3 h 8"/>
                    <a:gd name="T6" fmla="*/ 20 w 25"/>
                    <a:gd name="T7" fmla="*/ 3 h 8"/>
                    <a:gd name="T8" fmla="*/ 20 w 25"/>
                    <a:gd name="T9" fmla="*/ 3 h 8"/>
                    <a:gd name="T10" fmla="*/ 19 w 25"/>
                    <a:gd name="T11" fmla="*/ 4 h 8"/>
                    <a:gd name="T12" fmla="*/ 19 w 25"/>
                    <a:gd name="T13" fmla="*/ 4 h 8"/>
                    <a:gd name="T14" fmla="*/ 18 w 25"/>
                    <a:gd name="T15" fmla="*/ 4 h 8"/>
                    <a:gd name="T16" fmla="*/ 15 w 25"/>
                    <a:gd name="T17" fmla="*/ 2 h 8"/>
                    <a:gd name="T18" fmla="*/ 15 w 25"/>
                    <a:gd name="T19" fmla="*/ 2 h 8"/>
                    <a:gd name="T20" fmla="*/ 15 w 25"/>
                    <a:gd name="T21" fmla="*/ 2 h 8"/>
                    <a:gd name="T22" fmla="*/ 15 w 25"/>
                    <a:gd name="T23" fmla="*/ 2 h 8"/>
                    <a:gd name="T24" fmla="*/ 14 w 25"/>
                    <a:gd name="T25" fmla="*/ 2 h 8"/>
                    <a:gd name="T26" fmla="*/ 14 w 25"/>
                    <a:gd name="T27" fmla="*/ 3 h 8"/>
                    <a:gd name="T28" fmla="*/ 13 w 25"/>
                    <a:gd name="T29" fmla="*/ 3 h 8"/>
                    <a:gd name="T30" fmla="*/ 13 w 25"/>
                    <a:gd name="T31" fmla="*/ 3 h 8"/>
                    <a:gd name="T32" fmla="*/ 12 w 25"/>
                    <a:gd name="T33" fmla="*/ 2 h 8"/>
                    <a:gd name="T34" fmla="*/ 11 w 25"/>
                    <a:gd name="T35" fmla="*/ 2 h 8"/>
                    <a:gd name="T36" fmla="*/ 11 w 25"/>
                    <a:gd name="T37" fmla="*/ 2 h 8"/>
                    <a:gd name="T38" fmla="*/ 9 w 25"/>
                    <a:gd name="T39" fmla="*/ 1 h 8"/>
                    <a:gd name="T40" fmla="*/ 6 w 25"/>
                    <a:gd name="T41" fmla="*/ 0 h 8"/>
                    <a:gd name="T42" fmla="*/ 4 w 25"/>
                    <a:gd name="T43" fmla="*/ 0 h 8"/>
                    <a:gd name="T44" fmla="*/ 3 w 25"/>
                    <a:gd name="T45" fmla="*/ 0 h 8"/>
                    <a:gd name="T46" fmla="*/ 2 w 25"/>
                    <a:gd name="T47" fmla="*/ 0 h 8"/>
                    <a:gd name="T48" fmla="*/ 1 w 25"/>
                    <a:gd name="T49" fmla="*/ 0 h 8"/>
                    <a:gd name="T50" fmla="*/ 1 w 25"/>
                    <a:gd name="T51" fmla="*/ 0 h 8"/>
                    <a:gd name="T52" fmla="*/ 1 w 25"/>
                    <a:gd name="T53" fmla="*/ 0 h 8"/>
                    <a:gd name="T54" fmla="*/ 1 w 25"/>
                    <a:gd name="T55" fmla="*/ 0 h 8"/>
                    <a:gd name="T56" fmla="*/ 1 w 25"/>
                    <a:gd name="T57" fmla="*/ 2 h 8"/>
                    <a:gd name="T58" fmla="*/ 0 w 25"/>
                    <a:gd name="T59" fmla="*/ 2 h 8"/>
                    <a:gd name="T60" fmla="*/ 0 w 25"/>
                    <a:gd name="T61" fmla="*/ 2 h 8"/>
                    <a:gd name="T62" fmla="*/ 0 w 25"/>
                    <a:gd name="T63" fmla="*/ 3 h 8"/>
                    <a:gd name="T64" fmla="*/ 0 w 25"/>
                    <a:gd name="T65" fmla="*/ 3 h 8"/>
                    <a:gd name="T66" fmla="*/ 4 w 25"/>
                    <a:gd name="T67" fmla="*/ 2 h 8"/>
                    <a:gd name="T68" fmla="*/ 4 w 25"/>
                    <a:gd name="T69" fmla="*/ 2 h 8"/>
                    <a:gd name="T70" fmla="*/ 9 w 25"/>
                    <a:gd name="T71" fmla="*/ 5 h 8"/>
                    <a:gd name="T72" fmla="*/ 13 w 25"/>
                    <a:gd name="T73" fmla="*/ 7 h 8"/>
                    <a:gd name="T74" fmla="*/ 14 w 25"/>
                    <a:gd name="T75" fmla="*/ 7 h 8"/>
                    <a:gd name="T76" fmla="*/ 16 w 25"/>
                    <a:gd name="T77" fmla="*/ 7 h 8"/>
                    <a:gd name="T78" fmla="*/ 17 w 25"/>
                    <a:gd name="T79" fmla="*/ 7 h 8"/>
                    <a:gd name="T80" fmla="*/ 17 w 25"/>
                    <a:gd name="T81" fmla="*/ 7 h 8"/>
                    <a:gd name="T82" fmla="*/ 18 w 25"/>
                    <a:gd name="T83" fmla="*/ 7 h 8"/>
                    <a:gd name="T84" fmla="*/ 19 w 25"/>
                    <a:gd name="T85" fmla="*/ 7 h 8"/>
                    <a:gd name="T86" fmla="*/ 20 w 25"/>
                    <a:gd name="T87" fmla="*/ 7 h 8"/>
                    <a:gd name="T88" fmla="*/ 21 w 25"/>
                    <a:gd name="T89" fmla="*/ 8 h 8"/>
                    <a:gd name="T90" fmla="*/ 22 w 25"/>
                    <a:gd name="T91" fmla="*/ 8 h 8"/>
                    <a:gd name="T92" fmla="*/ 22 w 25"/>
                    <a:gd name="T93" fmla="*/ 8 h 8"/>
                    <a:gd name="T94" fmla="*/ 22 w 25"/>
                    <a:gd name="T95" fmla="*/ 8 h 8"/>
                    <a:gd name="T96" fmla="*/ 24 w 25"/>
                    <a:gd name="T97" fmla="*/ 6 h 8"/>
                    <a:gd name="T98" fmla="*/ 25 w 25"/>
                    <a:gd name="T99" fmla="*/ 5 h 8"/>
                    <a:gd name="T100" fmla="*/ 25 w 25"/>
                    <a:gd name="T101" fmla="*/ 5 h 8"/>
                    <a:gd name="T102" fmla="*/ 25 w 25"/>
                    <a:gd name="T103" fmla="*/ 5 h 8"/>
                    <a:gd name="T104" fmla="*/ 23 w 25"/>
                    <a:gd name="T105"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 h="8">
                      <a:moveTo>
                        <a:pt x="23" y="5"/>
                      </a:moveTo>
                      <a:cubicBezTo>
                        <a:pt x="23" y="5"/>
                        <a:pt x="22" y="5"/>
                        <a:pt x="22" y="4"/>
                      </a:cubicBezTo>
                      <a:cubicBezTo>
                        <a:pt x="21" y="4"/>
                        <a:pt x="21" y="4"/>
                        <a:pt x="20" y="3"/>
                      </a:cubicBezTo>
                      <a:cubicBezTo>
                        <a:pt x="20" y="3"/>
                        <a:pt x="20" y="3"/>
                        <a:pt x="20" y="3"/>
                      </a:cubicBezTo>
                      <a:cubicBezTo>
                        <a:pt x="20" y="3"/>
                        <a:pt x="20" y="3"/>
                        <a:pt x="20" y="3"/>
                      </a:cubicBezTo>
                      <a:cubicBezTo>
                        <a:pt x="20" y="3"/>
                        <a:pt x="20" y="4"/>
                        <a:pt x="19" y="4"/>
                      </a:cubicBezTo>
                      <a:cubicBezTo>
                        <a:pt x="19" y="4"/>
                        <a:pt x="19" y="4"/>
                        <a:pt x="19" y="4"/>
                      </a:cubicBezTo>
                      <a:cubicBezTo>
                        <a:pt x="18" y="4"/>
                        <a:pt x="18" y="4"/>
                        <a:pt x="18" y="4"/>
                      </a:cubicBezTo>
                      <a:cubicBezTo>
                        <a:pt x="17" y="4"/>
                        <a:pt x="16" y="3"/>
                        <a:pt x="15" y="2"/>
                      </a:cubicBezTo>
                      <a:cubicBezTo>
                        <a:pt x="15" y="2"/>
                        <a:pt x="15" y="2"/>
                        <a:pt x="15" y="2"/>
                      </a:cubicBezTo>
                      <a:cubicBezTo>
                        <a:pt x="15" y="2"/>
                        <a:pt x="15" y="2"/>
                        <a:pt x="15" y="2"/>
                      </a:cubicBezTo>
                      <a:cubicBezTo>
                        <a:pt x="15" y="2"/>
                        <a:pt x="15" y="2"/>
                        <a:pt x="15" y="2"/>
                      </a:cubicBezTo>
                      <a:cubicBezTo>
                        <a:pt x="15" y="2"/>
                        <a:pt x="14" y="2"/>
                        <a:pt x="14" y="2"/>
                      </a:cubicBezTo>
                      <a:cubicBezTo>
                        <a:pt x="14" y="3"/>
                        <a:pt x="14" y="3"/>
                        <a:pt x="14" y="3"/>
                      </a:cubicBezTo>
                      <a:cubicBezTo>
                        <a:pt x="14" y="3"/>
                        <a:pt x="13" y="3"/>
                        <a:pt x="13" y="3"/>
                      </a:cubicBezTo>
                      <a:cubicBezTo>
                        <a:pt x="13" y="3"/>
                        <a:pt x="13" y="3"/>
                        <a:pt x="13" y="3"/>
                      </a:cubicBezTo>
                      <a:cubicBezTo>
                        <a:pt x="12" y="3"/>
                        <a:pt x="12" y="3"/>
                        <a:pt x="12" y="2"/>
                      </a:cubicBezTo>
                      <a:cubicBezTo>
                        <a:pt x="12" y="2"/>
                        <a:pt x="12" y="2"/>
                        <a:pt x="11" y="2"/>
                      </a:cubicBezTo>
                      <a:cubicBezTo>
                        <a:pt x="11" y="2"/>
                        <a:pt x="11" y="2"/>
                        <a:pt x="11" y="2"/>
                      </a:cubicBezTo>
                      <a:cubicBezTo>
                        <a:pt x="10" y="1"/>
                        <a:pt x="9" y="1"/>
                        <a:pt x="9" y="1"/>
                      </a:cubicBezTo>
                      <a:cubicBezTo>
                        <a:pt x="8" y="0"/>
                        <a:pt x="7" y="0"/>
                        <a:pt x="6" y="0"/>
                      </a:cubicBezTo>
                      <a:cubicBezTo>
                        <a:pt x="5" y="0"/>
                        <a:pt x="4" y="0"/>
                        <a:pt x="4" y="0"/>
                      </a:cubicBezTo>
                      <a:cubicBezTo>
                        <a:pt x="4" y="0"/>
                        <a:pt x="3" y="0"/>
                        <a:pt x="3" y="0"/>
                      </a:cubicBezTo>
                      <a:cubicBezTo>
                        <a:pt x="3" y="0"/>
                        <a:pt x="3" y="0"/>
                        <a:pt x="2" y="0"/>
                      </a:cubicBezTo>
                      <a:cubicBezTo>
                        <a:pt x="2" y="0"/>
                        <a:pt x="2" y="0"/>
                        <a:pt x="1" y="0"/>
                      </a:cubicBezTo>
                      <a:cubicBezTo>
                        <a:pt x="1" y="0"/>
                        <a:pt x="1" y="0"/>
                        <a:pt x="1" y="0"/>
                      </a:cubicBezTo>
                      <a:cubicBezTo>
                        <a:pt x="1" y="0"/>
                        <a:pt x="1" y="0"/>
                        <a:pt x="1" y="0"/>
                      </a:cubicBezTo>
                      <a:cubicBezTo>
                        <a:pt x="1" y="0"/>
                        <a:pt x="1" y="0"/>
                        <a:pt x="1" y="0"/>
                      </a:cubicBezTo>
                      <a:cubicBezTo>
                        <a:pt x="1" y="1"/>
                        <a:pt x="1" y="2"/>
                        <a:pt x="1" y="2"/>
                      </a:cubicBezTo>
                      <a:cubicBezTo>
                        <a:pt x="1" y="2"/>
                        <a:pt x="1" y="2"/>
                        <a:pt x="0" y="2"/>
                      </a:cubicBezTo>
                      <a:cubicBezTo>
                        <a:pt x="0" y="2"/>
                        <a:pt x="0" y="2"/>
                        <a:pt x="0" y="2"/>
                      </a:cubicBezTo>
                      <a:cubicBezTo>
                        <a:pt x="0" y="3"/>
                        <a:pt x="0" y="3"/>
                        <a:pt x="0" y="3"/>
                      </a:cubicBezTo>
                      <a:cubicBezTo>
                        <a:pt x="0" y="3"/>
                        <a:pt x="0" y="3"/>
                        <a:pt x="0" y="3"/>
                      </a:cubicBezTo>
                      <a:cubicBezTo>
                        <a:pt x="1" y="3"/>
                        <a:pt x="3" y="2"/>
                        <a:pt x="4" y="2"/>
                      </a:cubicBezTo>
                      <a:cubicBezTo>
                        <a:pt x="4" y="2"/>
                        <a:pt x="4" y="2"/>
                        <a:pt x="4" y="2"/>
                      </a:cubicBezTo>
                      <a:cubicBezTo>
                        <a:pt x="7" y="2"/>
                        <a:pt x="8" y="4"/>
                        <a:pt x="9" y="5"/>
                      </a:cubicBezTo>
                      <a:cubicBezTo>
                        <a:pt x="10" y="6"/>
                        <a:pt x="11" y="7"/>
                        <a:pt x="13" y="7"/>
                      </a:cubicBezTo>
                      <a:cubicBezTo>
                        <a:pt x="13" y="7"/>
                        <a:pt x="13" y="7"/>
                        <a:pt x="14" y="7"/>
                      </a:cubicBezTo>
                      <a:cubicBezTo>
                        <a:pt x="14" y="7"/>
                        <a:pt x="15" y="7"/>
                        <a:pt x="16" y="7"/>
                      </a:cubicBezTo>
                      <a:cubicBezTo>
                        <a:pt x="16" y="7"/>
                        <a:pt x="17" y="7"/>
                        <a:pt x="17" y="7"/>
                      </a:cubicBezTo>
                      <a:cubicBezTo>
                        <a:pt x="17" y="7"/>
                        <a:pt x="17" y="7"/>
                        <a:pt x="17" y="7"/>
                      </a:cubicBezTo>
                      <a:cubicBezTo>
                        <a:pt x="18" y="7"/>
                        <a:pt x="18" y="7"/>
                        <a:pt x="18" y="7"/>
                      </a:cubicBezTo>
                      <a:cubicBezTo>
                        <a:pt x="18" y="7"/>
                        <a:pt x="19" y="7"/>
                        <a:pt x="19" y="7"/>
                      </a:cubicBezTo>
                      <a:cubicBezTo>
                        <a:pt x="19" y="7"/>
                        <a:pt x="20" y="7"/>
                        <a:pt x="20" y="7"/>
                      </a:cubicBezTo>
                      <a:cubicBezTo>
                        <a:pt x="21" y="7"/>
                        <a:pt x="21" y="7"/>
                        <a:pt x="21" y="8"/>
                      </a:cubicBezTo>
                      <a:cubicBezTo>
                        <a:pt x="22" y="8"/>
                        <a:pt x="22" y="8"/>
                        <a:pt x="22" y="8"/>
                      </a:cubicBezTo>
                      <a:cubicBezTo>
                        <a:pt x="22" y="8"/>
                        <a:pt x="22" y="8"/>
                        <a:pt x="22" y="8"/>
                      </a:cubicBezTo>
                      <a:cubicBezTo>
                        <a:pt x="22" y="8"/>
                        <a:pt x="22" y="8"/>
                        <a:pt x="22" y="8"/>
                      </a:cubicBezTo>
                      <a:cubicBezTo>
                        <a:pt x="23" y="8"/>
                        <a:pt x="24" y="7"/>
                        <a:pt x="24" y="6"/>
                      </a:cubicBezTo>
                      <a:cubicBezTo>
                        <a:pt x="25" y="6"/>
                        <a:pt x="25" y="5"/>
                        <a:pt x="25" y="5"/>
                      </a:cubicBezTo>
                      <a:cubicBezTo>
                        <a:pt x="25" y="5"/>
                        <a:pt x="25" y="5"/>
                        <a:pt x="25" y="5"/>
                      </a:cubicBezTo>
                      <a:cubicBezTo>
                        <a:pt x="25" y="5"/>
                        <a:pt x="25" y="5"/>
                        <a:pt x="25" y="5"/>
                      </a:cubicBezTo>
                      <a:cubicBezTo>
                        <a:pt x="25" y="5"/>
                        <a:pt x="24" y="5"/>
                        <a:pt x="2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900" b="0" i="0" u="none" strike="noStrike" kern="1200" cap="none" spc="0" normalizeH="0" baseline="0" noProof="0">
                    <a:ln>
                      <a:noFill/>
                    </a:ln>
                    <a:solidFill>
                      <a:srgbClr val="FFFFFF"/>
                    </a:solidFill>
                    <a:effectLst/>
                    <a:uLnTx/>
                    <a:uFillTx/>
                    <a:ea typeface="+mn-ea"/>
                    <a:cs typeface="+mn-cs"/>
                  </a:endParaRPr>
                </a:p>
              </p:txBody>
            </p:sp>
            <p:sp>
              <p:nvSpPr>
                <p:cNvPr id="40" name="Freeform 106">
                  <a:extLst>
                    <a:ext uri="{FF2B5EF4-FFF2-40B4-BE49-F238E27FC236}">
                      <a16:creationId xmlns:a16="http://schemas.microsoft.com/office/drawing/2014/main" id="{3A5AA3B6-725F-9028-E8F2-E38DBED16DFD}"/>
                    </a:ext>
                  </a:extLst>
                </p:cNvPr>
                <p:cNvSpPr>
                  <a:spLocks/>
                </p:cNvSpPr>
                <p:nvPr/>
              </p:nvSpPr>
              <p:spPr bwMode="auto">
                <a:xfrm>
                  <a:off x="2633663" y="831850"/>
                  <a:ext cx="19050" cy="19050"/>
                </a:xfrm>
                <a:custGeom>
                  <a:avLst/>
                  <a:gdLst>
                    <a:gd name="T0" fmla="*/ 0 w 5"/>
                    <a:gd name="T1" fmla="*/ 5 h 5"/>
                    <a:gd name="T2" fmla="*/ 1 w 5"/>
                    <a:gd name="T3" fmla="*/ 5 h 5"/>
                    <a:gd name="T4" fmla="*/ 3 w 5"/>
                    <a:gd name="T5" fmla="*/ 4 h 5"/>
                    <a:gd name="T6" fmla="*/ 4 w 5"/>
                    <a:gd name="T7" fmla="*/ 4 h 5"/>
                    <a:gd name="T8" fmla="*/ 5 w 5"/>
                    <a:gd name="T9" fmla="*/ 3 h 5"/>
                    <a:gd name="T10" fmla="*/ 5 w 5"/>
                    <a:gd name="T11" fmla="*/ 3 h 5"/>
                    <a:gd name="T12" fmla="*/ 5 w 5"/>
                    <a:gd name="T13" fmla="*/ 3 h 5"/>
                    <a:gd name="T14" fmla="*/ 4 w 5"/>
                    <a:gd name="T15" fmla="*/ 3 h 5"/>
                    <a:gd name="T16" fmla="*/ 4 w 5"/>
                    <a:gd name="T17" fmla="*/ 3 h 5"/>
                    <a:gd name="T18" fmla="*/ 4 w 5"/>
                    <a:gd name="T19" fmla="*/ 1 h 5"/>
                    <a:gd name="T20" fmla="*/ 4 w 5"/>
                    <a:gd name="T21" fmla="*/ 1 h 5"/>
                    <a:gd name="T22" fmla="*/ 4 w 5"/>
                    <a:gd name="T23" fmla="*/ 1 h 5"/>
                    <a:gd name="T24" fmla="*/ 4 w 5"/>
                    <a:gd name="T25" fmla="*/ 1 h 5"/>
                    <a:gd name="T26" fmla="*/ 3 w 5"/>
                    <a:gd name="T27" fmla="*/ 0 h 5"/>
                    <a:gd name="T28" fmla="*/ 3 w 5"/>
                    <a:gd name="T29" fmla="*/ 0 h 5"/>
                    <a:gd name="T30" fmla="*/ 3 w 5"/>
                    <a:gd name="T31" fmla="*/ 0 h 5"/>
                    <a:gd name="T32" fmla="*/ 0 w 5"/>
                    <a:gd name="T3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 h="5">
                      <a:moveTo>
                        <a:pt x="0" y="5"/>
                      </a:moveTo>
                      <a:cubicBezTo>
                        <a:pt x="1" y="5"/>
                        <a:pt x="1" y="5"/>
                        <a:pt x="1" y="5"/>
                      </a:cubicBezTo>
                      <a:cubicBezTo>
                        <a:pt x="1" y="5"/>
                        <a:pt x="2" y="4"/>
                        <a:pt x="3" y="4"/>
                      </a:cubicBezTo>
                      <a:cubicBezTo>
                        <a:pt x="3" y="4"/>
                        <a:pt x="4" y="4"/>
                        <a:pt x="4" y="4"/>
                      </a:cubicBezTo>
                      <a:cubicBezTo>
                        <a:pt x="4" y="4"/>
                        <a:pt x="4" y="3"/>
                        <a:pt x="5" y="3"/>
                      </a:cubicBezTo>
                      <a:cubicBezTo>
                        <a:pt x="5" y="3"/>
                        <a:pt x="5" y="3"/>
                        <a:pt x="5" y="3"/>
                      </a:cubicBezTo>
                      <a:cubicBezTo>
                        <a:pt x="5" y="3"/>
                        <a:pt x="5" y="3"/>
                        <a:pt x="5" y="3"/>
                      </a:cubicBezTo>
                      <a:cubicBezTo>
                        <a:pt x="4" y="3"/>
                        <a:pt x="4" y="3"/>
                        <a:pt x="4" y="3"/>
                      </a:cubicBezTo>
                      <a:cubicBezTo>
                        <a:pt x="4" y="3"/>
                        <a:pt x="4" y="3"/>
                        <a:pt x="4" y="3"/>
                      </a:cubicBezTo>
                      <a:cubicBezTo>
                        <a:pt x="4" y="2"/>
                        <a:pt x="4" y="2"/>
                        <a:pt x="4" y="1"/>
                      </a:cubicBezTo>
                      <a:cubicBezTo>
                        <a:pt x="4" y="1"/>
                        <a:pt x="4" y="1"/>
                        <a:pt x="4" y="1"/>
                      </a:cubicBezTo>
                      <a:cubicBezTo>
                        <a:pt x="4" y="1"/>
                        <a:pt x="4" y="1"/>
                        <a:pt x="4" y="1"/>
                      </a:cubicBezTo>
                      <a:cubicBezTo>
                        <a:pt x="4" y="1"/>
                        <a:pt x="4" y="1"/>
                        <a:pt x="4" y="1"/>
                      </a:cubicBezTo>
                      <a:cubicBezTo>
                        <a:pt x="3" y="0"/>
                        <a:pt x="3" y="0"/>
                        <a:pt x="3" y="0"/>
                      </a:cubicBezTo>
                      <a:cubicBezTo>
                        <a:pt x="3" y="0"/>
                        <a:pt x="3" y="0"/>
                        <a:pt x="3" y="0"/>
                      </a:cubicBezTo>
                      <a:cubicBezTo>
                        <a:pt x="3" y="0"/>
                        <a:pt x="3" y="0"/>
                        <a:pt x="3" y="0"/>
                      </a:cubicBezTo>
                      <a:cubicBezTo>
                        <a:pt x="2" y="2"/>
                        <a:pt x="0" y="4"/>
                        <a:pt x="0"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900" b="0" i="0" u="none" strike="noStrike" kern="1200" cap="none" spc="0" normalizeH="0" baseline="0" noProof="0">
                    <a:ln>
                      <a:noFill/>
                    </a:ln>
                    <a:solidFill>
                      <a:srgbClr val="FFFFFF"/>
                    </a:solidFill>
                    <a:effectLst/>
                    <a:uLnTx/>
                    <a:uFillTx/>
                    <a:ea typeface="+mn-ea"/>
                    <a:cs typeface="+mn-cs"/>
                  </a:endParaRPr>
                </a:p>
              </p:txBody>
            </p:sp>
            <p:sp>
              <p:nvSpPr>
                <p:cNvPr id="41" name="Freeform 107">
                  <a:extLst>
                    <a:ext uri="{FF2B5EF4-FFF2-40B4-BE49-F238E27FC236}">
                      <a16:creationId xmlns:a16="http://schemas.microsoft.com/office/drawing/2014/main" id="{5F21E99E-3526-DA61-9406-D3D0684B0B1D}"/>
                    </a:ext>
                  </a:extLst>
                </p:cNvPr>
                <p:cNvSpPr>
                  <a:spLocks noEditPoints="1"/>
                </p:cNvSpPr>
                <p:nvPr/>
              </p:nvSpPr>
              <p:spPr bwMode="auto">
                <a:xfrm>
                  <a:off x="2413001" y="766763"/>
                  <a:ext cx="415925" cy="417512"/>
                </a:xfrm>
                <a:custGeom>
                  <a:avLst/>
                  <a:gdLst>
                    <a:gd name="T0" fmla="*/ 111 w 111"/>
                    <a:gd name="T1" fmla="*/ 55 h 111"/>
                    <a:gd name="T2" fmla="*/ 25 w 111"/>
                    <a:gd name="T3" fmla="*/ 85 h 111"/>
                    <a:gd name="T4" fmla="*/ 24 w 111"/>
                    <a:gd name="T5" fmla="*/ 91 h 111"/>
                    <a:gd name="T6" fmla="*/ 7 w 111"/>
                    <a:gd name="T7" fmla="*/ 59 h 111"/>
                    <a:gd name="T8" fmla="*/ 16 w 111"/>
                    <a:gd name="T9" fmla="*/ 68 h 111"/>
                    <a:gd name="T10" fmla="*/ 21 w 111"/>
                    <a:gd name="T11" fmla="*/ 71 h 111"/>
                    <a:gd name="T12" fmla="*/ 29 w 111"/>
                    <a:gd name="T13" fmla="*/ 24 h 111"/>
                    <a:gd name="T14" fmla="*/ 22 w 111"/>
                    <a:gd name="T15" fmla="*/ 30 h 111"/>
                    <a:gd name="T16" fmla="*/ 29 w 111"/>
                    <a:gd name="T17" fmla="*/ 14 h 111"/>
                    <a:gd name="T18" fmla="*/ 88 w 111"/>
                    <a:gd name="T19" fmla="*/ 92 h 111"/>
                    <a:gd name="T20" fmla="*/ 90 w 111"/>
                    <a:gd name="T21" fmla="*/ 85 h 111"/>
                    <a:gd name="T22" fmla="*/ 95 w 111"/>
                    <a:gd name="T23" fmla="*/ 81 h 111"/>
                    <a:gd name="T24" fmla="*/ 98 w 111"/>
                    <a:gd name="T25" fmla="*/ 75 h 111"/>
                    <a:gd name="T26" fmla="*/ 98 w 111"/>
                    <a:gd name="T27" fmla="*/ 71 h 111"/>
                    <a:gd name="T28" fmla="*/ 103 w 111"/>
                    <a:gd name="T29" fmla="*/ 60 h 111"/>
                    <a:gd name="T30" fmla="*/ 97 w 111"/>
                    <a:gd name="T31" fmla="*/ 47 h 111"/>
                    <a:gd name="T32" fmla="*/ 91 w 111"/>
                    <a:gd name="T33" fmla="*/ 46 h 111"/>
                    <a:gd name="T34" fmla="*/ 83 w 111"/>
                    <a:gd name="T35" fmla="*/ 55 h 111"/>
                    <a:gd name="T36" fmla="*/ 76 w 111"/>
                    <a:gd name="T37" fmla="*/ 45 h 111"/>
                    <a:gd name="T38" fmla="*/ 84 w 111"/>
                    <a:gd name="T39" fmla="*/ 57 h 111"/>
                    <a:gd name="T40" fmla="*/ 78 w 111"/>
                    <a:gd name="T41" fmla="*/ 72 h 111"/>
                    <a:gd name="T42" fmla="*/ 78 w 111"/>
                    <a:gd name="T43" fmla="*/ 78 h 111"/>
                    <a:gd name="T44" fmla="*/ 81 w 111"/>
                    <a:gd name="T45" fmla="*/ 77 h 111"/>
                    <a:gd name="T46" fmla="*/ 84 w 111"/>
                    <a:gd name="T47" fmla="*/ 77 h 111"/>
                    <a:gd name="T48" fmla="*/ 81 w 111"/>
                    <a:gd name="T49" fmla="*/ 82 h 111"/>
                    <a:gd name="T50" fmla="*/ 76 w 111"/>
                    <a:gd name="T51" fmla="*/ 84 h 111"/>
                    <a:gd name="T52" fmla="*/ 77 w 111"/>
                    <a:gd name="T53" fmla="*/ 80 h 111"/>
                    <a:gd name="T54" fmla="*/ 63 w 111"/>
                    <a:gd name="T55" fmla="*/ 92 h 111"/>
                    <a:gd name="T56" fmla="*/ 57 w 111"/>
                    <a:gd name="T57" fmla="*/ 82 h 111"/>
                    <a:gd name="T58" fmla="*/ 54 w 111"/>
                    <a:gd name="T59" fmla="*/ 66 h 111"/>
                    <a:gd name="T60" fmla="*/ 54 w 111"/>
                    <a:gd name="T61" fmla="*/ 64 h 111"/>
                    <a:gd name="T62" fmla="*/ 53 w 111"/>
                    <a:gd name="T63" fmla="*/ 64 h 111"/>
                    <a:gd name="T64" fmla="*/ 47 w 111"/>
                    <a:gd name="T65" fmla="*/ 63 h 111"/>
                    <a:gd name="T66" fmla="*/ 39 w 111"/>
                    <a:gd name="T67" fmla="*/ 64 h 111"/>
                    <a:gd name="T68" fmla="*/ 34 w 111"/>
                    <a:gd name="T69" fmla="*/ 46 h 111"/>
                    <a:gd name="T70" fmla="*/ 39 w 111"/>
                    <a:gd name="T71" fmla="*/ 40 h 111"/>
                    <a:gd name="T72" fmla="*/ 39 w 111"/>
                    <a:gd name="T73" fmla="*/ 35 h 111"/>
                    <a:gd name="T74" fmla="*/ 44 w 111"/>
                    <a:gd name="T75" fmla="*/ 30 h 111"/>
                    <a:gd name="T76" fmla="*/ 46 w 111"/>
                    <a:gd name="T77" fmla="*/ 30 h 111"/>
                    <a:gd name="T78" fmla="*/ 46 w 111"/>
                    <a:gd name="T79" fmla="*/ 27 h 111"/>
                    <a:gd name="T80" fmla="*/ 43 w 111"/>
                    <a:gd name="T81" fmla="*/ 26 h 111"/>
                    <a:gd name="T82" fmla="*/ 41 w 111"/>
                    <a:gd name="T83" fmla="*/ 23 h 111"/>
                    <a:gd name="T84" fmla="*/ 44 w 111"/>
                    <a:gd name="T85" fmla="*/ 21 h 111"/>
                    <a:gd name="T86" fmla="*/ 46 w 111"/>
                    <a:gd name="T87" fmla="*/ 20 h 111"/>
                    <a:gd name="T88" fmla="*/ 47 w 111"/>
                    <a:gd name="T89" fmla="*/ 23 h 111"/>
                    <a:gd name="T90" fmla="*/ 48 w 111"/>
                    <a:gd name="T91" fmla="*/ 26 h 111"/>
                    <a:gd name="T92" fmla="*/ 52 w 111"/>
                    <a:gd name="T93" fmla="*/ 25 h 111"/>
                    <a:gd name="T94" fmla="*/ 52 w 111"/>
                    <a:gd name="T95" fmla="*/ 25 h 111"/>
                    <a:gd name="T96" fmla="*/ 53 w 111"/>
                    <a:gd name="T97" fmla="*/ 23 h 111"/>
                    <a:gd name="T98" fmla="*/ 53 w 111"/>
                    <a:gd name="T99" fmla="*/ 22 h 111"/>
                    <a:gd name="T100" fmla="*/ 63 w 111"/>
                    <a:gd name="T101" fmla="*/ 13 h 111"/>
                    <a:gd name="T102" fmla="*/ 70 w 111"/>
                    <a:gd name="T103" fmla="*/ 17 h 111"/>
                    <a:gd name="T104" fmla="*/ 80 w 111"/>
                    <a:gd name="T105" fmla="*/ 13 h 111"/>
                    <a:gd name="T106" fmla="*/ 87 w 111"/>
                    <a:gd name="T107" fmla="*/ 18 h 111"/>
                    <a:gd name="T108" fmla="*/ 85 w 111"/>
                    <a:gd name="T109" fmla="*/ 18 h 111"/>
                    <a:gd name="T110" fmla="*/ 80 w 111"/>
                    <a:gd name="T111" fmla="*/ 16 h 111"/>
                    <a:gd name="T112" fmla="*/ 76 w 111"/>
                    <a:gd name="T113" fmla="*/ 17 h 111"/>
                    <a:gd name="T114" fmla="*/ 79 w 111"/>
                    <a:gd name="T115" fmla="*/ 18 h 111"/>
                    <a:gd name="T116" fmla="*/ 86 w 111"/>
                    <a:gd name="T117" fmla="*/ 19 h 111"/>
                    <a:gd name="T118" fmla="*/ 88 w 111"/>
                    <a:gd name="T119" fmla="*/ 19 h 111"/>
                    <a:gd name="T120" fmla="*/ 103 w 111"/>
                    <a:gd name="T121" fmla="*/ 5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1" h="111">
                      <a:moveTo>
                        <a:pt x="55" y="0"/>
                      </a:moveTo>
                      <a:cubicBezTo>
                        <a:pt x="25" y="0"/>
                        <a:pt x="0" y="25"/>
                        <a:pt x="0" y="55"/>
                      </a:cubicBezTo>
                      <a:cubicBezTo>
                        <a:pt x="0" y="86"/>
                        <a:pt x="25" y="111"/>
                        <a:pt x="55" y="111"/>
                      </a:cubicBezTo>
                      <a:cubicBezTo>
                        <a:pt x="86" y="111"/>
                        <a:pt x="111" y="86"/>
                        <a:pt x="111" y="55"/>
                      </a:cubicBezTo>
                      <a:cubicBezTo>
                        <a:pt x="111" y="25"/>
                        <a:pt x="86" y="0"/>
                        <a:pt x="55" y="0"/>
                      </a:cubicBezTo>
                      <a:close/>
                      <a:moveTo>
                        <a:pt x="24" y="81"/>
                      </a:moveTo>
                      <a:cubicBezTo>
                        <a:pt x="24" y="81"/>
                        <a:pt x="24" y="82"/>
                        <a:pt x="24" y="82"/>
                      </a:cubicBezTo>
                      <a:cubicBezTo>
                        <a:pt x="25" y="83"/>
                        <a:pt x="25" y="84"/>
                        <a:pt x="25" y="85"/>
                      </a:cubicBezTo>
                      <a:cubicBezTo>
                        <a:pt x="24" y="85"/>
                        <a:pt x="24" y="86"/>
                        <a:pt x="23" y="86"/>
                      </a:cubicBezTo>
                      <a:cubicBezTo>
                        <a:pt x="23" y="86"/>
                        <a:pt x="22" y="86"/>
                        <a:pt x="22" y="87"/>
                      </a:cubicBezTo>
                      <a:cubicBezTo>
                        <a:pt x="22" y="88"/>
                        <a:pt x="23" y="88"/>
                        <a:pt x="23" y="89"/>
                      </a:cubicBezTo>
                      <a:cubicBezTo>
                        <a:pt x="24" y="90"/>
                        <a:pt x="24" y="90"/>
                        <a:pt x="24" y="91"/>
                      </a:cubicBezTo>
                      <a:cubicBezTo>
                        <a:pt x="24" y="92"/>
                        <a:pt x="24" y="92"/>
                        <a:pt x="24" y="93"/>
                      </a:cubicBezTo>
                      <a:cubicBezTo>
                        <a:pt x="24" y="93"/>
                        <a:pt x="24" y="93"/>
                        <a:pt x="24" y="93"/>
                      </a:cubicBezTo>
                      <a:cubicBezTo>
                        <a:pt x="23" y="92"/>
                        <a:pt x="22" y="91"/>
                        <a:pt x="21" y="90"/>
                      </a:cubicBezTo>
                      <a:cubicBezTo>
                        <a:pt x="12" y="82"/>
                        <a:pt x="7" y="70"/>
                        <a:pt x="7" y="59"/>
                      </a:cubicBezTo>
                      <a:cubicBezTo>
                        <a:pt x="7" y="59"/>
                        <a:pt x="8" y="60"/>
                        <a:pt x="8" y="60"/>
                      </a:cubicBezTo>
                      <a:cubicBezTo>
                        <a:pt x="8" y="60"/>
                        <a:pt x="8" y="60"/>
                        <a:pt x="8" y="60"/>
                      </a:cubicBezTo>
                      <a:cubicBezTo>
                        <a:pt x="9" y="61"/>
                        <a:pt x="10" y="61"/>
                        <a:pt x="10" y="62"/>
                      </a:cubicBezTo>
                      <a:cubicBezTo>
                        <a:pt x="13" y="64"/>
                        <a:pt x="15" y="65"/>
                        <a:pt x="16" y="68"/>
                      </a:cubicBezTo>
                      <a:cubicBezTo>
                        <a:pt x="16" y="68"/>
                        <a:pt x="16" y="68"/>
                        <a:pt x="16" y="68"/>
                      </a:cubicBezTo>
                      <a:cubicBezTo>
                        <a:pt x="17" y="69"/>
                        <a:pt x="18" y="69"/>
                        <a:pt x="19" y="70"/>
                      </a:cubicBezTo>
                      <a:cubicBezTo>
                        <a:pt x="19" y="70"/>
                        <a:pt x="20" y="70"/>
                        <a:pt x="20" y="71"/>
                      </a:cubicBezTo>
                      <a:cubicBezTo>
                        <a:pt x="20" y="71"/>
                        <a:pt x="21" y="71"/>
                        <a:pt x="21" y="71"/>
                      </a:cubicBezTo>
                      <a:cubicBezTo>
                        <a:pt x="22" y="71"/>
                        <a:pt x="23" y="72"/>
                        <a:pt x="24" y="73"/>
                      </a:cubicBezTo>
                      <a:cubicBezTo>
                        <a:pt x="25" y="75"/>
                        <a:pt x="25" y="76"/>
                        <a:pt x="24" y="78"/>
                      </a:cubicBezTo>
                      <a:cubicBezTo>
                        <a:pt x="24" y="79"/>
                        <a:pt x="23" y="80"/>
                        <a:pt x="24" y="81"/>
                      </a:cubicBezTo>
                      <a:close/>
                      <a:moveTo>
                        <a:pt x="29" y="24"/>
                      </a:moveTo>
                      <a:cubicBezTo>
                        <a:pt x="28" y="25"/>
                        <a:pt x="27" y="26"/>
                        <a:pt x="26" y="26"/>
                      </a:cubicBezTo>
                      <a:cubicBezTo>
                        <a:pt x="26" y="27"/>
                        <a:pt x="26" y="27"/>
                        <a:pt x="25" y="27"/>
                      </a:cubicBezTo>
                      <a:cubicBezTo>
                        <a:pt x="25" y="28"/>
                        <a:pt x="25" y="28"/>
                        <a:pt x="25" y="28"/>
                      </a:cubicBezTo>
                      <a:cubicBezTo>
                        <a:pt x="24" y="29"/>
                        <a:pt x="23" y="30"/>
                        <a:pt x="22" y="30"/>
                      </a:cubicBezTo>
                      <a:cubicBezTo>
                        <a:pt x="20" y="31"/>
                        <a:pt x="18" y="31"/>
                        <a:pt x="17" y="32"/>
                      </a:cubicBezTo>
                      <a:cubicBezTo>
                        <a:pt x="15" y="32"/>
                        <a:pt x="13" y="33"/>
                        <a:pt x="11" y="34"/>
                      </a:cubicBezTo>
                      <a:cubicBezTo>
                        <a:pt x="14" y="29"/>
                        <a:pt x="17" y="25"/>
                        <a:pt x="21" y="21"/>
                      </a:cubicBezTo>
                      <a:cubicBezTo>
                        <a:pt x="23" y="18"/>
                        <a:pt x="26" y="16"/>
                        <a:pt x="29" y="14"/>
                      </a:cubicBezTo>
                      <a:cubicBezTo>
                        <a:pt x="29" y="15"/>
                        <a:pt x="30" y="15"/>
                        <a:pt x="30" y="16"/>
                      </a:cubicBezTo>
                      <a:cubicBezTo>
                        <a:pt x="31" y="19"/>
                        <a:pt x="31" y="22"/>
                        <a:pt x="29" y="24"/>
                      </a:cubicBezTo>
                      <a:close/>
                      <a:moveTo>
                        <a:pt x="90" y="90"/>
                      </a:moveTo>
                      <a:cubicBezTo>
                        <a:pt x="89" y="91"/>
                        <a:pt x="89" y="92"/>
                        <a:pt x="88" y="92"/>
                      </a:cubicBezTo>
                      <a:cubicBezTo>
                        <a:pt x="87" y="91"/>
                        <a:pt x="88" y="90"/>
                        <a:pt x="88" y="89"/>
                      </a:cubicBezTo>
                      <a:cubicBezTo>
                        <a:pt x="88" y="89"/>
                        <a:pt x="88" y="89"/>
                        <a:pt x="88" y="89"/>
                      </a:cubicBezTo>
                      <a:cubicBezTo>
                        <a:pt x="88" y="88"/>
                        <a:pt x="89" y="88"/>
                        <a:pt x="89" y="87"/>
                      </a:cubicBezTo>
                      <a:cubicBezTo>
                        <a:pt x="89" y="87"/>
                        <a:pt x="89" y="86"/>
                        <a:pt x="90" y="85"/>
                      </a:cubicBezTo>
                      <a:cubicBezTo>
                        <a:pt x="90" y="85"/>
                        <a:pt x="90" y="85"/>
                        <a:pt x="90" y="85"/>
                      </a:cubicBezTo>
                      <a:cubicBezTo>
                        <a:pt x="90" y="84"/>
                        <a:pt x="91" y="83"/>
                        <a:pt x="91" y="83"/>
                      </a:cubicBezTo>
                      <a:cubicBezTo>
                        <a:pt x="92" y="82"/>
                        <a:pt x="92" y="82"/>
                        <a:pt x="93" y="82"/>
                      </a:cubicBezTo>
                      <a:cubicBezTo>
                        <a:pt x="94" y="82"/>
                        <a:pt x="95" y="81"/>
                        <a:pt x="95" y="81"/>
                      </a:cubicBezTo>
                      <a:cubicBezTo>
                        <a:pt x="95" y="80"/>
                        <a:pt x="96" y="79"/>
                        <a:pt x="96" y="77"/>
                      </a:cubicBezTo>
                      <a:cubicBezTo>
                        <a:pt x="96" y="77"/>
                        <a:pt x="96" y="77"/>
                        <a:pt x="96" y="77"/>
                      </a:cubicBezTo>
                      <a:cubicBezTo>
                        <a:pt x="97" y="76"/>
                        <a:pt x="97" y="75"/>
                        <a:pt x="98" y="75"/>
                      </a:cubicBezTo>
                      <a:cubicBezTo>
                        <a:pt x="98" y="75"/>
                        <a:pt x="98" y="75"/>
                        <a:pt x="98" y="75"/>
                      </a:cubicBezTo>
                      <a:cubicBezTo>
                        <a:pt x="98" y="75"/>
                        <a:pt x="97" y="75"/>
                        <a:pt x="97" y="75"/>
                      </a:cubicBezTo>
                      <a:cubicBezTo>
                        <a:pt x="97" y="75"/>
                        <a:pt x="97" y="74"/>
                        <a:pt x="96" y="74"/>
                      </a:cubicBezTo>
                      <a:cubicBezTo>
                        <a:pt x="96" y="74"/>
                        <a:pt x="96" y="74"/>
                        <a:pt x="96" y="73"/>
                      </a:cubicBezTo>
                      <a:cubicBezTo>
                        <a:pt x="96" y="72"/>
                        <a:pt x="97" y="71"/>
                        <a:pt x="98" y="71"/>
                      </a:cubicBezTo>
                      <a:cubicBezTo>
                        <a:pt x="98" y="70"/>
                        <a:pt x="99" y="70"/>
                        <a:pt x="99" y="70"/>
                      </a:cubicBezTo>
                      <a:cubicBezTo>
                        <a:pt x="100" y="69"/>
                        <a:pt x="102" y="68"/>
                        <a:pt x="103" y="67"/>
                      </a:cubicBezTo>
                      <a:cubicBezTo>
                        <a:pt x="101" y="75"/>
                        <a:pt x="97" y="84"/>
                        <a:pt x="90" y="90"/>
                      </a:cubicBezTo>
                      <a:close/>
                      <a:moveTo>
                        <a:pt x="103" y="60"/>
                      </a:moveTo>
                      <a:cubicBezTo>
                        <a:pt x="103" y="60"/>
                        <a:pt x="103" y="60"/>
                        <a:pt x="102" y="60"/>
                      </a:cubicBezTo>
                      <a:cubicBezTo>
                        <a:pt x="102" y="60"/>
                        <a:pt x="102" y="60"/>
                        <a:pt x="102" y="60"/>
                      </a:cubicBezTo>
                      <a:cubicBezTo>
                        <a:pt x="100" y="60"/>
                        <a:pt x="99" y="56"/>
                        <a:pt x="99" y="53"/>
                      </a:cubicBezTo>
                      <a:cubicBezTo>
                        <a:pt x="98" y="51"/>
                        <a:pt x="98" y="48"/>
                        <a:pt x="97" y="47"/>
                      </a:cubicBezTo>
                      <a:cubicBezTo>
                        <a:pt x="96" y="47"/>
                        <a:pt x="95" y="47"/>
                        <a:pt x="94" y="46"/>
                      </a:cubicBezTo>
                      <a:cubicBezTo>
                        <a:pt x="93" y="46"/>
                        <a:pt x="92" y="46"/>
                        <a:pt x="91" y="46"/>
                      </a:cubicBezTo>
                      <a:cubicBezTo>
                        <a:pt x="91" y="46"/>
                        <a:pt x="91" y="46"/>
                        <a:pt x="91" y="46"/>
                      </a:cubicBezTo>
                      <a:cubicBezTo>
                        <a:pt x="91" y="46"/>
                        <a:pt x="91" y="46"/>
                        <a:pt x="91" y="46"/>
                      </a:cubicBezTo>
                      <a:cubicBezTo>
                        <a:pt x="91" y="47"/>
                        <a:pt x="91" y="47"/>
                        <a:pt x="91" y="48"/>
                      </a:cubicBezTo>
                      <a:cubicBezTo>
                        <a:pt x="91" y="51"/>
                        <a:pt x="88" y="53"/>
                        <a:pt x="87" y="55"/>
                      </a:cubicBezTo>
                      <a:cubicBezTo>
                        <a:pt x="86" y="55"/>
                        <a:pt x="85" y="55"/>
                        <a:pt x="84" y="55"/>
                      </a:cubicBezTo>
                      <a:cubicBezTo>
                        <a:pt x="84" y="55"/>
                        <a:pt x="83" y="55"/>
                        <a:pt x="83" y="55"/>
                      </a:cubicBezTo>
                      <a:cubicBezTo>
                        <a:pt x="81" y="55"/>
                        <a:pt x="80" y="52"/>
                        <a:pt x="80" y="50"/>
                      </a:cubicBezTo>
                      <a:cubicBezTo>
                        <a:pt x="79" y="48"/>
                        <a:pt x="78" y="45"/>
                        <a:pt x="76" y="45"/>
                      </a:cubicBezTo>
                      <a:cubicBezTo>
                        <a:pt x="76" y="45"/>
                        <a:pt x="76" y="45"/>
                        <a:pt x="76" y="45"/>
                      </a:cubicBezTo>
                      <a:cubicBezTo>
                        <a:pt x="76" y="45"/>
                        <a:pt x="76" y="45"/>
                        <a:pt x="76" y="45"/>
                      </a:cubicBezTo>
                      <a:cubicBezTo>
                        <a:pt x="76" y="47"/>
                        <a:pt x="78" y="54"/>
                        <a:pt x="80" y="56"/>
                      </a:cubicBezTo>
                      <a:cubicBezTo>
                        <a:pt x="80" y="56"/>
                        <a:pt x="81" y="57"/>
                        <a:pt x="83" y="57"/>
                      </a:cubicBezTo>
                      <a:cubicBezTo>
                        <a:pt x="83" y="57"/>
                        <a:pt x="83" y="57"/>
                        <a:pt x="84" y="57"/>
                      </a:cubicBezTo>
                      <a:cubicBezTo>
                        <a:pt x="84" y="57"/>
                        <a:pt x="84" y="57"/>
                        <a:pt x="84" y="57"/>
                      </a:cubicBezTo>
                      <a:cubicBezTo>
                        <a:pt x="85" y="57"/>
                        <a:pt x="86" y="57"/>
                        <a:pt x="87" y="58"/>
                      </a:cubicBezTo>
                      <a:cubicBezTo>
                        <a:pt x="88" y="58"/>
                        <a:pt x="88" y="59"/>
                        <a:pt x="87" y="60"/>
                      </a:cubicBezTo>
                      <a:cubicBezTo>
                        <a:pt x="86" y="63"/>
                        <a:pt x="84" y="65"/>
                        <a:pt x="82" y="67"/>
                      </a:cubicBezTo>
                      <a:cubicBezTo>
                        <a:pt x="81" y="69"/>
                        <a:pt x="79" y="70"/>
                        <a:pt x="78" y="72"/>
                      </a:cubicBezTo>
                      <a:cubicBezTo>
                        <a:pt x="78" y="73"/>
                        <a:pt x="78" y="74"/>
                        <a:pt x="78" y="75"/>
                      </a:cubicBezTo>
                      <a:cubicBezTo>
                        <a:pt x="78" y="76"/>
                        <a:pt x="78" y="77"/>
                        <a:pt x="78" y="78"/>
                      </a:cubicBezTo>
                      <a:cubicBezTo>
                        <a:pt x="78" y="78"/>
                        <a:pt x="78" y="78"/>
                        <a:pt x="78" y="78"/>
                      </a:cubicBezTo>
                      <a:cubicBezTo>
                        <a:pt x="78" y="78"/>
                        <a:pt x="78" y="78"/>
                        <a:pt x="78" y="78"/>
                      </a:cubicBezTo>
                      <a:cubicBezTo>
                        <a:pt x="79" y="78"/>
                        <a:pt x="79" y="77"/>
                        <a:pt x="80" y="77"/>
                      </a:cubicBezTo>
                      <a:cubicBezTo>
                        <a:pt x="80" y="77"/>
                        <a:pt x="80" y="77"/>
                        <a:pt x="81" y="77"/>
                      </a:cubicBezTo>
                      <a:cubicBezTo>
                        <a:pt x="81" y="77"/>
                        <a:pt x="81" y="77"/>
                        <a:pt x="81" y="77"/>
                      </a:cubicBezTo>
                      <a:cubicBezTo>
                        <a:pt x="81" y="77"/>
                        <a:pt x="81" y="77"/>
                        <a:pt x="81" y="77"/>
                      </a:cubicBezTo>
                      <a:cubicBezTo>
                        <a:pt x="81" y="77"/>
                        <a:pt x="81" y="76"/>
                        <a:pt x="81" y="76"/>
                      </a:cubicBezTo>
                      <a:cubicBezTo>
                        <a:pt x="82" y="76"/>
                        <a:pt x="82" y="76"/>
                        <a:pt x="83" y="76"/>
                      </a:cubicBezTo>
                      <a:cubicBezTo>
                        <a:pt x="83" y="76"/>
                        <a:pt x="83" y="76"/>
                        <a:pt x="84" y="76"/>
                      </a:cubicBezTo>
                      <a:cubicBezTo>
                        <a:pt x="84" y="76"/>
                        <a:pt x="84" y="76"/>
                        <a:pt x="84" y="77"/>
                      </a:cubicBezTo>
                      <a:cubicBezTo>
                        <a:pt x="85" y="78"/>
                        <a:pt x="84" y="79"/>
                        <a:pt x="84" y="79"/>
                      </a:cubicBezTo>
                      <a:cubicBezTo>
                        <a:pt x="83" y="79"/>
                        <a:pt x="83" y="80"/>
                        <a:pt x="83" y="80"/>
                      </a:cubicBezTo>
                      <a:cubicBezTo>
                        <a:pt x="82" y="81"/>
                        <a:pt x="82" y="81"/>
                        <a:pt x="82" y="82"/>
                      </a:cubicBezTo>
                      <a:cubicBezTo>
                        <a:pt x="82" y="82"/>
                        <a:pt x="81" y="82"/>
                        <a:pt x="81" y="82"/>
                      </a:cubicBezTo>
                      <a:cubicBezTo>
                        <a:pt x="81" y="83"/>
                        <a:pt x="81" y="83"/>
                        <a:pt x="81" y="84"/>
                      </a:cubicBezTo>
                      <a:cubicBezTo>
                        <a:pt x="80" y="84"/>
                        <a:pt x="79" y="85"/>
                        <a:pt x="78" y="85"/>
                      </a:cubicBezTo>
                      <a:cubicBezTo>
                        <a:pt x="78" y="85"/>
                        <a:pt x="78" y="85"/>
                        <a:pt x="77" y="85"/>
                      </a:cubicBezTo>
                      <a:cubicBezTo>
                        <a:pt x="77" y="85"/>
                        <a:pt x="77" y="85"/>
                        <a:pt x="76" y="84"/>
                      </a:cubicBezTo>
                      <a:cubicBezTo>
                        <a:pt x="76" y="83"/>
                        <a:pt x="77" y="82"/>
                        <a:pt x="77" y="81"/>
                      </a:cubicBezTo>
                      <a:cubicBezTo>
                        <a:pt x="77" y="81"/>
                        <a:pt x="77" y="81"/>
                        <a:pt x="77" y="81"/>
                      </a:cubicBezTo>
                      <a:cubicBezTo>
                        <a:pt x="77" y="80"/>
                        <a:pt x="77" y="80"/>
                        <a:pt x="77" y="80"/>
                      </a:cubicBezTo>
                      <a:cubicBezTo>
                        <a:pt x="77" y="80"/>
                        <a:pt x="77" y="80"/>
                        <a:pt x="77" y="80"/>
                      </a:cubicBezTo>
                      <a:cubicBezTo>
                        <a:pt x="77" y="80"/>
                        <a:pt x="76" y="81"/>
                        <a:pt x="76" y="81"/>
                      </a:cubicBezTo>
                      <a:cubicBezTo>
                        <a:pt x="75" y="81"/>
                        <a:pt x="75" y="82"/>
                        <a:pt x="74" y="83"/>
                      </a:cubicBezTo>
                      <a:cubicBezTo>
                        <a:pt x="73" y="87"/>
                        <a:pt x="69" y="91"/>
                        <a:pt x="63" y="91"/>
                      </a:cubicBezTo>
                      <a:cubicBezTo>
                        <a:pt x="63" y="92"/>
                        <a:pt x="63" y="92"/>
                        <a:pt x="63" y="92"/>
                      </a:cubicBezTo>
                      <a:cubicBezTo>
                        <a:pt x="61" y="92"/>
                        <a:pt x="60" y="91"/>
                        <a:pt x="60" y="89"/>
                      </a:cubicBezTo>
                      <a:cubicBezTo>
                        <a:pt x="60" y="89"/>
                        <a:pt x="60" y="88"/>
                        <a:pt x="60" y="88"/>
                      </a:cubicBezTo>
                      <a:cubicBezTo>
                        <a:pt x="59" y="87"/>
                        <a:pt x="59" y="87"/>
                        <a:pt x="59" y="86"/>
                      </a:cubicBezTo>
                      <a:cubicBezTo>
                        <a:pt x="58" y="85"/>
                        <a:pt x="57" y="84"/>
                        <a:pt x="57" y="82"/>
                      </a:cubicBezTo>
                      <a:cubicBezTo>
                        <a:pt x="57" y="80"/>
                        <a:pt x="57" y="79"/>
                        <a:pt x="57" y="78"/>
                      </a:cubicBezTo>
                      <a:cubicBezTo>
                        <a:pt x="58" y="76"/>
                        <a:pt x="58" y="74"/>
                        <a:pt x="58" y="72"/>
                      </a:cubicBezTo>
                      <a:cubicBezTo>
                        <a:pt x="57" y="72"/>
                        <a:pt x="57" y="71"/>
                        <a:pt x="56" y="70"/>
                      </a:cubicBezTo>
                      <a:cubicBezTo>
                        <a:pt x="55" y="69"/>
                        <a:pt x="54" y="68"/>
                        <a:pt x="54" y="66"/>
                      </a:cubicBezTo>
                      <a:cubicBezTo>
                        <a:pt x="54" y="66"/>
                        <a:pt x="54" y="65"/>
                        <a:pt x="54" y="65"/>
                      </a:cubicBezTo>
                      <a:cubicBezTo>
                        <a:pt x="54" y="64"/>
                        <a:pt x="54" y="64"/>
                        <a:pt x="54" y="64"/>
                      </a:cubicBezTo>
                      <a:cubicBezTo>
                        <a:pt x="55" y="64"/>
                        <a:pt x="55" y="64"/>
                        <a:pt x="55" y="64"/>
                      </a:cubicBezTo>
                      <a:cubicBezTo>
                        <a:pt x="54" y="64"/>
                        <a:pt x="54" y="64"/>
                        <a:pt x="54" y="64"/>
                      </a:cubicBezTo>
                      <a:cubicBezTo>
                        <a:pt x="54" y="64"/>
                        <a:pt x="54" y="64"/>
                        <a:pt x="54" y="64"/>
                      </a:cubicBezTo>
                      <a:cubicBezTo>
                        <a:pt x="54" y="64"/>
                        <a:pt x="54" y="64"/>
                        <a:pt x="54" y="64"/>
                      </a:cubicBezTo>
                      <a:cubicBezTo>
                        <a:pt x="54" y="64"/>
                        <a:pt x="54" y="64"/>
                        <a:pt x="54" y="64"/>
                      </a:cubicBezTo>
                      <a:cubicBezTo>
                        <a:pt x="54" y="64"/>
                        <a:pt x="54" y="64"/>
                        <a:pt x="53" y="64"/>
                      </a:cubicBezTo>
                      <a:cubicBezTo>
                        <a:pt x="53" y="64"/>
                        <a:pt x="53" y="64"/>
                        <a:pt x="53" y="64"/>
                      </a:cubicBezTo>
                      <a:cubicBezTo>
                        <a:pt x="53" y="64"/>
                        <a:pt x="52" y="64"/>
                        <a:pt x="52" y="63"/>
                      </a:cubicBezTo>
                      <a:cubicBezTo>
                        <a:pt x="51" y="63"/>
                        <a:pt x="50" y="63"/>
                        <a:pt x="49" y="63"/>
                      </a:cubicBezTo>
                      <a:cubicBezTo>
                        <a:pt x="49" y="63"/>
                        <a:pt x="48" y="63"/>
                        <a:pt x="47" y="63"/>
                      </a:cubicBezTo>
                      <a:cubicBezTo>
                        <a:pt x="46" y="63"/>
                        <a:pt x="45" y="63"/>
                        <a:pt x="45" y="64"/>
                      </a:cubicBezTo>
                      <a:cubicBezTo>
                        <a:pt x="44" y="64"/>
                        <a:pt x="44" y="64"/>
                        <a:pt x="43" y="64"/>
                      </a:cubicBezTo>
                      <a:cubicBezTo>
                        <a:pt x="42" y="64"/>
                        <a:pt x="41" y="64"/>
                        <a:pt x="41" y="64"/>
                      </a:cubicBezTo>
                      <a:cubicBezTo>
                        <a:pt x="40" y="64"/>
                        <a:pt x="39" y="64"/>
                        <a:pt x="39" y="64"/>
                      </a:cubicBezTo>
                      <a:cubicBezTo>
                        <a:pt x="34" y="61"/>
                        <a:pt x="33" y="57"/>
                        <a:pt x="33" y="52"/>
                      </a:cubicBezTo>
                      <a:cubicBezTo>
                        <a:pt x="34" y="52"/>
                        <a:pt x="34" y="51"/>
                        <a:pt x="34" y="51"/>
                      </a:cubicBezTo>
                      <a:cubicBezTo>
                        <a:pt x="34" y="49"/>
                        <a:pt x="34" y="47"/>
                        <a:pt x="34" y="46"/>
                      </a:cubicBezTo>
                      <a:cubicBezTo>
                        <a:pt x="34" y="46"/>
                        <a:pt x="34" y="46"/>
                        <a:pt x="34" y="46"/>
                      </a:cubicBezTo>
                      <a:cubicBezTo>
                        <a:pt x="35" y="45"/>
                        <a:pt x="35" y="45"/>
                        <a:pt x="36" y="44"/>
                      </a:cubicBezTo>
                      <a:cubicBezTo>
                        <a:pt x="36" y="44"/>
                        <a:pt x="37" y="44"/>
                        <a:pt x="37" y="43"/>
                      </a:cubicBezTo>
                      <a:cubicBezTo>
                        <a:pt x="37" y="43"/>
                        <a:pt x="37" y="42"/>
                        <a:pt x="37" y="42"/>
                      </a:cubicBezTo>
                      <a:cubicBezTo>
                        <a:pt x="38" y="41"/>
                        <a:pt x="38" y="40"/>
                        <a:pt x="39" y="40"/>
                      </a:cubicBezTo>
                      <a:cubicBezTo>
                        <a:pt x="40" y="39"/>
                        <a:pt x="42" y="38"/>
                        <a:pt x="44" y="38"/>
                      </a:cubicBezTo>
                      <a:cubicBezTo>
                        <a:pt x="44" y="38"/>
                        <a:pt x="44" y="38"/>
                        <a:pt x="44" y="38"/>
                      </a:cubicBezTo>
                      <a:cubicBezTo>
                        <a:pt x="44" y="37"/>
                        <a:pt x="44" y="37"/>
                        <a:pt x="44" y="37"/>
                      </a:cubicBezTo>
                      <a:cubicBezTo>
                        <a:pt x="40" y="37"/>
                        <a:pt x="39" y="35"/>
                        <a:pt x="39" y="35"/>
                      </a:cubicBezTo>
                      <a:cubicBezTo>
                        <a:pt x="39" y="33"/>
                        <a:pt x="40" y="32"/>
                        <a:pt x="42" y="30"/>
                      </a:cubicBezTo>
                      <a:cubicBezTo>
                        <a:pt x="42" y="30"/>
                        <a:pt x="42" y="30"/>
                        <a:pt x="42" y="30"/>
                      </a:cubicBezTo>
                      <a:cubicBezTo>
                        <a:pt x="43" y="30"/>
                        <a:pt x="43" y="30"/>
                        <a:pt x="43" y="30"/>
                      </a:cubicBezTo>
                      <a:cubicBezTo>
                        <a:pt x="43" y="30"/>
                        <a:pt x="44" y="30"/>
                        <a:pt x="44" y="30"/>
                      </a:cubicBezTo>
                      <a:cubicBezTo>
                        <a:pt x="44" y="30"/>
                        <a:pt x="45" y="30"/>
                        <a:pt x="45" y="30"/>
                      </a:cubicBezTo>
                      <a:cubicBezTo>
                        <a:pt x="45" y="31"/>
                        <a:pt x="46" y="31"/>
                        <a:pt x="46" y="31"/>
                      </a:cubicBezTo>
                      <a:cubicBezTo>
                        <a:pt x="46" y="31"/>
                        <a:pt x="46" y="31"/>
                        <a:pt x="46" y="31"/>
                      </a:cubicBezTo>
                      <a:cubicBezTo>
                        <a:pt x="46" y="30"/>
                        <a:pt x="46" y="30"/>
                        <a:pt x="46" y="30"/>
                      </a:cubicBezTo>
                      <a:cubicBezTo>
                        <a:pt x="45" y="30"/>
                        <a:pt x="45" y="29"/>
                        <a:pt x="46" y="28"/>
                      </a:cubicBezTo>
                      <a:cubicBezTo>
                        <a:pt x="46" y="27"/>
                        <a:pt x="46" y="27"/>
                        <a:pt x="47" y="27"/>
                      </a:cubicBezTo>
                      <a:cubicBezTo>
                        <a:pt x="47" y="27"/>
                        <a:pt x="47" y="27"/>
                        <a:pt x="47" y="27"/>
                      </a:cubicBezTo>
                      <a:cubicBezTo>
                        <a:pt x="47" y="27"/>
                        <a:pt x="46" y="27"/>
                        <a:pt x="46" y="27"/>
                      </a:cubicBezTo>
                      <a:cubicBezTo>
                        <a:pt x="45" y="27"/>
                        <a:pt x="44" y="26"/>
                        <a:pt x="44" y="26"/>
                      </a:cubicBezTo>
                      <a:cubicBezTo>
                        <a:pt x="44" y="26"/>
                        <a:pt x="44" y="26"/>
                        <a:pt x="44" y="26"/>
                      </a:cubicBezTo>
                      <a:cubicBezTo>
                        <a:pt x="43" y="25"/>
                        <a:pt x="43" y="25"/>
                        <a:pt x="43" y="25"/>
                      </a:cubicBezTo>
                      <a:cubicBezTo>
                        <a:pt x="43" y="26"/>
                        <a:pt x="43" y="26"/>
                        <a:pt x="43" y="26"/>
                      </a:cubicBezTo>
                      <a:cubicBezTo>
                        <a:pt x="43" y="26"/>
                        <a:pt x="43" y="26"/>
                        <a:pt x="43" y="26"/>
                      </a:cubicBezTo>
                      <a:cubicBezTo>
                        <a:pt x="43" y="27"/>
                        <a:pt x="42" y="27"/>
                        <a:pt x="42" y="27"/>
                      </a:cubicBezTo>
                      <a:cubicBezTo>
                        <a:pt x="41" y="27"/>
                        <a:pt x="40" y="26"/>
                        <a:pt x="40" y="25"/>
                      </a:cubicBezTo>
                      <a:cubicBezTo>
                        <a:pt x="40" y="24"/>
                        <a:pt x="40" y="23"/>
                        <a:pt x="41" y="23"/>
                      </a:cubicBezTo>
                      <a:cubicBezTo>
                        <a:pt x="41" y="23"/>
                        <a:pt x="42" y="23"/>
                        <a:pt x="42" y="23"/>
                      </a:cubicBezTo>
                      <a:cubicBezTo>
                        <a:pt x="42" y="23"/>
                        <a:pt x="43" y="23"/>
                        <a:pt x="43" y="23"/>
                      </a:cubicBezTo>
                      <a:cubicBezTo>
                        <a:pt x="43" y="23"/>
                        <a:pt x="43" y="23"/>
                        <a:pt x="43" y="23"/>
                      </a:cubicBezTo>
                      <a:cubicBezTo>
                        <a:pt x="43" y="23"/>
                        <a:pt x="43" y="22"/>
                        <a:pt x="44" y="21"/>
                      </a:cubicBezTo>
                      <a:cubicBezTo>
                        <a:pt x="44" y="21"/>
                        <a:pt x="44" y="21"/>
                        <a:pt x="44" y="21"/>
                      </a:cubicBezTo>
                      <a:cubicBezTo>
                        <a:pt x="44" y="21"/>
                        <a:pt x="44" y="21"/>
                        <a:pt x="44" y="21"/>
                      </a:cubicBezTo>
                      <a:cubicBezTo>
                        <a:pt x="44" y="20"/>
                        <a:pt x="45" y="20"/>
                        <a:pt x="45" y="20"/>
                      </a:cubicBezTo>
                      <a:cubicBezTo>
                        <a:pt x="45" y="20"/>
                        <a:pt x="45" y="20"/>
                        <a:pt x="46" y="20"/>
                      </a:cubicBezTo>
                      <a:cubicBezTo>
                        <a:pt x="46" y="20"/>
                        <a:pt x="46" y="20"/>
                        <a:pt x="46" y="20"/>
                      </a:cubicBezTo>
                      <a:cubicBezTo>
                        <a:pt x="47" y="20"/>
                        <a:pt x="47" y="21"/>
                        <a:pt x="47" y="22"/>
                      </a:cubicBezTo>
                      <a:cubicBezTo>
                        <a:pt x="47" y="22"/>
                        <a:pt x="47" y="22"/>
                        <a:pt x="47" y="23"/>
                      </a:cubicBezTo>
                      <a:cubicBezTo>
                        <a:pt x="47" y="23"/>
                        <a:pt x="47" y="23"/>
                        <a:pt x="47" y="23"/>
                      </a:cubicBezTo>
                      <a:cubicBezTo>
                        <a:pt x="47" y="23"/>
                        <a:pt x="47" y="23"/>
                        <a:pt x="47" y="24"/>
                      </a:cubicBezTo>
                      <a:cubicBezTo>
                        <a:pt x="47" y="24"/>
                        <a:pt x="47" y="24"/>
                        <a:pt x="47" y="24"/>
                      </a:cubicBezTo>
                      <a:cubicBezTo>
                        <a:pt x="48" y="24"/>
                        <a:pt x="49" y="25"/>
                        <a:pt x="48" y="26"/>
                      </a:cubicBezTo>
                      <a:cubicBezTo>
                        <a:pt x="48" y="26"/>
                        <a:pt x="48" y="26"/>
                        <a:pt x="48" y="26"/>
                      </a:cubicBezTo>
                      <a:cubicBezTo>
                        <a:pt x="48" y="26"/>
                        <a:pt x="48" y="26"/>
                        <a:pt x="48" y="26"/>
                      </a:cubicBezTo>
                      <a:cubicBezTo>
                        <a:pt x="48" y="26"/>
                        <a:pt x="49" y="26"/>
                        <a:pt x="49" y="26"/>
                      </a:cubicBezTo>
                      <a:cubicBezTo>
                        <a:pt x="51" y="26"/>
                        <a:pt x="51" y="26"/>
                        <a:pt x="52" y="25"/>
                      </a:cubicBezTo>
                      <a:cubicBezTo>
                        <a:pt x="52" y="25"/>
                        <a:pt x="52" y="25"/>
                        <a:pt x="52" y="25"/>
                      </a:cubicBezTo>
                      <a:cubicBezTo>
                        <a:pt x="52" y="25"/>
                        <a:pt x="52" y="25"/>
                        <a:pt x="52" y="25"/>
                      </a:cubicBezTo>
                      <a:cubicBezTo>
                        <a:pt x="52" y="25"/>
                        <a:pt x="52" y="25"/>
                        <a:pt x="52" y="25"/>
                      </a:cubicBezTo>
                      <a:cubicBezTo>
                        <a:pt x="52" y="25"/>
                        <a:pt x="52" y="25"/>
                        <a:pt x="52" y="25"/>
                      </a:cubicBezTo>
                      <a:cubicBezTo>
                        <a:pt x="52" y="25"/>
                        <a:pt x="52" y="25"/>
                        <a:pt x="52" y="25"/>
                      </a:cubicBezTo>
                      <a:cubicBezTo>
                        <a:pt x="52" y="25"/>
                        <a:pt x="52" y="25"/>
                        <a:pt x="52" y="25"/>
                      </a:cubicBezTo>
                      <a:cubicBezTo>
                        <a:pt x="52" y="25"/>
                        <a:pt x="52" y="25"/>
                        <a:pt x="52" y="25"/>
                      </a:cubicBezTo>
                      <a:cubicBezTo>
                        <a:pt x="52" y="25"/>
                        <a:pt x="52" y="25"/>
                        <a:pt x="52" y="25"/>
                      </a:cubicBezTo>
                      <a:cubicBezTo>
                        <a:pt x="53" y="24"/>
                        <a:pt x="53" y="24"/>
                        <a:pt x="53" y="23"/>
                      </a:cubicBezTo>
                      <a:cubicBezTo>
                        <a:pt x="53" y="22"/>
                        <a:pt x="53" y="22"/>
                        <a:pt x="53" y="22"/>
                      </a:cubicBezTo>
                      <a:cubicBezTo>
                        <a:pt x="53" y="22"/>
                        <a:pt x="53" y="22"/>
                        <a:pt x="53" y="22"/>
                      </a:cubicBezTo>
                      <a:cubicBezTo>
                        <a:pt x="54" y="22"/>
                        <a:pt x="54" y="22"/>
                        <a:pt x="54" y="22"/>
                      </a:cubicBezTo>
                      <a:cubicBezTo>
                        <a:pt x="53" y="22"/>
                        <a:pt x="53" y="22"/>
                        <a:pt x="53" y="22"/>
                      </a:cubicBezTo>
                      <a:cubicBezTo>
                        <a:pt x="53" y="21"/>
                        <a:pt x="52" y="21"/>
                        <a:pt x="52" y="21"/>
                      </a:cubicBezTo>
                      <a:cubicBezTo>
                        <a:pt x="52" y="20"/>
                        <a:pt x="52" y="19"/>
                        <a:pt x="53" y="19"/>
                      </a:cubicBezTo>
                      <a:cubicBezTo>
                        <a:pt x="56" y="15"/>
                        <a:pt x="58" y="13"/>
                        <a:pt x="62" y="13"/>
                      </a:cubicBezTo>
                      <a:cubicBezTo>
                        <a:pt x="63" y="13"/>
                        <a:pt x="63" y="13"/>
                        <a:pt x="63" y="13"/>
                      </a:cubicBezTo>
                      <a:cubicBezTo>
                        <a:pt x="64" y="13"/>
                        <a:pt x="65" y="13"/>
                        <a:pt x="66" y="13"/>
                      </a:cubicBezTo>
                      <a:cubicBezTo>
                        <a:pt x="67" y="13"/>
                        <a:pt x="68" y="13"/>
                        <a:pt x="69" y="13"/>
                      </a:cubicBezTo>
                      <a:cubicBezTo>
                        <a:pt x="70" y="14"/>
                        <a:pt x="71" y="14"/>
                        <a:pt x="71" y="15"/>
                      </a:cubicBezTo>
                      <a:cubicBezTo>
                        <a:pt x="71" y="16"/>
                        <a:pt x="71" y="16"/>
                        <a:pt x="70" y="17"/>
                      </a:cubicBezTo>
                      <a:cubicBezTo>
                        <a:pt x="69" y="17"/>
                        <a:pt x="69" y="17"/>
                        <a:pt x="69" y="17"/>
                      </a:cubicBezTo>
                      <a:cubicBezTo>
                        <a:pt x="70" y="17"/>
                        <a:pt x="70" y="17"/>
                        <a:pt x="70" y="17"/>
                      </a:cubicBezTo>
                      <a:cubicBezTo>
                        <a:pt x="71" y="17"/>
                        <a:pt x="72" y="16"/>
                        <a:pt x="73" y="15"/>
                      </a:cubicBezTo>
                      <a:cubicBezTo>
                        <a:pt x="74" y="15"/>
                        <a:pt x="78" y="13"/>
                        <a:pt x="80" y="13"/>
                      </a:cubicBezTo>
                      <a:cubicBezTo>
                        <a:pt x="80" y="13"/>
                        <a:pt x="80" y="13"/>
                        <a:pt x="80" y="13"/>
                      </a:cubicBezTo>
                      <a:cubicBezTo>
                        <a:pt x="80" y="13"/>
                        <a:pt x="80" y="13"/>
                        <a:pt x="80" y="13"/>
                      </a:cubicBezTo>
                      <a:cubicBezTo>
                        <a:pt x="80" y="13"/>
                        <a:pt x="80" y="13"/>
                        <a:pt x="80" y="13"/>
                      </a:cubicBezTo>
                      <a:cubicBezTo>
                        <a:pt x="83" y="14"/>
                        <a:pt x="85" y="16"/>
                        <a:pt x="87" y="18"/>
                      </a:cubicBezTo>
                      <a:cubicBezTo>
                        <a:pt x="87" y="18"/>
                        <a:pt x="86" y="18"/>
                        <a:pt x="86" y="18"/>
                      </a:cubicBezTo>
                      <a:cubicBezTo>
                        <a:pt x="86" y="18"/>
                        <a:pt x="86" y="18"/>
                        <a:pt x="86" y="18"/>
                      </a:cubicBezTo>
                      <a:cubicBezTo>
                        <a:pt x="86" y="18"/>
                        <a:pt x="85" y="18"/>
                        <a:pt x="85" y="18"/>
                      </a:cubicBezTo>
                      <a:cubicBezTo>
                        <a:pt x="85" y="18"/>
                        <a:pt x="85" y="18"/>
                        <a:pt x="85" y="18"/>
                      </a:cubicBezTo>
                      <a:cubicBezTo>
                        <a:pt x="85" y="17"/>
                        <a:pt x="84" y="17"/>
                        <a:pt x="84" y="17"/>
                      </a:cubicBezTo>
                      <a:cubicBezTo>
                        <a:pt x="83" y="17"/>
                        <a:pt x="83" y="17"/>
                        <a:pt x="83" y="16"/>
                      </a:cubicBezTo>
                      <a:cubicBezTo>
                        <a:pt x="82" y="16"/>
                        <a:pt x="81" y="16"/>
                        <a:pt x="80" y="16"/>
                      </a:cubicBezTo>
                      <a:cubicBezTo>
                        <a:pt x="80" y="16"/>
                        <a:pt x="80" y="16"/>
                        <a:pt x="80" y="16"/>
                      </a:cubicBezTo>
                      <a:cubicBezTo>
                        <a:pt x="80" y="16"/>
                        <a:pt x="80" y="16"/>
                        <a:pt x="80" y="16"/>
                      </a:cubicBezTo>
                      <a:cubicBezTo>
                        <a:pt x="79" y="16"/>
                        <a:pt x="79" y="16"/>
                        <a:pt x="78" y="16"/>
                      </a:cubicBezTo>
                      <a:cubicBezTo>
                        <a:pt x="77" y="16"/>
                        <a:pt x="77" y="16"/>
                        <a:pt x="76" y="17"/>
                      </a:cubicBezTo>
                      <a:cubicBezTo>
                        <a:pt x="76" y="17"/>
                        <a:pt x="76" y="17"/>
                        <a:pt x="76" y="17"/>
                      </a:cubicBezTo>
                      <a:cubicBezTo>
                        <a:pt x="76" y="17"/>
                        <a:pt x="76" y="17"/>
                        <a:pt x="76" y="17"/>
                      </a:cubicBezTo>
                      <a:cubicBezTo>
                        <a:pt x="76" y="17"/>
                        <a:pt x="76" y="17"/>
                        <a:pt x="76" y="17"/>
                      </a:cubicBezTo>
                      <a:cubicBezTo>
                        <a:pt x="76" y="17"/>
                        <a:pt x="77" y="18"/>
                        <a:pt x="79" y="18"/>
                      </a:cubicBezTo>
                      <a:cubicBezTo>
                        <a:pt x="79" y="18"/>
                        <a:pt x="79" y="18"/>
                        <a:pt x="79" y="18"/>
                      </a:cubicBezTo>
                      <a:cubicBezTo>
                        <a:pt x="79" y="18"/>
                        <a:pt x="80" y="18"/>
                        <a:pt x="80" y="18"/>
                      </a:cubicBezTo>
                      <a:cubicBezTo>
                        <a:pt x="80" y="18"/>
                        <a:pt x="80" y="18"/>
                        <a:pt x="80" y="18"/>
                      </a:cubicBezTo>
                      <a:cubicBezTo>
                        <a:pt x="80" y="18"/>
                        <a:pt x="80" y="18"/>
                        <a:pt x="81" y="18"/>
                      </a:cubicBezTo>
                      <a:cubicBezTo>
                        <a:pt x="83" y="18"/>
                        <a:pt x="85" y="18"/>
                        <a:pt x="86" y="19"/>
                      </a:cubicBezTo>
                      <a:cubicBezTo>
                        <a:pt x="86" y="19"/>
                        <a:pt x="87" y="19"/>
                        <a:pt x="87" y="20"/>
                      </a:cubicBezTo>
                      <a:cubicBezTo>
                        <a:pt x="87" y="20"/>
                        <a:pt x="87" y="20"/>
                        <a:pt x="87" y="20"/>
                      </a:cubicBezTo>
                      <a:cubicBezTo>
                        <a:pt x="87" y="20"/>
                        <a:pt x="87" y="20"/>
                        <a:pt x="87" y="20"/>
                      </a:cubicBezTo>
                      <a:cubicBezTo>
                        <a:pt x="88" y="19"/>
                        <a:pt x="88" y="19"/>
                        <a:pt x="88" y="19"/>
                      </a:cubicBezTo>
                      <a:cubicBezTo>
                        <a:pt x="89" y="20"/>
                        <a:pt x="90" y="20"/>
                        <a:pt x="90" y="21"/>
                      </a:cubicBezTo>
                      <a:cubicBezTo>
                        <a:pt x="98" y="28"/>
                        <a:pt x="103" y="38"/>
                        <a:pt x="104" y="48"/>
                      </a:cubicBezTo>
                      <a:cubicBezTo>
                        <a:pt x="104" y="49"/>
                        <a:pt x="104" y="49"/>
                        <a:pt x="103" y="51"/>
                      </a:cubicBezTo>
                      <a:cubicBezTo>
                        <a:pt x="103" y="52"/>
                        <a:pt x="103" y="53"/>
                        <a:pt x="103" y="54"/>
                      </a:cubicBezTo>
                      <a:cubicBezTo>
                        <a:pt x="104" y="56"/>
                        <a:pt x="104" y="58"/>
                        <a:pt x="103" y="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900" b="0" i="0" u="none" strike="noStrike" kern="1200" cap="none" spc="0" normalizeH="0" baseline="0" noProof="0">
                    <a:ln>
                      <a:noFill/>
                    </a:ln>
                    <a:solidFill>
                      <a:srgbClr val="FFFFFF"/>
                    </a:solidFill>
                    <a:effectLst/>
                    <a:uLnTx/>
                    <a:uFillTx/>
                    <a:ea typeface="+mn-ea"/>
                    <a:cs typeface="+mn-cs"/>
                  </a:endParaRPr>
                </a:p>
              </p:txBody>
            </p:sp>
            <p:sp>
              <p:nvSpPr>
                <p:cNvPr id="42" name="Freeform 108">
                  <a:extLst>
                    <a:ext uri="{FF2B5EF4-FFF2-40B4-BE49-F238E27FC236}">
                      <a16:creationId xmlns:a16="http://schemas.microsoft.com/office/drawing/2014/main" id="{38B858B2-3768-EBE6-FE9F-DC4FDD5D72C7}"/>
                    </a:ext>
                  </a:extLst>
                </p:cNvPr>
                <p:cNvSpPr>
                  <a:spLocks/>
                </p:cNvSpPr>
                <p:nvPr/>
              </p:nvSpPr>
              <p:spPr bwMode="auto">
                <a:xfrm rot="20158461">
                  <a:off x="2211483" y="899224"/>
                  <a:ext cx="355600" cy="444500"/>
                </a:xfrm>
                <a:custGeom>
                  <a:avLst/>
                  <a:gdLst>
                    <a:gd name="T0" fmla="*/ 60 w 95"/>
                    <a:gd name="T1" fmla="*/ 118 h 118"/>
                    <a:gd name="T2" fmla="*/ 53 w 95"/>
                    <a:gd name="T3" fmla="*/ 0 h 118"/>
                    <a:gd name="T4" fmla="*/ 93 w 95"/>
                    <a:gd name="T5" fmla="*/ 58 h 118"/>
                    <a:gd name="T6" fmla="*/ 68 w 95"/>
                    <a:gd name="T7" fmla="*/ 114 h 118"/>
                    <a:gd name="T8" fmla="*/ 60 w 95"/>
                    <a:gd name="T9" fmla="*/ 28 h 118"/>
                    <a:gd name="T10" fmla="*/ 60 w 95"/>
                    <a:gd name="T11" fmla="*/ 118 h 118"/>
                  </a:gdLst>
                  <a:ahLst/>
                  <a:cxnLst>
                    <a:cxn ang="0">
                      <a:pos x="T0" y="T1"/>
                    </a:cxn>
                    <a:cxn ang="0">
                      <a:pos x="T2" y="T3"/>
                    </a:cxn>
                    <a:cxn ang="0">
                      <a:pos x="T4" y="T5"/>
                    </a:cxn>
                    <a:cxn ang="0">
                      <a:pos x="T6" y="T7"/>
                    </a:cxn>
                    <a:cxn ang="0">
                      <a:pos x="T8" y="T9"/>
                    </a:cxn>
                    <a:cxn ang="0">
                      <a:pos x="T10" y="T11"/>
                    </a:cxn>
                  </a:cxnLst>
                  <a:rect l="0" t="0" r="r" b="b"/>
                  <a:pathLst>
                    <a:path w="95" h="118">
                      <a:moveTo>
                        <a:pt x="60" y="118"/>
                      </a:moveTo>
                      <a:cubicBezTo>
                        <a:pt x="38" y="104"/>
                        <a:pt x="0" y="65"/>
                        <a:pt x="53" y="0"/>
                      </a:cubicBezTo>
                      <a:cubicBezTo>
                        <a:pt x="59" y="12"/>
                        <a:pt x="90" y="23"/>
                        <a:pt x="93" y="58"/>
                      </a:cubicBezTo>
                      <a:cubicBezTo>
                        <a:pt x="95" y="93"/>
                        <a:pt x="68" y="114"/>
                        <a:pt x="68" y="114"/>
                      </a:cubicBezTo>
                      <a:cubicBezTo>
                        <a:pt x="74" y="80"/>
                        <a:pt x="52" y="69"/>
                        <a:pt x="60" y="28"/>
                      </a:cubicBezTo>
                      <a:cubicBezTo>
                        <a:pt x="44" y="58"/>
                        <a:pt x="73" y="100"/>
                        <a:pt x="60" y="118"/>
                      </a:cubicBezTo>
                      <a:close/>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900" b="0" i="0" u="none" strike="noStrike" kern="1200" cap="none" spc="0" normalizeH="0" baseline="0" noProof="0">
                    <a:ln>
                      <a:noFill/>
                    </a:ln>
                    <a:solidFill>
                      <a:srgbClr val="FFFFFF"/>
                    </a:solidFill>
                    <a:effectLst/>
                    <a:uLnTx/>
                    <a:uFillTx/>
                    <a:ea typeface="+mn-ea"/>
                    <a:cs typeface="+mn-cs"/>
                  </a:endParaRPr>
                </a:p>
              </p:txBody>
            </p:sp>
          </p:grpSp>
        </p:grpSp>
        <p:sp>
          <p:nvSpPr>
            <p:cNvPr id="36" name="TextBox 35">
              <a:extLst>
                <a:ext uri="{FF2B5EF4-FFF2-40B4-BE49-F238E27FC236}">
                  <a16:creationId xmlns:a16="http://schemas.microsoft.com/office/drawing/2014/main" id="{68B41304-2932-069A-D484-DBC08389C602}"/>
                </a:ext>
              </a:extLst>
            </p:cNvPr>
            <p:cNvSpPr txBox="1"/>
            <p:nvPr/>
          </p:nvSpPr>
          <p:spPr>
            <a:xfrm>
              <a:off x="1558686" y="1775989"/>
              <a:ext cx="2266080" cy="830997"/>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prstClr val="black"/>
                  </a:solidFill>
                  <a:effectLst/>
                  <a:uLnTx/>
                  <a:uFillTx/>
                  <a:ea typeface="+mn-ea"/>
                  <a:cs typeface="+mn-cs"/>
                </a:rPr>
                <a:t>Une dimension </a:t>
              </a:r>
              <a:r>
                <a:rPr kumimoji="0" lang="fr-FR" sz="1200" b="1" i="0" u="none" strike="noStrike" kern="1200" cap="none" spc="0" normalizeH="0" baseline="0" noProof="0">
                  <a:ln>
                    <a:noFill/>
                  </a:ln>
                  <a:solidFill>
                    <a:prstClr val="black"/>
                  </a:solidFill>
                  <a:effectLst/>
                  <a:uLnTx/>
                  <a:uFillTx/>
                  <a:ea typeface="+mn-ea"/>
                  <a:cs typeface="+mn-cs"/>
                </a:rPr>
                <a:t>environnementale </a:t>
              </a:r>
              <a:r>
                <a:rPr kumimoji="0" lang="fr-FR" sz="1200" b="0" i="0" u="none" strike="noStrike" kern="1200" cap="none" spc="0" normalizeH="0" baseline="0" noProof="0">
                  <a:ln>
                    <a:noFill/>
                  </a:ln>
                  <a:solidFill>
                    <a:prstClr val="black"/>
                  </a:solidFill>
                  <a:effectLst/>
                  <a:uLnTx/>
                  <a:uFillTx/>
                  <a:ea typeface="+mn-ea"/>
                  <a:cs typeface="+mn-cs"/>
                </a:rPr>
                <a:t>grandissante qui change les nécessités.</a:t>
              </a:r>
              <a:endParaRPr kumimoji="0" lang="fr-FR" sz="1200" b="1" i="0" u="none" strike="noStrike" kern="1200" cap="none" spc="0" normalizeH="0" baseline="0" noProof="0">
                <a:ln>
                  <a:noFill/>
                </a:ln>
                <a:solidFill>
                  <a:prstClr val="black"/>
                </a:solidFill>
                <a:effectLst/>
                <a:uLnTx/>
                <a:uFillTx/>
                <a:ea typeface="+mn-ea"/>
                <a:cs typeface="+mn-cs"/>
              </a:endParaRPr>
            </a:p>
          </p:txBody>
        </p:sp>
      </p:grpSp>
      <p:sp>
        <p:nvSpPr>
          <p:cNvPr id="43" name="Rectangle 42">
            <a:extLst>
              <a:ext uri="{FF2B5EF4-FFF2-40B4-BE49-F238E27FC236}">
                <a16:creationId xmlns:a16="http://schemas.microsoft.com/office/drawing/2014/main" id="{FC7740A1-3782-37EC-2922-9F21AA474B4D}"/>
              </a:ext>
            </a:extLst>
          </p:cNvPr>
          <p:cNvSpPr/>
          <p:nvPr/>
        </p:nvSpPr>
        <p:spPr>
          <a:xfrm>
            <a:off x="4381814" y="1694602"/>
            <a:ext cx="3398147" cy="3706277"/>
          </a:xfrm>
          <a:prstGeom prst="rect">
            <a:avLst/>
          </a:prstGeom>
          <a:solidFill>
            <a:srgbClr val="09617D">
              <a:alpha val="2902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cxnSp>
        <p:nvCxnSpPr>
          <p:cNvPr id="44" name="Straight Connector 43">
            <a:extLst>
              <a:ext uri="{FF2B5EF4-FFF2-40B4-BE49-F238E27FC236}">
                <a16:creationId xmlns:a16="http://schemas.microsoft.com/office/drawing/2014/main" id="{2D99F3A5-1C82-0E4E-990E-2951C9D8AE93}"/>
              </a:ext>
            </a:extLst>
          </p:cNvPr>
          <p:cNvCxnSpPr/>
          <p:nvPr/>
        </p:nvCxnSpPr>
        <p:spPr>
          <a:xfrm>
            <a:off x="4381814" y="1694602"/>
            <a:ext cx="3398147" cy="0"/>
          </a:xfrm>
          <a:prstGeom prst="line">
            <a:avLst/>
          </a:prstGeom>
          <a:ln w="19050">
            <a:solidFill>
              <a:srgbClr val="055C8C"/>
            </a:solidFill>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2F848604-1019-0A8A-6A42-A490B0D4CEC2}"/>
              </a:ext>
            </a:extLst>
          </p:cNvPr>
          <p:cNvSpPr/>
          <p:nvPr/>
        </p:nvSpPr>
        <p:spPr>
          <a:xfrm>
            <a:off x="8258578" y="1694602"/>
            <a:ext cx="3398147" cy="3706277"/>
          </a:xfrm>
          <a:prstGeom prst="rect">
            <a:avLst/>
          </a:prstGeom>
          <a:solidFill>
            <a:srgbClr val="09617D">
              <a:alpha val="2902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cxnSp>
        <p:nvCxnSpPr>
          <p:cNvPr id="46" name="Straight Connector 45">
            <a:extLst>
              <a:ext uri="{FF2B5EF4-FFF2-40B4-BE49-F238E27FC236}">
                <a16:creationId xmlns:a16="http://schemas.microsoft.com/office/drawing/2014/main" id="{B87DD264-51FD-6E25-23A5-C6EF87A4BAE6}"/>
              </a:ext>
            </a:extLst>
          </p:cNvPr>
          <p:cNvCxnSpPr/>
          <p:nvPr/>
        </p:nvCxnSpPr>
        <p:spPr>
          <a:xfrm>
            <a:off x="8258578" y="1694602"/>
            <a:ext cx="3398147" cy="0"/>
          </a:xfrm>
          <a:prstGeom prst="line">
            <a:avLst/>
          </a:prstGeom>
          <a:ln w="19050">
            <a:solidFill>
              <a:srgbClr val="055C8C"/>
            </a:solidFill>
          </a:ln>
        </p:spPr>
        <p:style>
          <a:lnRef idx="1">
            <a:schemeClr val="accent1"/>
          </a:lnRef>
          <a:fillRef idx="0">
            <a:schemeClr val="accent1"/>
          </a:fillRef>
          <a:effectRef idx="0">
            <a:schemeClr val="accent1"/>
          </a:effectRef>
          <a:fontRef idx="minor">
            <a:schemeClr val="tx1"/>
          </a:fontRef>
        </p:style>
      </p:cxnSp>
      <p:grpSp>
        <p:nvGrpSpPr>
          <p:cNvPr id="47" name="Group 46">
            <a:extLst>
              <a:ext uri="{FF2B5EF4-FFF2-40B4-BE49-F238E27FC236}">
                <a16:creationId xmlns:a16="http://schemas.microsoft.com/office/drawing/2014/main" id="{4DAA4882-53FF-1992-DD97-A4BEC56513B9}"/>
              </a:ext>
            </a:extLst>
          </p:cNvPr>
          <p:cNvGrpSpPr/>
          <p:nvPr/>
        </p:nvGrpSpPr>
        <p:grpSpPr>
          <a:xfrm>
            <a:off x="8447756" y="4313351"/>
            <a:ext cx="770809" cy="700006"/>
            <a:chOff x="335360" y="1628800"/>
            <a:chExt cx="1399962" cy="1271367"/>
          </a:xfrm>
        </p:grpSpPr>
        <p:sp>
          <p:nvSpPr>
            <p:cNvPr id="48" name="Freeform 31">
              <a:extLst>
                <a:ext uri="{FF2B5EF4-FFF2-40B4-BE49-F238E27FC236}">
                  <a16:creationId xmlns:a16="http://schemas.microsoft.com/office/drawing/2014/main" id="{2A9F5E44-EF48-2C17-CB7E-FA5D29D2391D}"/>
                </a:ext>
              </a:extLst>
            </p:cNvPr>
            <p:cNvSpPr>
              <a:spLocks/>
            </p:cNvSpPr>
            <p:nvPr/>
          </p:nvSpPr>
          <p:spPr bwMode="auto">
            <a:xfrm>
              <a:off x="335360" y="1628800"/>
              <a:ext cx="1359985" cy="1271367"/>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w="9525">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sp>
          <p:nvSpPr>
            <p:cNvPr id="49" name="Ellipse 1">
              <a:extLst>
                <a:ext uri="{FF2B5EF4-FFF2-40B4-BE49-F238E27FC236}">
                  <a16:creationId xmlns:a16="http://schemas.microsoft.com/office/drawing/2014/main" id="{14C3BB41-390C-C589-3DC4-2989CB869BEA}"/>
                </a:ext>
              </a:extLst>
            </p:cNvPr>
            <p:cNvSpPr/>
            <p:nvPr/>
          </p:nvSpPr>
          <p:spPr>
            <a:xfrm>
              <a:off x="730501" y="1918357"/>
              <a:ext cx="144016" cy="144016"/>
            </a:xfrm>
            <a:prstGeom prst="ellipse">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sp>
          <p:nvSpPr>
            <p:cNvPr id="50" name="Ellipse 23">
              <a:extLst>
                <a:ext uri="{FF2B5EF4-FFF2-40B4-BE49-F238E27FC236}">
                  <a16:creationId xmlns:a16="http://schemas.microsoft.com/office/drawing/2014/main" id="{EBF99590-6255-FBBF-0E0C-B9FA07FAF7B0}"/>
                </a:ext>
              </a:extLst>
            </p:cNvPr>
            <p:cNvSpPr/>
            <p:nvPr/>
          </p:nvSpPr>
          <p:spPr>
            <a:xfrm>
              <a:off x="1212923" y="2033209"/>
              <a:ext cx="144016" cy="144016"/>
            </a:xfrm>
            <a:prstGeom prst="ellipse">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sp>
          <p:nvSpPr>
            <p:cNvPr id="51" name="Ellipse 24">
              <a:extLst>
                <a:ext uri="{FF2B5EF4-FFF2-40B4-BE49-F238E27FC236}">
                  <a16:creationId xmlns:a16="http://schemas.microsoft.com/office/drawing/2014/main" id="{DDDA940A-486C-B2C0-EEEF-3CE02AAA1879}"/>
                </a:ext>
              </a:extLst>
            </p:cNvPr>
            <p:cNvSpPr/>
            <p:nvPr/>
          </p:nvSpPr>
          <p:spPr>
            <a:xfrm>
              <a:off x="595228" y="2476343"/>
              <a:ext cx="144016" cy="144016"/>
            </a:xfrm>
            <a:prstGeom prst="ellipse">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sp>
          <p:nvSpPr>
            <p:cNvPr id="52" name="Ellipse 25">
              <a:extLst>
                <a:ext uri="{FF2B5EF4-FFF2-40B4-BE49-F238E27FC236}">
                  <a16:creationId xmlns:a16="http://schemas.microsoft.com/office/drawing/2014/main" id="{943DE936-F526-6EAE-2480-C9417033C658}"/>
                </a:ext>
              </a:extLst>
            </p:cNvPr>
            <p:cNvSpPr/>
            <p:nvPr/>
          </p:nvSpPr>
          <p:spPr>
            <a:xfrm>
              <a:off x="1050021" y="2404335"/>
              <a:ext cx="144016" cy="144016"/>
            </a:xfrm>
            <a:prstGeom prst="ellipse">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cxnSp>
          <p:nvCxnSpPr>
            <p:cNvPr id="53" name="Connecteur droit 4">
              <a:extLst>
                <a:ext uri="{FF2B5EF4-FFF2-40B4-BE49-F238E27FC236}">
                  <a16:creationId xmlns:a16="http://schemas.microsoft.com/office/drawing/2014/main" id="{BA3A2986-6E78-81F3-DBB4-AE26BBAC52C2}"/>
                </a:ext>
              </a:extLst>
            </p:cNvPr>
            <p:cNvCxnSpPr>
              <a:stCxn id="52" idx="1"/>
              <a:endCxn id="49" idx="5"/>
            </p:cNvCxnSpPr>
            <p:nvPr/>
          </p:nvCxnSpPr>
          <p:spPr>
            <a:xfrm flipH="1" flipV="1">
              <a:off x="853426" y="2041282"/>
              <a:ext cx="217686" cy="384144"/>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6" name="Connecteur droit 36">
              <a:extLst>
                <a:ext uri="{FF2B5EF4-FFF2-40B4-BE49-F238E27FC236}">
                  <a16:creationId xmlns:a16="http://schemas.microsoft.com/office/drawing/2014/main" id="{9FDC8FB5-EAA6-2F5C-FBF4-85B04C2BFCAB}"/>
                </a:ext>
              </a:extLst>
            </p:cNvPr>
            <p:cNvCxnSpPr>
              <a:stCxn id="50" idx="2"/>
              <a:endCxn id="49" idx="6"/>
            </p:cNvCxnSpPr>
            <p:nvPr/>
          </p:nvCxnSpPr>
          <p:spPr>
            <a:xfrm flipH="1" flipV="1">
              <a:off x="874517" y="1990365"/>
              <a:ext cx="338406" cy="114852"/>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7" name="Connecteur droit 37">
              <a:extLst>
                <a:ext uri="{FF2B5EF4-FFF2-40B4-BE49-F238E27FC236}">
                  <a16:creationId xmlns:a16="http://schemas.microsoft.com/office/drawing/2014/main" id="{745AA007-15BC-9744-7C43-609696545FC9}"/>
                </a:ext>
              </a:extLst>
            </p:cNvPr>
            <p:cNvCxnSpPr>
              <a:stCxn id="49" idx="3"/>
              <a:endCxn id="51" idx="0"/>
            </p:cNvCxnSpPr>
            <p:nvPr/>
          </p:nvCxnSpPr>
          <p:spPr>
            <a:xfrm flipH="1">
              <a:off x="667236" y="2041282"/>
              <a:ext cx="84356" cy="435061"/>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8" name="Connecteur droit 38">
              <a:extLst>
                <a:ext uri="{FF2B5EF4-FFF2-40B4-BE49-F238E27FC236}">
                  <a16:creationId xmlns:a16="http://schemas.microsoft.com/office/drawing/2014/main" id="{A81DE88F-420F-4286-CAD4-AEC3A058004A}"/>
                </a:ext>
              </a:extLst>
            </p:cNvPr>
            <p:cNvCxnSpPr>
              <a:stCxn id="52" idx="2"/>
              <a:endCxn id="51" idx="6"/>
            </p:cNvCxnSpPr>
            <p:nvPr/>
          </p:nvCxnSpPr>
          <p:spPr>
            <a:xfrm flipH="1">
              <a:off x="739244" y="2476343"/>
              <a:ext cx="310777" cy="72008"/>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9" name="Connecteur droit 39">
              <a:extLst>
                <a:ext uri="{FF2B5EF4-FFF2-40B4-BE49-F238E27FC236}">
                  <a16:creationId xmlns:a16="http://schemas.microsoft.com/office/drawing/2014/main" id="{954147C8-1671-2796-F52C-F8CE6BB949A8}"/>
                </a:ext>
              </a:extLst>
            </p:cNvPr>
            <p:cNvCxnSpPr>
              <a:stCxn id="50" idx="4"/>
              <a:endCxn id="52" idx="7"/>
            </p:cNvCxnSpPr>
            <p:nvPr/>
          </p:nvCxnSpPr>
          <p:spPr>
            <a:xfrm flipH="1">
              <a:off x="1172946" y="2177225"/>
              <a:ext cx="111985" cy="248201"/>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0" name="Connecteur droit 40">
              <a:extLst>
                <a:ext uri="{FF2B5EF4-FFF2-40B4-BE49-F238E27FC236}">
                  <a16:creationId xmlns:a16="http://schemas.microsoft.com/office/drawing/2014/main" id="{92CEC2C8-C1F5-E682-AAE9-B0A7ACC9DB2A}"/>
                </a:ext>
              </a:extLst>
            </p:cNvPr>
            <p:cNvCxnSpPr>
              <a:endCxn id="50" idx="6"/>
            </p:cNvCxnSpPr>
            <p:nvPr/>
          </p:nvCxnSpPr>
          <p:spPr>
            <a:xfrm flipH="1">
              <a:off x="1356939" y="2062373"/>
              <a:ext cx="378383" cy="42844"/>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1" name="Connecteur droit 43">
              <a:extLst>
                <a:ext uri="{FF2B5EF4-FFF2-40B4-BE49-F238E27FC236}">
                  <a16:creationId xmlns:a16="http://schemas.microsoft.com/office/drawing/2014/main" id="{B9EFFDF5-5FB2-4E6B-359B-DC3CA8A6F624}"/>
                </a:ext>
              </a:extLst>
            </p:cNvPr>
            <p:cNvCxnSpPr>
              <a:stCxn id="50" idx="3"/>
              <a:endCxn id="51" idx="7"/>
            </p:cNvCxnSpPr>
            <p:nvPr/>
          </p:nvCxnSpPr>
          <p:spPr>
            <a:xfrm flipH="1">
              <a:off x="718153" y="2156134"/>
              <a:ext cx="515861" cy="34130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2" name="Connecteur droit 46">
              <a:extLst>
                <a:ext uri="{FF2B5EF4-FFF2-40B4-BE49-F238E27FC236}">
                  <a16:creationId xmlns:a16="http://schemas.microsoft.com/office/drawing/2014/main" id="{18D24E2D-E54B-D8EA-7E2B-42F87AB6D1D2}"/>
                </a:ext>
              </a:extLst>
            </p:cNvPr>
            <p:cNvCxnSpPr>
              <a:stCxn id="49" idx="1"/>
            </p:cNvCxnSpPr>
            <p:nvPr/>
          </p:nvCxnSpPr>
          <p:spPr>
            <a:xfrm flipH="1" flipV="1">
              <a:off x="576887" y="1726698"/>
              <a:ext cx="174705" cy="21275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3" name="Connecteur droit 49">
              <a:extLst>
                <a:ext uri="{FF2B5EF4-FFF2-40B4-BE49-F238E27FC236}">
                  <a16:creationId xmlns:a16="http://schemas.microsoft.com/office/drawing/2014/main" id="{3C4F9B0D-BFF6-0EC1-0570-575F145C5D17}"/>
                </a:ext>
              </a:extLst>
            </p:cNvPr>
            <p:cNvCxnSpPr>
              <a:cxnSpLocks/>
              <a:stCxn id="52" idx="5"/>
            </p:cNvCxnSpPr>
            <p:nvPr/>
          </p:nvCxnSpPr>
          <p:spPr>
            <a:xfrm>
              <a:off x="1172946" y="2527260"/>
              <a:ext cx="174386" cy="184137"/>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64" name="Groupe 28">
            <a:extLst>
              <a:ext uri="{FF2B5EF4-FFF2-40B4-BE49-F238E27FC236}">
                <a16:creationId xmlns:a16="http://schemas.microsoft.com/office/drawing/2014/main" id="{293F4F10-817E-1832-83A6-1381BB03CA1C}"/>
              </a:ext>
            </a:extLst>
          </p:cNvPr>
          <p:cNvGrpSpPr>
            <a:grpSpLocks noChangeAspect="1"/>
          </p:cNvGrpSpPr>
          <p:nvPr/>
        </p:nvGrpSpPr>
        <p:grpSpPr>
          <a:xfrm>
            <a:off x="4596296" y="3075491"/>
            <a:ext cx="770110" cy="720000"/>
            <a:chOff x="5189788" y="1396153"/>
            <a:chExt cx="770110" cy="720000"/>
          </a:xfrm>
        </p:grpSpPr>
        <p:sp>
          <p:nvSpPr>
            <p:cNvPr id="65" name="Freeform 225">
              <a:extLst>
                <a:ext uri="{FF2B5EF4-FFF2-40B4-BE49-F238E27FC236}">
                  <a16:creationId xmlns:a16="http://schemas.microsoft.com/office/drawing/2014/main" id="{996272E6-B133-7D67-C859-00D6A71436B6}"/>
                </a:ext>
              </a:extLst>
            </p:cNvPr>
            <p:cNvSpPr>
              <a:spLocks/>
            </p:cNvSpPr>
            <p:nvPr/>
          </p:nvSpPr>
          <p:spPr bwMode="auto">
            <a:xfrm>
              <a:off x="5189788" y="1396153"/>
              <a:ext cx="770110" cy="720000"/>
            </a:xfrm>
            <a:custGeom>
              <a:avLst/>
              <a:gdLst>
                <a:gd name="T0" fmla="*/ 35 w 247"/>
                <a:gd name="T1" fmla="*/ 181 h 231"/>
                <a:gd name="T2" fmla="*/ 59 w 247"/>
                <a:gd name="T3" fmla="*/ 35 h 231"/>
                <a:gd name="T4" fmla="*/ 212 w 247"/>
                <a:gd name="T5" fmla="*/ 56 h 231"/>
                <a:gd name="T6" fmla="*/ 184 w 247"/>
                <a:gd name="T7" fmla="*/ 197 h 231"/>
                <a:gd name="T8" fmla="*/ 35 w 247"/>
                <a:gd name="T9" fmla="*/ 181 h 231"/>
              </a:gdLst>
              <a:ahLst/>
              <a:cxnLst>
                <a:cxn ang="0">
                  <a:pos x="T0" y="T1"/>
                </a:cxn>
                <a:cxn ang="0">
                  <a:pos x="T2" y="T3"/>
                </a:cxn>
                <a:cxn ang="0">
                  <a:pos x="T4" y="T5"/>
                </a:cxn>
                <a:cxn ang="0">
                  <a:pos x="T6" y="T7"/>
                </a:cxn>
                <a:cxn ang="0">
                  <a:pos x="T8" y="T9"/>
                </a:cxn>
              </a:cxnLst>
              <a:rect l="0" t="0" r="r" b="b"/>
              <a:pathLst>
                <a:path w="247" h="231">
                  <a:moveTo>
                    <a:pt x="35" y="181"/>
                  </a:moveTo>
                  <a:cubicBezTo>
                    <a:pt x="0" y="134"/>
                    <a:pt x="10" y="69"/>
                    <a:pt x="59" y="35"/>
                  </a:cubicBezTo>
                  <a:cubicBezTo>
                    <a:pt x="108" y="0"/>
                    <a:pt x="176" y="10"/>
                    <a:pt x="212" y="56"/>
                  </a:cubicBezTo>
                  <a:cubicBezTo>
                    <a:pt x="247" y="103"/>
                    <a:pt x="232" y="162"/>
                    <a:pt x="184" y="197"/>
                  </a:cubicBezTo>
                  <a:cubicBezTo>
                    <a:pt x="135" y="231"/>
                    <a:pt x="71" y="227"/>
                    <a:pt x="35" y="181"/>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grpSp>
          <p:nvGrpSpPr>
            <p:cNvPr id="66" name="Groupe 27">
              <a:extLst>
                <a:ext uri="{FF2B5EF4-FFF2-40B4-BE49-F238E27FC236}">
                  <a16:creationId xmlns:a16="http://schemas.microsoft.com/office/drawing/2014/main" id="{45CB0DA5-2C88-42D6-5E8A-D59C0806D543}"/>
                </a:ext>
              </a:extLst>
            </p:cNvPr>
            <p:cNvGrpSpPr/>
            <p:nvPr/>
          </p:nvGrpSpPr>
          <p:grpSpPr>
            <a:xfrm>
              <a:off x="5322702" y="1514834"/>
              <a:ext cx="496097" cy="480864"/>
              <a:chOff x="5322702" y="1514834"/>
              <a:chExt cx="496097" cy="480864"/>
            </a:xfrm>
          </p:grpSpPr>
          <p:sp>
            <p:nvSpPr>
              <p:cNvPr id="67" name="Freeform 226">
                <a:extLst>
                  <a:ext uri="{FF2B5EF4-FFF2-40B4-BE49-F238E27FC236}">
                    <a16:creationId xmlns:a16="http://schemas.microsoft.com/office/drawing/2014/main" id="{B35F5CB4-BA9A-4AEC-7AE2-C1EE336D1551}"/>
                  </a:ext>
                </a:extLst>
              </p:cNvPr>
              <p:cNvSpPr>
                <a:spLocks/>
              </p:cNvSpPr>
              <p:nvPr/>
            </p:nvSpPr>
            <p:spPr bwMode="auto">
              <a:xfrm>
                <a:off x="5322702" y="1549984"/>
                <a:ext cx="449671" cy="445714"/>
              </a:xfrm>
              <a:custGeom>
                <a:avLst/>
                <a:gdLst>
                  <a:gd name="T0" fmla="*/ 6 w 144"/>
                  <a:gd name="T1" fmla="*/ 61 h 143"/>
                  <a:gd name="T2" fmla="*/ 83 w 144"/>
                  <a:gd name="T3" fmla="*/ 6 h 143"/>
                  <a:gd name="T4" fmla="*/ 138 w 144"/>
                  <a:gd name="T5" fmla="*/ 82 h 143"/>
                  <a:gd name="T6" fmla="*/ 61 w 144"/>
                  <a:gd name="T7" fmla="*/ 137 h 143"/>
                  <a:gd name="T8" fmla="*/ 6 w 144"/>
                  <a:gd name="T9" fmla="*/ 61 h 143"/>
                </a:gdLst>
                <a:ahLst/>
                <a:cxnLst>
                  <a:cxn ang="0">
                    <a:pos x="T0" y="T1"/>
                  </a:cxn>
                  <a:cxn ang="0">
                    <a:pos x="T2" y="T3"/>
                  </a:cxn>
                  <a:cxn ang="0">
                    <a:pos x="T4" y="T5"/>
                  </a:cxn>
                  <a:cxn ang="0">
                    <a:pos x="T6" y="T7"/>
                  </a:cxn>
                  <a:cxn ang="0">
                    <a:pos x="T8" y="T9"/>
                  </a:cxn>
                </a:cxnLst>
                <a:rect l="0" t="0" r="r" b="b"/>
                <a:pathLst>
                  <a:path w="144" h="143">
                    <a:moveTo>
                      <a:pt x="6" y="61"/>
                    </a:moveTo>
                    <a:cubicBezTo>
                      <a:pt x="12" y="25"/>
                      <a:pt x="46" y="0"/>
                      <a:pt x="83" y="6"/>
                    </a:cubicBezTo>
                    <a:cubicBezTo>
                      <a:pt x="119" y="12"/>
                      <a:pt x="144" y="46"/>
                      <a:pt x="138" y="82"/>
                    </a:cubicBezTo>
                    <a:cubicBezTo>
                      <a:pt x="132" y="119"/>
                      <a:pt x="98" y="143"/>
                      <a:pt x="61" y="137"/>
                    </a:cubicBezTo>
                    <a:cubicBezTo>
                      <a:pt x="25" y="132"/>
                      <a:pt x="0" y="97"/>
                      <a:pt x="6" y="61"/>
                    </a:cubicBezTo>
                    <a:close/>
                  </a:path>
                </a:pathLst>
              </a:custGeom>
              <a:solidFill>
                <a:srgbClr val="00C37B"/>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sp>
            <p:nvSpPr>
              <p:cNvPr id="68" name="Freeform 227">
                <a:extLst>
                  <a:ext uri="{FF2B5EF4-FFF2-40B4-BE49-F238E27FC236}">
                    <a16:creationId xmlns:a16="http://schemas.microsoft.com/office/drawing/2014/main" id="{47ADA796-2390-51AE-AF8D-194CDE5EC78E}"/>
                  </a:ext>
                </a:extLst>
              </p:cNvPr>
              <p:cNvSpPr>
                <a:spLocks/>
              </p:cNvSpPr>
              <p:nvPr/>
            </p:nvSpPr>
            <p:spPr bwMode="auto">
              <a:xfrm>
                <a:off x="5553744" y="1514834"/>
                <a:ext cx="265055" cy="258462"/>
              </a:xfrm>
              <a:custGeom>
                <a:avLst/>
                <a:gdLst>
                  <a:gd name="T0" fmla="*/ 73 w 85"/>
                  <a:gd name="T1" fmla="*/ 63 h 83"/>
                  <a:gd name="T2" fmla="*/ 11 w 85"/>
                  <a:gd name="T3" fmla="*/ 80 h 83"/>
                  <a:gd name="T4" fmla="*/ 4 w 85"/>
                  <a:gd name="T5" fmla="*/ 73 h 83"/>
                  <a:gd name="T6" fmla="*/ 23 w 85"/>
                  <a:gd name="T7" fmla="*/ 3 h 83"/>
                  <a:gd name="T8" fmla="*/ 24 w 85"/>
                  <a:gd name="T9" fmla="*/ 0 h 83"/>
                  <a:gd name="T10" fmla="*/ 59 w 85"/>
                  <a:gd name="T11" fmla="*/ 24 h 83"/>
                  <a:gd name="T12" fmla="*/ 78 w 85"/>
                  <a:gd name="T13" fmla="*/ 51 h 83"/>
                  <a:gd name="T14" fmla="*/ 73 w 85"/>
                  <a:gd name="T15" fmla="*/ 63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5" h="83">
                    <a:moveTo>
                      <a:pt x="73" y="63"/>
                    </a:moveTo>
                    <a:cubicBezTo>
                      <a:pt x="11" y="80"/>
                      <a:pt x="11" y="80"/>
                      <a:pt x="11" y="80"/>
                    </a:cubicBezTo>
                    <a:cubicBezTo>
                      <a:pt x="11" y="80"/>
                      <a:pt x="0" y="83"/>
                      <a:pt x="4" y="73"/>
                    </a:cubicBezTo>
                    <a:cubicBezTo>
                      <a:pt x="23" y="3"/>
                      <a:pt x="23" y="3"/>
                      <a:pt x="23" y="3"/>
                    </a:cubicBezTo>
                    <a:cubicBezTo>
                      <a:pt x="24" y="0"/>
                      <a:pt x="24" y="0"/>
                      <a:pt x="24" y="0"/>
                    </a:cubicBezTo>
                    <a:cubicBezTo>
                      <a:pt x="24" y="0"/>
                      <a:pt x="39" y="4"/>
                      <a:pt x="59" y="24"/>
                    </a:cubicBezTo>
                    <a:cubicBezTo>
                      <a:pt x="70" y="35"/>
                      <a:pt x="78" y="51"/>
                      <a:pt x="78" y="51"/>
                    </a:cubicBezTo>
                    <a:cubicBezTo>
                      <a:pt x="78" y="51"/>
                      <a:pt x="85" y="61"/>
                      <a:pt x="73" y="63"/>
                    </a:cubicBezTo>
                    <a:close/>
                  </a:path>
                </a:pathLst>
              </a:custGeom>
              <a:solidFill>
                <a:srgbClr val="15636B"/>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sp>
            <p:nvSpPr>
              <p:cNvPr id="69" name="Freeform 398">
                <a:extLst>
                  <a:ext uri="{FF2B5EF4-FFF2-40B4-BE49-F238E27FC236}">
                    <a16:creationId xmlns:a16="http://schemas.microsoft.com/office/drawing/2014/main" id="{F16FF30C-BE83-517B-B6DC-982EB0FBFF65}"/>
                  </a:ext>
                </a:extLst>
              </p:cNvPr>
              <p:cNvSpPr>
                <a:spLocks noChangeAspect="1"/>
              </p:cNvSpPr>
              <p:nvPr/>
            </p:nvSpPr>
            <p:spPr bwMode="auto">
              <a:xfrm>
                <a:off x="5371039" y="1677833"/>
                <a:ext cx="169374" cy="216000"/>
              </a:xfrm>
              <a:custGeom>
                <a:avLst/>
                <a:gdLst>
                  <a:gd name="T0" fmla="*/ 192 w 204"/>
                  <a:gd name="T1" fmla="*/ 204 h 260"/>
                  <a:gd name="T2" fmla="*/ 191 w 204"/>
                  <a:gd name="T3" fmla="*/ 202 h 260"/>
                  <a:gd name="T4" fmla="*/ 191 w 204"/>
                  <a:gd name="T5" fmla="*/ 202 h 260"/>
                  <a:gd name="T6" fmla="*/ 190 w 204"/>
                  <a:gd name="T7" fmla="*/ 201 h 260"/>
                  <a:gd name="T8" fmla="*/ 189 w 204"/>
                  <a:gd name="T9" fmla="*/ 202 h 260"/>
                  <a:gd name="T10" fmla="*/ 188 w 204"/>
                  <a:gd name="T11" fmla="*/ 202 h 260"/>
                  <a:gd name="T12" fmla="*/ 186 w 204"/>
                  <a:gd name="T13" fmla="*/ 203 h 260"/>
                  <a:gd name="T14" fmla="*/ 181 w 204"/>
                  <a:gd name="T15" fmla="*/ 205 h 260"/>
                  <a:gd name="T16" fmla="*/ 176 w 204"/>
                  <a:gd name="T17" fmla="*/ 206 h 260"/>
                  <a:gd name="T18" fmla="*/ 173 w 204"/>
                  <a:gd name="T19" fmla="*/ 207 h 260"/>
                  <a:gd name="T20" fmla="*/ 155 w 204"/>
                  <a:gd name="T21" fmla="*/ 210 h 260"/>
                  <a:gd name="T22" fmla="*/ 109 w 204"/>
                  <a:gd name="T23" fmla="*/ 201 h 260"/>
                  <a:gd name="T24" fmla="*/ 85 w 204"/>
                  <a:gd name="T25" fmla="*/ 164 h 260"/>
                  <a:gd name="T26" fmla="*/ 181 w 204"/>
                  <a:gd name="T27" fmla="*/ 164 h 260"/>
                  <a:gd name="T28" fmla="*/ 181 w 204"/>
                  <a:gd name="T29" fmla="*/ 137 h 260"/>
                  <a:gd name="T30" fmla="*/ 80 w 204"/>
                  <a:gd name="T31" fmla="*/ 137 h 260"/>
                  <a:gd name="T32" fmla="*/ 80 w 204"/>
                  <a:gd name="T33" fmla="*/ 119 h 260"/>
                  <a:gd name="T34" fmla="*/ 181 w 204"/>
                  <a:gd name="T35" fmla="*/ 119 h 260"/>
                  <a:gd name="T36" fmla="*/ 181 w 204"/>
                  <a:gd name="T37" fmla="*/ 92 h 260"/>
                  <a:gd name="T38" fmla="*/ 86 w 204"/>
                  <a:gd name="T39" fmla="*/ 92 h 260"/>
                  <a:gd name="T40" fmla="*/ 87 w 204"/>
                  <a:gd name="T41" fmla="*/ 86 h 260"/>
                  <a:gd name="T42" fmla="*/ 140 w 204"/>
                  <a:gd name="T43" fmla="*/ 46 h 260"/>
                  <a:gd name="T44" fmla="*/ 175 w 204"/>
                  <a:gd name="T45" fmla="*/ 51 h 260"/>
                  <a:gd name="T46" fmla="*/ 188 w 204"/>
                  <a:gd name="T47" fmla="*/ 55 h 260"/>
                  <a:gd name="T48" fmla="*/ 198 w 204"/>
                  <a:gd name="T49" fmla="*/ 12 h 260"/>
                  <a:gd name="T50" fmla="*/ 162 w 204"/>
                  <a:gd name="T51" fmla="*/ 2 h 260"/>
                  <a:gd name="T52" fmla="*/ 150 w 204"/>
                  <a:gd name="T53" fmla="*/ 0 h 260"/>
                  <a:gd name="T54" fmla="*/ 132 w 204"/>
                  <a:gd name="T55" fmla="*/ 0 h 260"/>
                  <a:gd name="T56" fmla="*/ 125 w 204"/>
                  <a:gd name="T57" fmla="*/ 1 h 260"/>
                  <a:gd name="T58" fmla="*/ 84 w 204"/>
                  <a:gd name="T59" fmla="*/ 14 h 260"/>
                  <a:gd name="T60" fmla="*/ 28 w 204"/>
                  <a:gd name="T61" fmla="*/ 82 h 260"/>
                  <a:gd name="T62" fmla="*/ 25 w 204"/>
                  <a:gd name="T63" fmla="*/ 92 h 260"/>
                  <a:gd name="T64" fmla="*/ 0 w 204"/>
                  <a:gd name="T65" fmla="*/ 92 h 260"/>
                  <a:gd name="T66" fmla="*/ 0 w 204"/>
                  <a:gd name="T67" fmla="*/ 119 h 260"/>
                  <a:gd name="T68" fmla="*/ 21 w 204"/>
                  <a:gd name="T69" fmla="*/ 119 h 260"/>
                  <a:gd name="T70" fmla="*/ 21 w 204"/>
                  <a:gd name="T71" fmla="*/ 137 h 260"/>
                  <a:gd name="T72" fmla="*/ 0 w 204"/>
                  <a:gd name="T73" fmla="*/ 137 h 260"/>
                  <a:gd name="T74" fmla="*/ 0 w 204"/>
                  <a:gd name="T75" fmla="*/ 164 h 260"/>
                  <a:gd name="T76" fmla="*/ 25 w 204"/>
                  <a:gd name="T77" fmla="*/ 164 h 260"/>
                  <a:gd name="T78" fmla="*/ 26 w 204"/>
                  <a:gd name="T79" fmla="*/ 169 h 260"/>
                  <a:gd name="T80" fmla="*/ 27 w 204"/>
                  <a:gd name="T81" fmla="*/ 174 h 260"/>
                  <a:gd name="T82" fmla="*/ 90 w 204"/>
                  <a:gd name="T83" fmla="*/ 248 h 260"/>
                  <a:gd name="T84" fmla="*/ 155 w 204"/>
                  <a:gd name="T85" fmla="*/ 257 h 260"/>
                  <a:gd name="T86" fmla="*/ 198 w 204"/>
                  <a:gd name="T87" fmla="*/ 245 h 260"/>
                  <a:gd name="T88" fmla="*/ 199 w 204"/>
                  <a:gd name="T89" fmla="*/ 244 h 260"/>
                  <a:gd name="T90" fmla="*/ 204 w 204"/>
                  <a:gd name="T91" fmla="*/ 243 h 260"/>
                  <a:gd name="T92" fmla="*/ 192 w 204"/>
                  <a:gd name="T93" fmla="*/ 204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4" h="260">
                    <a:moveTo>
                      <a:pt x="192" y="204"/>
                    </a:moveTo>
                    <a:cubicBezTo>
                      <a:pt x="192" y="203"/>
                      <a:pt x="192" y="203"/>
                      <a:pt x="191" y="202"/>
                    </a:cubicBezTo>
                    <a:cubicBezTo>
                      <a:pt x="191" y="202"/>
                      <a:pt x="191" y="202"/>
                      <a:pt x="191" y="202"/>
                    </a:cubicBezTo>
                    <a:cubicBezTo>
                      <a:pt x="191" y="202"/>
                      <a:pt x="191" y="201"/>
                      <a:pt x="190" y="201"/>
                    </a:cubicBezTo>
                    <a:cubicBezTo>
                      <a:pt x="190" y="201"/>
                      <a:pt x="190" y="201"/>
                      <a:pt x="189" y="202"/>
                    </a:cubicBezTo>
                    <a:cubicBezTo>
                      <a:pt x="189" y="202"/>
                      <a:pt x="188" y="202"/>
                      <a:pt x="188" y="202"/>
                    </a:cubicBezTo>
                    <a:cubicBezTo>
                      <a:pt x="187" y="202"/>
                      <a:pt x="186" y="203"/>
                      <a:pt x="186" y="203"/>
                    </a:cubicBezTo>
                    <a:cubicBezTo>
                      <a:pt x="184" y="204"/>
                      <a:pt x="182" y="204"/>
                      <a:pt x="181" y="205"/>
                    </a:cubicBezTo>
                    <a:cubicBezTo>
                      <a:pt x="179" y="205"/>
                      <a:pt x="178" y="206"/>
                      <a:pt x="176" y="206"/>
                    </a:cubicBezTo>
                    <a:cubicBezTo>
                      <a:pt x="175" y="207"/>
                      <a:pt x="174" y="207"/>
                      <a:pt x="173" y="207"/>
                    </a:cubicBezTo>
                    <a:cubicBezTo>
                      <a:pt x="167" y="209"/>
                      <a:pt x="161" y="210"/>
                      <a:pt x="155" y="210"/>
                    </a:cubicBezTo>
                    <a:cubicBezTo>
                      <a:pt x="138" y="212"/>
                      <a:pt x="123" y="210"/>
                      <a:pt x="109" y="201"/>
                    </a:cubicBezTo>
                    <a:cubicBezTo>
                      <a:pt x="95" y="192"/>
                      <a:pt x="88" y="180"/>
                      <a:pt x="85" y="164"/>
                    </a:cubicBezTo>
                    <a:cubicBezTo>
                      <a:pt x="117" y="164"/>
                      <a:pt x="149" y="164"/>
                      <a:pt x="181" y="164"/>
                    </a:cubicBezTo>
                    <a:cubicBezTo>
                      <a:pt x="181" y="155"/>
                      <a:pt x="181" y="146"/>
                      <a:pt x="181" y="137"/>
                    </a:cubicBezTo>
                    <a:cubicBezTo>
                      <a:pt x="147" y="137"/>
                      <a:pt x="113" y="137"/>
                      <a:pt x="80" y="137"/>
                    </a:cubicBezTo>
                    <a:cubicBezTo>
                      <a:pt x="80" y="131"/>
                      <a:pt x="80" y="125"/>
                      <a:pt x="80" y="119"/>
                    </a:cubicBezTo>
                    <a:cubicBezTo>
                      <a:pt x="114" y="119"/>
                      <a:pt x="147" y="119"/>
                      <a:pt x="181" y="119"/>
                    </a:cubicBezTo>
                    <a:cubicBezTo>
                      <a:pt x="181" y="110"/>
                      <a:pt x="181" y="101"/>
                      <a:pt x="181" y="92"/>
                    </a:cubicBezTo>
                    <a:cubicBezTo>
                      <a:pt x="149" y="92"/>
                      <a:pt x="118" y="92"/>
                      <a:pt x="86" y="92"/>
                    </a:cubicBezTo>
                    <a:cubicBezTo>
                      <a:pt x="86" y="90"/>
                      <a:pt x="87" y="88"/>
                      <a:pt x="87" y="86"/>
                    </a:cubicBezTo>
                    <a:cubicBezTo>
                      <a:pt x="95" y="63"/>
                      <a:pt x="116" y="48"/>
                      <a:pt x="140" y="46"/>
                    </a:cubicBezTo>
                    <a:cubicBezTo>
                      <a:pt x="152" y="46"/>
                      <a:pt x="164" y="48"/>
                      <a:pt x="175" y="51"/>
                    </a:cubicBezTo>
                    <a:cubicBezTo>
                      <a:pt x="180" y="53"/>
                      <a:pt x="183" y="54"/>
                      <a:pt x="188" y="55"/>
                    </a:cubicBezTo>
                    <a:cubicBezTo>
                      <a:pt x="191" y="41"/>
                      <a:pt x="195" y="26"/>
                      <a:pt x="198" y="12"/>
                    </a:cubicBezTo>
                    <a:cubicBezTo>
                      <a:pt x="187" y="7"/>
                      <a:pt x="175" y="3"/>
                      <a:pt x="162" y="2"/>
                    </a:cubicBezTo>
                    <a:cubicBezTo>
                      <a:pt x="158" y="1"/>
                      <a:pt x="154" y="1"/>
                      <a:pt x="150" y="0"/>
                    </a:cubicBezTo>
                    <a:cubicBezTo>
                      <a:pt x="144" y="0"/>
                      <a:pt x="138" y="0"/>
                      <a:pt x="132" y="0"/>
                    </a:cubicBezTo>
                    <a:cubicBezTo>
                      <a:pt x="130" y="1"/>
                      <a:pt x="127" y="1"/>
                      <a:pt x="125" y="1"/>
                    </a:cubicBezTo>
                    <a:cubicBezTo>
                      <a:pt x="110" y="3"/>
                      <a:pt x="97" y="7"/>
                      <a:pt x="84" y="14"/>
                    </a:cubicBezTo>
                    <a:cubicBezTo>
                      <a:pt x="57" y="29"/>
                      <a:pt x="38" y="52"/>
                      <a:pt x="28" y="82"/>
                    </a:cubicBezTo>
                    <a:cubicBezTo>
                      <a:pt x="27" y="85"/>
                      <a:pt x="26" y="88"/>
                      <a:pt x="25" y="92"/>
                    </a:cubicBezTo>
                    <a:cubicBezTo>
                      <a:pt x="17" y="92"/>
                      <a:pt x="8" y="92"/>
                      <a:pt x="0" y="92"/>
                    </a:cubicBezTo>
                    <a:cubicBezTo>
                      <a:pt x="0" y="101"/>
                      <a:pt x="0" y="110"/>
                      <a:pt x="0" y="119"/>
                    </a:cubicBezTo>
                    <a:cubicBezTo>
                      <a:pt x="7" y="119"/>
                      <a:pt x="14" y="119"/>
                      <a:pt x="21" y="119"/>
                    </a:cubicBezTo>
                    <a:cubicBezTo>
                      <a:pt x="21" y="125"/>
                      <a:pt x="21" y="131"/>
                      <a:pt x="21" y="137"/>
                    </a:cubicBezTo>
                    <a:cubicBezTo>
                      <a:pt x="14" y="137"/>
                      <a:pt x="7" y="137"/>
                      <a:pt x="0" y="137"/>
                    </a:cubicBezTo>
                    <a:cubicBezTo>
                      <a:pt x="0" y="146"/>
                      <a:pt x="0" y="155"/>
                      <a:pt x="0" y="164"/>
                    </a:cubicBezTo>
                    <a:cubicBezTo>
                      <a:pt x="8" y="164"/>
                      <a:pt x="16" y="164"/>
                      <a:pt x="25" y="164"/>
                    </a:cubicBezTo>
                    <a:cubicBezTo>
                      <a:pt x="25" y="166"/>
                      <a:pt x="25" y="168"/>
                      <a:pt x="26" y="169"/>
                    </a:cubicBezTo>
                    <a:cubicBezTo>
                      <a:pt x="26" y="171"/>
                      <a:pt x="26" y="172"/>
                      <a:pt x="27" y="174"/>
                    </a:cubicBezTo>
                    <a:cubicBezTo>
                      <a:pt x="36" y="209"/>
                      <a:pt x="57" y="234"/>
                      <a:pt x="90" y="248"/>
                    </a:cubicBezTo>
                    <a:cubicBezTo>
                      <a:pt x="111" y="257"/>
                      <a:pt x="132" y="260"/>
                      <a:pt x="155" y="257"/>
                    </a:cubicBezTo>
                    <a:cubicBezTo>
                      <a:pt x="170" y="255"/>
                      <a:pt x="184" y="252"/>
                      <a:pt x="198" y="245"/>
                    </a:cubicBezTo>
                    <a:cubicBezTo>
                      <a:pt x="198" y="245"/>
                      <a:pt x="199" y="244"/>
                      <a:pt x="199" y="244"/>
                    </a:cubicBezTo>
                    <a:cubicBezTo>
                      <a:pt x="201" y="243"/>
                      <a:pt x="202" y="243"/>
                      <a:pt x="204" y="243"/>
                    </a:cubicBezTo>
                    <a:cubicBezTo>
                      <a:pt x="200" y="232"/>
                      <a:pt x="201" y="220"/>
                      <a:pt x="192" y="20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grpSp>
      </p:grpSp>
      <p:grpSp>
        <p:nvGrpSpPr>
          <p:cNvPr id="70" name="Group 69">
            <a:extLst>
              <a:ext uri="{FF2B5EF4-FFF2-40B4-BE49-F238E27FC236}">
                <a16:creationId xmlns:a16="http://schemas.microsoft.com/office/drawing/2014/main" id="{619A1EB5-DA6F-6B40-4697-52DB02F421C4}"/>
              </a:ext>
            </a:extLst>
          </p:cNvPr>
          <p:cNvGrpSpPr/>
          <p:nvPr/>
        </p:nvGrpSpPr>
        <p:grpSpPr>
          <a:xfrm>
            <a:off x="4559076" y="4206870"/>
            <a:ext cx="844550" cy="795338"/>
            <a:chOff x="8820151" y="3556000"/>
            <a:chExt cx="844550" cy="795338"/>
          </a:xfrm>
        </p:grpSpPr>
        <p:sp>
          <p:nvSpPr>
            <p:cNvPr id="71" name="Freeform 127">
              <a:extLst>
                <a:ext uri="{FF2B5EF4-FFF2-40B4-BE49-F238E27FC236}">
                  <a16:creationId xmlns:a16="http://schemas.microsoft.com/office/drawing/2014/main" id="{FB065A2F-F605-42AD-35D0-5F59418B87B0}"/>
                </a:ext>
              </a:extLst>
            </p:cNvPr>
            <p:cNvSpPr>
              <a:spLocks/>
            </p:cNvSpPr>
            <p:nvPr/>
          </p:nvSpPr>
          <p:spPr bwMode="auto">
            <a:xfrm>
              <a:off x="8820151" y="3556000"/>
              <a:ext cx="844550" cy="795338"/>
            </a:xfrm>
            <a:custGeom>
              <a:avLst/>
              <a:gdLst>
                <a:gd name="T0" fmla="*/ 63 w 438"/>
                <a:gd name="T1" fmla="*/ 320 h 410"/>
                <a:gd name="T2" fmla="*/ 105 w 438"/>
                <a:gd name="T3" fmla="*/ 61 h 410"/>
                <a:gd name="T4" fmla="*/ 375 w 438"/>
                <a:gd name="T5" fmla="*/ 99 h 410"/>
                <a:gd name="T6" fmla="*/ 326 w 438"/>
                <a:gd name="T7" fmla="*/ 349 h 410"/>
                <a:gd name="T8" fmla="*/ 63 w 438"/>
                <a:gd name="T9" fmla="*/ 320 h 410"/>
              </a:gdLst>
              <a:ahLst/>
              <a:cxnLst>
                <a:cxn ang="0">
                  <a:pos x="T0" y="T1"/>
                </a:cxn>
                <a:cxn ang="0">
                  <a:pos x="T2" y="T3"/>
                </a:cxn>
                <a:cxn ang="0">
                  <a:pos x="T4" y="T5"/>
                </a:cxn>
                <a:cxn ang="0">
                  <a:pos x="T6" y="T7"/>
                </a:cxn>
                <a:cxn ang="0">
                  <a:pos x="T8" y="T9"/>
                </a:cxn>
              </a:cxnLst>
              <a:rect l="0" t="0" r="r" b="b"/>
              <a:pathLst>
                <a:path w="438" h="410">
                  <a:moveTo>
                    <a:pt x="63" y="320"/>
                  </a:moveTo>
                  <a:cubicBezTo>
                    <a:pt x="0" y="238"/>
                    <a:pt x="18" y="122"/>
                    <a:pt x="105" y="61"/>
                  </a:cubicBezTo>
                  <a:cubicBezTo>
                    <a:pt x="191" y="0"/>
                    <a:pt x="312" y="17"/>
                    <a:pt x="375" y="99"/>
                  </a:cubicBezTo>
                  <a:cubicBezTo>
                    <a:pt x="438" y="182"/>
                    <a:pt x="412" y="288"/>
                    <a:pt x="326" y="349"/>
                  </a:cubicBezTo>
                  <a:cubicBezTo>
                    <a:pt x="240" y="410"/>
                    <a:pt x="126" y="403"/>
                    <a:pt x="63" y="320"/>
                  </a:cubicBezTo>
                </a:path>
              </a:pathLst>
            </a:custGeom>
            <a:solidFill>
              <a:srgbClr val="2B0F3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grpSp>
          <p:nvGrpSpPr>
            <p:cNvPr id="72" name="Group 71">
              <a:extLst>
                <a:ext uri="{FF2B5EF4-FFF2-40B4-BE49-F238E27FC236}">
                  <a16:creationId xmlns:a16="http://schemas.microsoft.com/office/drawing/2014/main" id="{13AC6EA7-AE96-9F2B-55E6-1AA81FAC1AD2}"/>
                </a:ext>
              </a:extLst>
            </p:cNvPr>
            <p:cNvGrpSpPr/>
            <p:nvPr/>
          </p:nvGrpSpPr>
          <p:grpSpPr>
            <a:xfrm>
              <a:off x="9067801" y="3706813"/>
              <a:ext cx="344487" cy="527050"/>
              <a:chOff x="9067801" y="3706813"/>
              <a:chExt cx="344487" cy="527050"/>
            </a:xfrm>
          </p:grpSpPr>
          <p:sp>
            <p:nvSpPr>
              <p:cNvPr id="73" name="Freeform 128">
                <a:extLst>
                  <a:ext uri="{FF2B5EF4-FFF2-40B4-BE49-F238E27FC236}">
                    <a16:creationId xmlns:a16="http://schemas.microsoft.com/office/drawing/2014/main" id="{823660CC-ACCA-C3BB-C79F-4339E57E68F3}"/>
                  </a:ext>
                </a:extLst>
              </p:cNvPr>
              <p:cNvSpPr>
                <a:spLocks/>
              </p:cNvSpPr>
              <p:nvPr/>
            </p:nvSpPr>
            <p:spPr bwMode="auto">
              <a:xfrm>
                <a:off x="9217026" y="4211638"/>
                <a:ext cx="77787" cy="22225"/>
              </a:xfrm>
              <a:custGeom>
                <a:avLst/>
                <a:gdLst>
                  <a:gd name="T0" fmla="*/ 0 w 40"/>
                  <a:gd name="T1" fmla="*/ 0 h 11"/>
                  <a:gd name="T2" fmla="*/ 12 w 40"/>
                  <a:gd name="T3" fmla="*/ 11 h 11"/>
                  <a:gd name="T4" fmla="*/ 40 w 40"/>
                  <a:gd name="T5" fmla="*/ 0 h 11"/>
                  <a:gd name="T6" fmla="*/ 0 w 40"/>
                  <a:gd name="T7" fmla="*/ 0 h 11"/>
                </a:gdLst>
                <a:ahLst/>
                <a:cxnLst>
                  <a:cxn ang="0">
                    <a:pos x="T0" y="T1"/>
                  </a:cxn>
                  <a:cxn ang="0">
                    <a:pos x="T2" y="T3"/>
                  </a:cxn>
                  <a:cxn ang="0">
                    <a:pos x="T4" y="T5"/>
                  </a:cxn>
                  <a:cxn ang="0">
                    <a:pos x="T6" y="T7"/>
                  </a:cxn>
                </a:cxnLst>
                <a:rect l="0" t="0" r="r" b="b"/>
                <a:pathLst>
                  <a:path w="40" h="11">
                    <a:moveTo>
                      <a:pt x="0" y="0"/>
                    </a:moveTo>
                    <a:cubicBezTo>
                      <a:pt x="7" y="6"/>
                      <a:pt x="12" y="11"/>
                      <a:pt x="12" y="11"/>
                    </a:cubicBezTo>
                    <a:cubicBezTo>
                      <a:pt x="24" y="11"/>
                      <a:pt x="34" y="6"/>
                      <a:pt x="40" y="0"/>
                    </a:cubicBez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sp>
            <p:nvSpPr>
              <p:cNvPr id="74" name="Freeform 129">
                <a:extLst>
                  <a:ext uri="{FF2B5EF4-FFF2-40B4-BE49-F238E27FC236}">
                    <a16:creationId xmlns:a16="http://schemas.microsoft.com/office/drawing/2014/main" id="{6B57F580-B820-A357-4338-804B654A589A}"/>
                  </a:ext>
                </a:extLst>
              </p:cNvPr>
              <p:cNvSpPr>
                <a:spLocks/>
              </p:cNvSpPr>
              <p:nvPr/>
            </p:nvSpPr>
            <p:spPr bwMode="auto">
              <a:xfrm>
                <a:off x="9169401" y="4102100"/>
                <a:ext cx="141287" cy="26988"/>
              </a:xfrm>
              <a:custGeom>
                <a:avLst/>
                <a:gdLst>
                  <a:gd name="T0" fmla="*/ 73 w 73"/>
                  <a:gd name="T1" fmla="*/ 8 h 14"/>
                  <a:gd name="T2" fmla="*/ 68 w 73"/>
                  <a:gd name="T3" fmla="*/ 14 h 14"/>
                  <a:gd name="T4" fmla="*/ 5 w 73"/>
                  <a:gd name="T5" fmla="*/ 14 h 14"/>
                  <a:gd name="T6" fmla="*/ 0 w 73"/>
                  <a:gd name="T7" fmla="*/ 8 h 14"/>
                  <a:gd name="T8" fmla="*/ 0 w 73"/>
                  <a:gd name="T9" fmla="*/ 5 h 14"/>
                  <a:gd name="T10" fmla="*/ 5 w 73"/>
                  <a:gd name="T11" fmla="*/ 0 h 14"/>
                  <a:gd name="T12" fmla="*/ 68 w 73"/>
                  <a:gd name="T13" fmla="*/ 0 h 14"/>
                  <a:gd name="T14" fmla="*/ 73 w 73"/>
                  <a:gd name="T15" fmla="*/ 5 h 14"/>
                  <a:gd name="T16" fmla="*/ 73 w 73"/>
                  <a:gd name="T17" fmla="*/ 8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14">
                    <a:moveTo>
                      <a:pt x="73" y="8"/>
                    </a:moveTo>
                    <a:cubicBezTo>
                      <a:pt x="73" y="11"/>
                      <a:pt x="71" y="14"/>
                      <a:pt x="68" y="14"/>
                    </a:cubicBezTo>
                    <a:cubicBezTo>
                      <a:pt x="5" y="14"/>
                      <a:pt x="5" y="14"/>
                      <a:pt x="5" y="14"/>
                    </a:cubicBezTo>
                    <a:cubicBezTo>
                      <a:pt x="2" y="14"/>
                      <a:pt x="0" y="11"/>
                      <a:pt x="0" y="8"/>
                    </a:cubicBezTo>
                    <a:cubicBezTo>
                      <a:pt x="0" y="5"/>
                      <a:pt x="0" y="5"/>
                      <a:pt x="0" y="5"/>
                    </a:cubicBezTo>
                    <a:cubicBezTo>
                      <a:pt x="0" y="2"/>
                      <a:pt x="2" y="0"/>
                      <a:pt x="5" y="0"/>
                    </a:cubicBezTo>
                    <a:cubicBezTo>
                      <a:pt x="68" y="0"/>
                      <a:pt x="68" y="0"/>
                      <a:pt x="68" y="0"/>
                    </a:cubicBezTo>
                    <a:cubicBezTo>
                      <a:pt x="71" y="0"/>
                      <a:pt x="73" y="2"/>
                      <a:pt x="73" y="5"/>
                    </a:cubicBezTo>
                    <a:lnTo>
                      <a:pt x="73" y="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sp>
            <p:nvSpPr>
              <p:cNvPr id="75" name="Freeform 130">
                <a:extLst>
                  <a:ext uri="{FF2B5EF4-FFF2-40B4-BE49-F238E27FC236}">
                    <a16:creationId xmlns:a16="http://schemas.microsoft.com/office/drawing/2014/main" id="{3F46A4D4-C0A9-BCE0-F701-2BE9B94663CE}"/>
                  </a:ext>
                </a:extLst>
              </p:cNvPr>
              <p:cNvSpPr>
                <a:spLocks/>
              </p:cNvSpPr>
              <p:nvPr/>
            </p:nvSpPr>
            <p:spPr bwMode="auto">
              <a:xfrm>
                <a:off x="9169401" y="4138613"/>
                <a:ext cx="141287" cy="25400"/>
              </a:xfrm>
              <a:custGeom>
                <a:avLst/>
                <a:gdLst>
                  <a:gd name="T0" fmla="*/ 73 w 73"/>
                  <a:gd name="T1" fmla="*/ 8 h 13"/>
                  <a:gd name="T2" fmla="*/ 68 w 73"/>
                  <a:gd name="T3" fmla="*/ 13 h 13"/>
                  <a:gd name="T4" fmla="*/ 5 w 73"/>
                  <a:gd name="T5" fmla="*/ 13 h 13"/>
                  <a:gd name="T6" fmla="*/ 0 w 73"/>
                  <a:gd name="T7" fmla="*/ 8 h 13"/>
                  <a:gd name="T8" fmla="*/ 0 w 73"/>
                  <a:gd name="T9" fmla="*/ 5 h 13"/>
                  <a:gd name="T10" fmla="*/ 5 w 73"/>
                  <a:gd name="T11" fmla="*/ 0 h 13"/>
                  <a:gd name="T12" fmla="*/ 68 w 73"/>
                  <a:gd name="T13" fmla="*/ 0 h 13"/>
                  <a:gd name="T14" fmla="*/ 73 w 73"/>
                  <a:gd name="T15" fmla="*/ 5 h 13"/>
                  <a:gd name="T16" fmla="*/ 73 w 73"/>
                  <a:gd name="T17" fmla="*/ 8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13">
                    <a:moveTo>
                      <a:pt x="73" y="8"/>
                    </a:moveTo>
                    <a:cubicBezTo>
                      <a:pt x="73" y="11"/>
                      <a:pt x="71" y="13"/>
                      <a:pt x="68" y="13"/>
                    </a:cubicBezTo>
                    <a:cubicBezTo>
                      <a:pt x="5" y="13"/>
                      <a:pt x="5" y="13"/>
                      <a:pt x="5" y="13"/>
                    </a:cubicBezTo>
                    <a:cubicBezTo>
                      <a:pt x="2" y="13"/>
                      <a:pt x="0" y="11"/>
                      <a:pt x="0" y="8"/>
                    </a:cubicBezTo>
                    <a:cubicBezTo>
                      <a:pt x="0" y="5"/>
                      <a:pt x="0" y="5"/>
                      <a:pt x="0" y="5"/>
                    </a:cubicBezTo>
                    <a:cubicBezTo>
                      <a:pt x="0" y="2"/>
                      <a:pt x="2" y="0"/>
                      <a:pt x="5" y="0"/>
                    </a:cubicBezTo>
                    <a:cubicBezTo>
                      <a:pt x="68" y="0"/>
                      <a:pt x="68" y="0"/>
                      <a:pt x="68" y="0"/>
                    </a:cubicBezTo>
                    <a:cubicBezTo>
                      <a:pt x="71" y="0"/>
                      <a:pt x="73" y="2"/>
                      <a:pt x="73" y="5"/>
                    </a:cubicBezTo>
                    <a:lnTo>
                      <a:pt x="73" y="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sp>
            <p:nvSpPr>
              <p:cNvPr id="76" name="Freeform 131">
                <a:extLst>
                  <a:ext uri="{FF2B5EF4-FFF2-40B4-BE49-F238E27FC236}">
                    <a16:creationId xmlns:a16="http://schemas.microsoft.com/office/drawing/2014/main" id="{630FD29B-DBE1-C1F7-0EFC-665283FA692E}"/>
                  </a:ext>
                </a:extLst>
              </p:cNvPr>
              <p:cNvSpPr>
                <a:spLocks/>
              </p:cNvSpPr>
              <p:nvPr/>
            </p:nvSpPr>
            <p:spPr bwMode="auto">
              <a:xfrm>
                <a:off x="9169401" y="4173538"/>
                <a:ext cx="141287" cy="26988"/>
              </a:xfrm>
              <a:custGeom>
                <a:avLst/>
                <a:gdLst>
                  <a:gd name="T0" fmla="*/ 73 w 73"/>
                  <a:gd name="T1" fmla="*/ 9 h 14"/>
                  <a:gd name="T2" fmla="*/ 68 w 73"/>
                  <a:gd name="T3" fmla="*/ 14 h 14"/>
                  <a:gd name="T4" fmla="*/ 5 w 73"/>
                  <a:gd name="T5" fmla="*/ 14 h 14"/>
                  <a:gd name="T6" fmla="*/ 0 w 73"/>
                  <a:gd name="T7" fmla="*/ 9 h 14"/>
                  <a:gd name="T8" fmla="*/ 0 w 73"/>
                  <a:gd name="T9" fmla="*/ 6 h 14"/>
                  <a:gd name="T10" fmla="*/ 5 w 73"/>
                  <a:gd name="T11" fmla="*/ 0 h 14"/>
                  <a:gd name="T12" fmla="*/ 68 w 73"/>
                  <a:gd name="T13" fmla="*/ 0 h 14"/>
                  <a:gd name="T14" fmla="*/ 73 w 73"/>
                  <a:gd name="T15" fmla="*/ 6 h 14"/>
                  <a:gd name="T16" fmla="*/ 73 w 73"/>
                  <a:gd name="T17"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14">
                    <a:moveTo>
                      <a:pt x="73" y="9"/>
                    </a:moveTo>
                    <a:cubicBezTo>
                      <a:pt x="73" y="12"/>
                      <a:pt x="71" y="14"/>
                      <a:pt x="68" y="14"/>
                    </a:cubicBezTo>
                    <a:cubicBezTo>
                      <a:pt x="5" y="14"/>
                      <a:pt x="5" y="14"/>
                      <a:pt x="5" y="14"/>
                    </a:cubicBezTo>
                    <a:cubicBezTo>
                      <a:pt x="2" y="14"/>
                      <a:pt x="0" y="12"/>
                      <a:pt x="0" y="9"/>
                    </a:cubicBezTo>
                    <a:cubicBezTo>
                      <a:pt x="0" y="6"/>
                      <a:pt x="0" y="6"/>
                      <a:pt x="0" y="6"/>
                    </a:cubicBezTo>
                    <a:cubicBezTo>
                      <a:pt x="0" y="3"/>
                      <a:pt x="2" y="0"/>
                      <a:pt x="5" y="0"/>
                    </a:cubicBezTo>
                    <a:cubicBezTo>
                      <a:pt x="68" y="0"/>
                      <a:pt x="68" y="0"/>
                      <a:pt x="68" y="0"/>
                    </a:cubicBezTo>
                    <a:cubicBezTo>
                      <a:pt x="71" y="0"/>
                      <a:pt x="73" y="3"/>
                      <a:pt x="73" y="6"/>
                    </a:cubicBezTo>
                    <a:lnTo>
                      <a:pt x="73" y="9"/>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sp>
            <p:nvSpPr>
              <p:cNvPr id="77" name="Freeform 132">
                <a:extLst>
                  <a:ext uri="{FF2B5EF4-FFF2-40B4-BE49-F238E27FC236}">
                    <a16:creationId xmlns:a16="http://schemas.microsoft.com/office/drawing/2014/main" id="{16ED4388-4931-E808-65F8-6F3178B815DD}"/>
                  </a:ext>
                </a:extLst>
              </p:cNvPr>
              <p:cNvSpPr>
                <a:spLocks/>
              </p:cNvSpPr>
              <p:nvPr/>
            </p:nvSpPr>
            <p:spPr bwMode="auto">
              <a:xfrm>
                <a:off x="9067801" y="3706813"/>
                <a:ext cx="344487" cy="373063"/>
              </a:xfrm>
              <a:custGeom>
                <a:avLst/>
                <a:gdLst>
                  <a:gd name="T0" fmla="*/ 177 w 179"/>
                  <a:gd name="T1" fmla="*/ 87 h 193"/>
                  <a:gd name="T2" fmla="*/ 177 w 179"/>
                  <a:gd name="T3" fmla="*/ 87 h 193"/>
                  <a:gd name="T4" fmla="*/ 90 w 179"/>
                  <a:gd name="T5" fmla="*/ 0 h 193"/>
                  <a:gd name="T6" fmla="*/ 2 w 179"/>
                  <a:gd name="T7" fmla="*/ 87 h 193"/>
                  <a:gd name="T8" fmla="*/ 27 w 179"/>
                  <a:gd name="T9" fmla="*/ 151 h 193"/>
                  <a:gd name="T10" fmla="*/ 53 w 179"/>
                  <a:gd name="T11" fmla="*/ 193 h 193"/>
                  <a:gd name="T12" fmla="*/ 90 w 179"/>
                  <a:gd name="T13" fmla="*/ 193 h 193"/>
                  <a:gd name="T14" fmla="*/ 126 w 179"/>
                  <a:gd name="T15" fmla="*/ 193 h 193"/>
                  <a:gd name="T16" fmla="*/ 152 w 179"/>
                  <a:gd name="T17" fmla="*/ 151 h 193"/>
                  <a:gd name="T18" fmla="*/ 177 w 179"/>
                  <a:gd name="T19" fmla="*/ 87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9" h="193">
                    <a:moveTo>
                      <a:pt x="177" y="87"/>
                    </a:moveTo>
                    <a:cubicBezTo>
                      <a:pt x="177" y="87"/>
                      <a:pt x="177" y="87"/>
                      <a:pt x="177" y="87"/>
                    </a:cubicBezTo>
                    <a:cubicBezTo>
                      <a:pt x="177" y="39"/>
                      <a:pt x="138" y="0"/>
                      <a:pt x="90" y="0"/>
                    </a:cubicBezTo>
                    <a:cubicBezTo>
                      <a:pt x="41" y="0"/>
                      <a:pt x="2" y="39"/>
                      <a:pt x="2" y="87"/>
                    </a:cubicBezTo>
                    <a:cubicBezTo>
                      <a:pt x="2" y="87"/>
                      <a:pt x="0" y="124"/>
                      <a:pt x="27" y="151"/>
                    </a:cubicBezTo>
                    <a:cubicBezTo>
                      <a:pt x="54" y="178"/>
                      <a:pt x="53" y="193"/>
                      <a:pt x="53" y="193"/>
                    </a:cubicBezTo>
                    <a:cubicBezTo>
                      <a:pt x="90" y="193"/>
                      <a:pt x="90" y="193"/>
                      <a:pt x="90" y="193"/>
                    </a:cubicBezTo>
                    <a:cubicBezTo>
                      <a:pt x="126" y="193"/>
                      <a:pt x="126" y="193"/>
                      <a:pt x="126" y="193"/>
                    </a:cubicBezTo>
                    <a:cubicBezTo>
                      <a:pt x="126" y="193"/>
                      <a:pt x="126" y="178"/>
                      <a:pt x="152" y="151"/>
                    </a:cubicBezTo>
                    <a:cubicBezTo>
                      <a:pt x="179" y="124"/>
                      <a:pt x="177" y="87"/>
                      <a:pt x="177" y="87"/>
                    </a:cubicBezTo>
                    <a:close/>
                  </a:path>
                </a:pathLst>
              </a:custGeom>
              <a:solidFill>
                <a:srgbClr val="FF6327"/>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sp>
            <p:nvSpPr>
              <p:cNvPr id="78" name="Line 133">
                <a:extLst>
                  <a:ext uri="{FF2B5EF4-FFF2-40B4-BE49-F238E27FC236}">
                    <a16:creationId xmlns:a16="http://schemas.microsoft.com/office/drawing/2014/main" id="{5580B3CB-FE6C-3AA1-F8E8-E7B8EA92866C}"/>
                  </a:ext>
                </a:extLst>
              </p:cNvPr>
              <p:cNvSpPr>
                <a:spLocks noChangeShapeType="1"/>
              </p:cNvSpPr>
              <p:nvPr/>
            </p:nvSpPr>
            <p:spPr bwMode="auto">
              <a:xfrm>
                <a:off x="9240838" y="4079875"/>
                <a:ext cx="0" cy="0"/>
              </a:xfrm>
              <a:prstGeom prst="line">
                <a:avLst/>
              </a:prstGeom>
              <a:noFill/>
              <a:ln w="4763" cap="flat">
                <a:solidFill>
                  <a:srgbClr val="231F20"/>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sp>
            <p:nvSpPr>
              <p:cNvPr id="79" name="Freeform 134">
                <a:extLst>
                  <a:ext uri="{FF2B5EF4-FFF2-40B4-BE49-F238E27FC236}">
                    <a16:creationId xmlns:a16="http://schemas.microsoft.com/office/drawing/2014/main" id="{569FD097-F69B-F859-C5E4-6AE5E29D1FF7}"/>
                  </a:ext>
                </a:extLst>
              </p:cNvPr>
              <p:cNvSpPr>
                <a:spLocks noEditPoints="1"/>
              </p:cNvSpPr>
              <p:nvPr/>
            </p:nvSpPr>
            <p:spPr bwMode="auto">
              <a:xfrm>
                <a:off x="9151938" y="3890963"/>
                <a:ext cx="177800" cy="188913"/>
              </a:xfrm>
              <a:custGeom>
                <a:avLst/>
                <a:gdLst>
                  <a:gd name="T0" fmla="*/ 71 w 92"/>
                  <a:gd name="T1" fmla="*/ 0 h 98"/>
                  <a:gd name="T2" fmla="*/ 46 w 92"/>
                  <a:gd name="T3" fmla="*/ 14 h 98"/>
                  <a:gd name="T4" fmla="*/ 20 w 92"/>
                  <a:gd name="T5" fmla="*/ 0 h 98"/>
                  <a:gd name="T6" fmla="*/ 0 w 92"/>
                  <a:gd name="T7" fmla="*/ 20 h 98"/>
                  <a:gd name="T8" fmla="*/ 20 w 92"/>
                  <a:gd name="T9" fmla="*/ 41 h 98"/>
                  <a:gd name="T10" fmla="*/ 20 w 92"/>
                  <a:gd name="T11" fmla="*/ 41 h 98"/>
                  <a:gd name="T12" fmla="*/ 31 w 92"/>
                  <a:gd name="T13" fmla="*/ 38 h 98"/>
                  <a:gd name="T14" fmla="*/ 31 w 92"/>
                  <a:gd name="T15" fmla="*/ 98 h 98"/>
                  <a:gd name="T16" fmla="*/ 39 w 92"/>
                  <a:gd name="T17" fmla="*/ 98 h 98"/>
                  <a:gd name="T18" fmla="*/ 39 w 92"/>
                  <a:gd name="T19" fmla="*/ 33 h 98"/>
                  <a:gd name="T20" fmla="*/ 46 w 92"/>
                  <a:gd name="T21" fmla="*/ 26 h 98"/>
                  <a:gd name="T22" fmla="*/ 53 w 92"/>
                  <a:gd name="T23" fmla="*/ 33 h 98"/>
                  <a:gd name="T24" fmla="*/ 53 w 92"/>
                  <a:gd name="T25" fmla="*/ 98 h 98"/>
                  <a:gd name="T26" fmla="*/ 60 w 92"/>
                  <a:gd name="T27" fmla="*/ 98 h 98"/>
                  <a:gd name="T28" fmla="*/ 60 w 92"/>
                  <a:gd name="T29" fmla="*/ 38 h 98"/>
                  <a:gd name="T30" fmla="*/ 71 w 92"/>
                  <a:gd name="T31" fmla="*/ 41 h 98"/>
                  <a:gd name="T32" fmla="*/ 72 w 92"/>
                  <a:gd name="T33" fmla="*/ 41 h 98"/>
                  <a:gd name="T34" fmla="*/ 86 w 92"/>
                  <a:gd name="T35" fmla="*/ 35 h 98"/>
                  <a:gd name="T36" fmla="*/ 92 w 92"/>
                  <a:gd name="T37" fmla="*/ 20 h 98"/>
                  <a:gd name="T38" fmla="*/ 71 w 92"/>
                  <a:gd name="T39" fmla="*/ 0 h 98"/>
                  <a:gd name="T40" fmla="*/ 20 w 92"/>
                  <a:gd name="T41" fmla="*/ 33 h 98"/>
                  <a:gd name="T42" fmla="*/ 20 w 92"/>
                  <a:gd name="T43" fmla="*/ 33 h 98"/>
                  <a:gd name="T44" fmla="*/ 7 w 92"/>
                  <a:gd name="T45" fmla="*/ 20 h 98"/>
                  <a:gd name="T46" fmla="*/ 20 w 92"/>
                  <a:gd name="T47" fmla="*/ 8 h 98"/>
                  <a:gd name="T48" fmla="*/ 41 w 92"/>
                  <a:gd name="T49" fmla="*/ 20 h 98"/>
                  <a:gd name="T50" fmla="*/ 20 w 92"/>
                  <a:gd name="T51" fmla="*/ 33 h 98"/>
                  <a:gd name="T52" fmla="*/ 80 w 92"/>
                  <a:gd name="T53" fmla="*/ 29 h 98"/>
                  <a:gd name="T54" fmla="*/ 72 w 92"/>
                  <a:gd name="T55" fmla="*/ 33 h 98"/>
                  <a:gd name="T56" fmla="*/ 71 w 92"/>
                  <a:gd name="T57" fmla="*/ 33 h 98"/>
                  <a:gd name="T58" fmla="*/ 51 w 92"/>
                  <a:gd name="T59" fmla="*/ 20 h 98"/>
                  <a:gd name="T60" fmla="*/ 71 w 92"/>
                  <a:gd name="T61" fmla="*/ 8 h 98"/>
                  <a:gd name="T62" fmla="*/ 84 w 92"/>
                  <a:gd name="T63" fmla="*/ 20 h 98"/>
                  <a:gd name="T64" fmla="*/ 80 w 92"/>
                  <a:gd name="T6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2" h="98">
                    <a:moveTo>
                      <a:pt x="71" y="0"/>
                    </a:moveTo>
                    <a:cubicBezTo>
                      <a:pt x="71" y="0"/>
                      <a:pt x="58" y="0"/>
                      <a:pt x="46" y="14"/>
                    </a:cubicBezTo>
                    <a:cubicBezTo>
                      <a:pt x="33" y="0"/>
                      <a:pt x="21" y="0"/>
                      <a:pt x="20" y="0"/>
                    </a:cubicBezTo>
                    <a:cubicBezTo>
                      <a:pt x="9" y="0"/>
                      <a:pt x="0" y="9"/>
                      <a:pt x="0" y="20"/>
                    </a:cubicBezTo>
                    <a:cubicBezTo>
                      <a:pt x="0" y="32"/>
                      <a:pt x="9" y="41"/>
                      <a:pt x="20" y="41"/>
                    </a:cubicBezTo>
                    <a:cubicBezTo>
                      <a:pt x="20" y="41"/>
                      <a:pt x="20" y="41"/>
                      <a:pt x="20" y="41"/>
                    </a:cubicBezTo>
                    <a:cubicBezTo>
                      <a:pt x="24" y="41"/>
                      <a:pt x="28" y="40"/>
                      <a:pt x="31" y="38"/>
                    </a:cubicBezTo>
                    <a:cubicBezTo>
                      <a:pt x="31" y="98"/>
                      <a:pt x="31" y="98"/>
                      <a:pt x="31" y="98"/>
                    </a:cubicBezTo>
                    <a:cubicBezTo>
                      <a:pt x="39" y="98"/>
                      <a:pt x="39" y="98"/>
                      <a:pt x="39" y="98"/>
                    </a:cubicBezTo>
                    <a:cubicBezTo>
                      <a:pt x="39" y="33"/>
                      <a:pt x="39" y="33"/>
                      <a:pt x="39" y="33"/>
                    </a:cubicBezTo>
                    <a:cubicBezTo>
                      <a:pt x="42" y="31"/>
                      <a:pt x="44" y="28"/>
                      <a:pt x="46" y="26"/>
                    </a:cubicBezTo>
                    <a:cubicBezTo>
                      <a:pt x="47" y="28"/>
                      <a:pt x="50" y="31"/>
                      <a:pt x="53" y="33"/>
                    </a:cubicBezTo>
                    <a:cubicBezTo>
                      <a:pt x="53" y="98"/>
                      <a:pt x="53" y="98"/>
                      <a:pt x="53" y="98"/>
                    </a:cubicBezTo>
                    <a:cubicBezTo>
                      <a:pt x="60" y="98"/>
                      <a:pt x="60" y="98"/>
                      <a:pt x="60" y="98"/>
                    </a:cubicBezTo>
                    <a:cubicBezTo>
                      <a:pt x="60" y="38"/>
                      <a:pt x="60" y="38"/>
                      <a:pt x="60" y="38"/>
                    </a:cubicBezTo>
                    <a:cubicBezTo>
                      <a:pt x="64" y="40"/>
                      <a:pt x="67" y="41"/>
                      <a:pt x="71" y="41"/>
                    </a:cubicBezTo>
                    <a:cubicBezTo>
                      <a:pt x="72" y="41"/>
                      <a:pt x="72" y="41"/>
                      <a:pt x="72" y="41"/>
                    </a:cubicBezTo>
                    <a:cubicBezTo>
                      <a:pt x="77" y="41"/>
                      <a:pt x="82" y="39"/>
                      <a:pt x="86" y="35"/>
                    </a:cubicBezTo>
                    <a:cubicBezTo>
                      <a:pt x="90" y="31"/>
                      <a:pt x="92" y="26"/>
                      <a:pt x="92" y="20"/>
                    </a:cubicBezTo>
                    <a:cubicBezTo>
                      <a:pt x="92" y="9"/>
                      <a:pt x="83" y="0"/>
                      <a:pt x="71" y="0"/>
                    </a:cubicBezTo>
                    <a:close/>
                    <a:moveTo>
                      <a:pt x="20" y="33"/>
                    </a:moveTo>
                    <a:cubicBezTo>
                      <a:pt x="20" y="33"/>
                      <a:pt x="20" y="33"/>
                      <a:pt x="20" y="33"/>
                    </a:cubicBezTo>
                    <a:cubicBezTo>
                      <a:pt x="13" y="33"/>
                      <a:pt x="7" y="27"/>
                      <a:pt x="7" y="20"/>
                    </a:cubicBezTo>
                    <a:cubicBezTo>
                      <a:pt x="7" y="13"/>
                      <a:pt x="13" y="8"/>
                      <a:pt x="20" y="8"/>
                    </a:cubicBezTo>
                    <a:cubicBezTo>
                      <a:pt x="21" y="8"/>
                      <a:pt x="31" y="8"/>
                      <a:pt x="41" y="20"/>
                    </a:cubicBezTo>
                    <a:cubicBezTo>
                      <a:pt x="38" y="24"/>
                      <a:pt x="30" y="33"/>
                      <a:pt x="20" y="33"/>
                    </a:cubicBezTo>
                    <a:close/>
                    <a:moveTo>
                      <a:pt x="80" y="29"/>
                    </a:moveTo>
                    <a:cubicBezTo>
                      <a:pt x="78" y="32"/>
                      <a:pt x="75" y="33"/>
                      <a:pt x="72" y="33"/>
                    </a:cubicBezTo>
                    <a:cubicBezTo>
                      <a:pt x="71" y="33"/>
                      <a:pt x="71" y="33"/>
                      <a:pt x="71" y="33"/>
                    </a:cubicBezTo>
                    <a:cubicBezTo>
                      <a:pt x="62" y="33"/>
                      <a:pt x="54" y="24"/>
                      <a:pt x="51" y="20"/>
                    </a:cubicBezTo>
                    <a:cubicBezTo>
                      <a:pt x="61" y="8"/>
                      <a:pt x="71" y="8"/>
                      <a:pt x="71" y="8"/>
                    </a:cubicBezTo>
                    <a:cubicBezTo>
                      <a:pt x="78" y="8"/>
                      <a:pt x="84" y="13"/>
                      <a:pt x="84" y="20"/>
                    </a:cubicBezTo>
                    <a:cubicBezTo>
                      <a:pt x="84" y="24"/>
                      <a:pt x="83" y="27"/>
                      <a:pt x="80" y="29"/>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grpSp>
      </p:grpSp>
      <p:grpSp>
        <p:nvGrpSpPr>
          <p:cNvPr id="80" name="Groupe 295">
            <a:extLst>
              <a:ext uri="{FF2B5EF4-FFF2-40B4-BE49-F238E27FC236}">
                <a16:creationId xmlns:a16="http://schemas.microsoft.com/office/drawing/2014/main" id="{083E3572-F695-1A69-DAF4-32E236995B79}"/>
              </a:ext>
            </a:extLst>
          </p:cNvPr>
          <p:cNvGrpSpPr>
            <a:grpSpLocks noChangeAspect="1"/>
          </p:cNvGrpSpPr>
          <p:nvPr/>
        </p:nvGrpSpPr>
        <p:grpSpPr>
          <a:xfrm>
            <a:off x="8448083" y="2062138"/>
            <a:ext cx="770154" cy="720000"/>
            <a:chOff x="6584950" y="3248025"/>
            <a:chExt cx="1096962" cy="1025525"/>
          </a:xfrm>
        </p:grpSpPr>
        <p:sp>
          <p:nvSpPr>
            <p:cNvPr id="81" name="Freeform 287">
              <a:extLst>
                <a:ext uri="{FF2B5EF4-FFF2-40B4-BE49-F238E27FC236}">
                  <a16:creationId xmlns:a16="http://schemas.microsoft.com/office/drawing/2014/main" id="{5F582CFF-6840-7430-BC1F-BEC1E780BD81}"/>
                </a:ext>
              </a:extLst>
            </p:cNvPr>
            <p:cNvSpPr>
              <a:spLocks/>
            </p:cNvSpPr>
            <p:nvPr/>
          </p:nvSpPr>
          <p:spPr bwMode="auto">
            <a:xfrm>
              <a:off x="6584950" y="3248025"/>
              <a:ext cx="1096962" cy="1025525"/>
            </a:xfrm>
            <a:custGeom>
              <a:avLst/>
              <a:gdLst>
                <a:gd name="T0" fmla="*/ 41 w 292"/>
                <a:gd name="T1" fmla="*/ 214 h 273"/>
                <a:gd name="T2" fmla="*/ 70 w 292"/>
                <a:gd name="T3" fmla="*/ 40 h 273"/>
                <a:gd name="T4" fmla="*/ 251 w 292"/>
                <a:gd name="T5" fmla="*/ 65 h 273"/>
                <a:gd name="T6" fmla="*/ 218 w 292"/>
                <a:gd name="T7" fmla="*/ 231 h 273"/>
                <a:gd name="T8" fmla="*/ 41 w 292"/>
                <a:gd name="T9" fmla="*/ 214 h 273"/>
              </a:gdLst>
              <a:ahLst/>
              <a:cxnLst>
                <a:cxn ang="0">
                  <a:pos x="T0" y="T1"/>
                </a:cxn>
                <a:cxn ang="0">
                  <a:pos x="T2" y="T3"/>
                </a:cxn>
                <a:cxn ang="0">
                  <a:pos x="T4" y="T5"/>
                </a:cxn>
                <a:cxn ang="0">
                  <a:pos x="T6" y="T7"/>
                </a:cxn>
                <a:cxn ang="0">
                  <a:pos x="T8" y="T9"/>
                </a:cxn>
              </a:cxnLst>
              <a:rect l="0" t="0" r="r" b="b"/>
              <a:pathLst>
                <a:path w="292" h="273">
                  <a:moveTo>
                    <a:pt x="41" y="214"/>
                  </a:moveTo>
                  <a:cubicBezTo>
                    <a:pt x="0" y="158"/>
                    <a:pt x="13" y="82"/>
                    <a:pt x="70" y="40"/>
                  </a:cubicBezTo>
                  <a:cubicBezTo>
                    <a:pt x="127" y="0"/>
                    <a:pt x="208" y="11"/>
                    <a:pt x="251" y="65"/>
                  </a:cubicBezTo>
                  <a:cubicBezTo>
                    <a:pt x="292" y="121"/>
                    <a:pt x="274" y="191"/>
                    <a:pt x="218" y="231"/>
                  </a:cubicBezTo>
                  <a:cubicBezTo>
                    <a:pt x="160" y="273"/>
                    <a:pt x="84" y="268"/>
                    <a:pt x="41" y="214"/>
                  </a:cubicBezTo>
                </a:path>
              </a:pathLst>
            </a:custGeom>
            <a:solidFill>
              <a:srgbClr val="006C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grpSp>
          <p:nvGrpSpPr>
            <p:cNvPr id="82" name="Groupe 297">
              <a:extLst>
                <a:ext uri="{FF2B5EF4-FFF2-40B4-BE49-F238E27FC236}">
                  <a16:creationId xmlns:a16="http://schemas.microsoft.com/office/drawing/2014/main" id="{34DCF076-6B09-F977-819F-9D7C1BB3D1EB}"/>
                </a:ext>
              </a:extLst>
            </p:cNvPr>
            <p:cNvGrpSpPr/>
            <p:nvPr/>
          </p:nvGrpSpPr>
          <p:grpSpPr>
            <a:xfrm>
              <a:off x="6843712" y="3457575"/>
              <a:ext cx="571500" cy="612775"/>
              <a:chOff x="6843712" y="3457575"/>
              <a:chExt cx="571500" cy="612775"/>
            </a:xfrm>
          </p:grpSpPr>
          <p:sp>
            <p:nvSpPr>
              <p:cNvPr id="83" name="Freeform 288">
                <a:extLst>
                  <a:ext uri="{FF2B5EF4-FFF2-40B4-BE49-F238E27FC236}">
                    <a16:creationId xmlns:a16="http://schemas.microsoft.com/office/drawing/2014/main" id="{E76C4156-CC54-301C-3E57-4A14B75CBCB6}"/>
                  </a:ext>
                </a:extLst>
              </p:cNvPr>
              <p:cNvSpPr>
                <a:spLocks/>
              </p:cNvSpPr>
              <p:nvPr/>
            </p:nvSpPr>
            <p:spPr bwMode="auto">
              <a:xfrm>
                <a:off x="6896100" y="3957637"/>
                <a:ext cx="390525" cy="112713"/>
              </a:xfrm>
              <a:custGeom>
                <a:avLst/>
                <a:gdLst>
                  <a:gd name="T0" fmla="*/ 7 w 104"/>
                  <a:gd name="T1" fmla="*/ 0 h 30"/>
                  <a:gd name="T2" fmla="*/ 97 w 104"/>
                  <a:gd name="T3" fmla="*/ 0 h 30"/>
                  <a:gd name="T4" fmla="*/ 104 w 104"/>
                  <a:gd name="T5" fmla="*/ 7 h 30"/>
                  <a:gd name="T6" fmla="*/ 81 w 104"/>
                  <a:gd name="T7" fmla="*/ 30 h 30"/>
                  <a:gd name="T8" fmla="*/ 0 w 104"/>
                  <a:gd name="T9" fmla="*/ 30 h 30"/>
                  <a:gd name="T10" fmla="*/ 1 w 104"/>
                  <a:gd name="T11" fmla="*/ 26 h 30"/>
                  <a:gd name="T12" fmla="*/ 0 w 104"/>
                  <a:gd name="T13" fmla="*/ 18 h 30"/>
                  <a:gd name="T14" fmla="*/ 0 w 104"/>
                  <a:gd name="T15" fmla="*/ 11 h 30"/>
                  <a:gd name="T16" fmla="*/ 0 w 104"/>
                  <a:gd name="T17" fmla="*/ 7 h 30"/>
                  <a:gd name="T18" fmla="*/ 7 w 104"/>
                  <a:gd name="T1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30">
                    <a:moveTo>
                      <a:pt x="7" y="0"/>
                    </a:moveTo>
                    <a:cubicBezTo>
                      <a:pt x="97" y="0"/>
                      <a:pt x="97" y="0"/>
                      <a:pt x="97" y="0"/>
                    </a:cubicBezTo>
                    <a:cubicBezTo>
                      <a:pt x="101" y="0"/>
                      <a:pt x="104" y="3"/>
                      <a:pt x="104" y="7"/>
                    </a:cubicBezTo>
                    <a:cubicBezTo>
                      <a:pt x="104" y="20"/>
                      <a:pt x="94" y="30"/>
                      <a:pt x="81" y="30"/>
                    </a:cubicBezTo>
                    <a:cubicBezTo>
                      <a:pt x="0" y="30"/>
                      <a:pt x="0" y="30"/>
                      <a:pt x="0" y="30"/>
                    </a:cubicBezTo>
                    <a:cubicBezTo>
                      <a:pt x="0" y="29"/>
                      <a:pt x="1" y="27"/>
                      <a:pt x="1" y="26"/>
                    </a:cubicBezTo>
                    <a:cubicBezTo>
                      <a:pt x="1" y="23"/>
                      <a:pt x="0" y="21"/>
                      <a:pt x="0" y="18"/>
                    </a:cubicBezTo>
                    <a:cubicBezTo>
                      <a:pt x="0" y="16"/>
                      <a:pt x="0" y="14"/>
                      <a:pt x="0" y="11"/>
                    </a:cubicBezTo>
                    <a:cubicBezTo>
                      <a:pt x="0" y="7"/>
                      <a:pt x="0" y="7"/>
                      <a:pt x="0" y="7"/>
                    </a:cubicBezTo>
                    <a:cubicBezTo>
                      <a:pt x="0" y="3"/>
                      <a:pt x="4" y="0"/>
                      <a:pt x="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sp>
            <p:nvSpPr>
              <p:cNvPr id="84" name="Freeform 289">
                <a:extLst>
                  <a:ext uri="{FF2B5EF4-FFF2-40B4-BE49-F238E27FC236}">
                    <a16:creationId xmlns:a16="http://schemas.microsoft.com/office/drawing/2014/main" id="{CCFB27A7-47E5-BD42-84EB-1C25CC8B848C}"/>
                  </a:ext>
                </a:extLst>
              </p:cNvPr>
              <p:cNvSpPr>
                <a:spLocks/>
              </p:cNvSpPr>
              <p:nvPr/>
            </p:nvSpPr>
            <p:spPr bwMode="auto">
              <a:xfrm>
                <a:off x="7058025" y="3457575"/>
                <a:ext cx="338137" cy="252413"/>
              </a:xfrm>
              <a:custGeom>
                <a:avLst/>
                <a:gdLst>
                  <a:gd name="T0" fmla="*/ 33 w 90"/>
                  <a:gd name="T1" fmla="*/ 14 h 67"/>
                  <a:gd name="T2" fmla="*/ 46 w 90"/>
                  <a:gd name="T3" fmla="*/ 14 h 67"/>
                  <a:gd name="T4" fmla="*/ 61 w 90"/>
                  <a:gd name="T5" fmla="*/ 0 h 67"/>
                  <a:gd name="T6" fmla="*/ 90 w 90"/>
                  <a:gd name="T7" fmla="*/ 13 h 67"/>
                  <a:gd name="T8" fmla="*/ 89 w 90"/>
                  <a:gd name="T9" fmla="*/ 16 h 67"/>
                  <a:gd name="T10" fmla="*/ 82 w 90"/>
                  <a:gd name="T11" fmla="*/ 16 h 67"/>
                  <a:gd name="T12" fmla="*/ 63 w 90"/>
                  <a:gd name="T13" fmla="*/ 12 h 67"/>
                  <a:gd name="T14" fmla="*/ 54 w 90"/>
                  <a:gd name="T15" fmla="*/ 21 h 67"/>
                  <a:gd name="T16" fmla="*/ 54 w 90"/>
                  <a:gd name="T17" fmla="*/ 46 h 67"/>
                  <a:gd name="T18" fmla="*/ 63 w 90"/>
                  <a:gd name="T19" fmla="*/ 55 h 67"/>
                  <a:gd name="T20" fmla="*/ 82 w 90"/>
                  <a:gd name="T21" fmla="*/ 51 h 67"/>
                  <a:gd name="T22" fmla="*/ 89 w 90"/>
                  <a:gd name="T23" fmla="*/ 51 h 67"/>
                  <a:gd name="T24" fmla="*/ 90 w 90"/>
                  <a:gd name="T25" fmla="*/ 54 h 67"/>
                  <a:gd name="T26" fmla="*/ 61 w 90"/>
                  <a:gd name="T27" fmla="*/ 67 h 67"/>
                  <a:gd name="T28" fmla="*/ 46 w 90"/>
                  <a:gd name="T29" fmla="*/ 53 h 67"/>
                  <a:gd name="T30" fmla="*/ 33 w 90"/>
                  <a:gd name="T31" fmla="*/ 53 h 67"/>
                  <a:gd name="T32" fmla="*/ 30 w 90"/>
                  <a:gd name="T33" fmla="*/ 50 h 67"/>
                  <a:gd name="T34" fmla="*/ 29 w 90"/>
                  <a:gd name="T35" fmla="*/ 47 h 67"/>
                  <a:gd name="T36" fmla="*/ 0 w 90"/>
                  <a:gd name="T37" fmla="*/ 47 h 67"/>
                  <a:gd name="T38" fmla="*/ 3 w 90"/>
                  <a:gd name="T39" fmla="*/ 33 h 67"/>
                  <a:gd name="T40" fmla="*/ 0 w 90"/>
                  <a:gd name="T41" fmla="*/ 20 h 67"/>
                  <a:gd name="T42" fmla="*/ 29 w 90"/>
                  <a:gd name="T43" fmla="*/ 20 h 67"/>
                  <a:gd name="T44" fmla="*/ 30 w 90"/>
                  <a:gd name="T45" fmla="*/ 17 h 67"/>
                  <a:gd name="T46" fmla="*/ 33 w 90"/>
                  <a:gd name="T47" fmla="*/ 14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0" h="67">
                    <a:moveTo>
                      <a:pt x="33" y="14"/>
                    </a:moveTo>
                    <a:cubicBezTo>
                      <a:pt x="46" y="14"/>
                      <a:pt x="46" y="14"/>
                      <a:pt x="46" y="14"/>
                    </a:cubicBezTo>
                    <a:cubicBezTo>
                      <a:pt x="61" y="0"/>
                      <a:pt x="61" y="0"/>
                      <a:pt x="61" y="0"/>
                    </a:cubicBezTo>
                    <a:cubicBezTo>
                      <a:pt x="90" y="13"/>
                      <a:pt x="90" y="13"/>
                      <a:pt x="90" y="13"/>
                    </a:cubicBezTo>
                    <a:cubicBezTo>
                      <a:pt x="89" y="16"/>
                      <a:pt x="89" y="16"/>
                      <a:pt x="89" y="16"/>
                    </a:cubicBezTo>
                    <a:cubicBezTo>
                      <a:pt x="82" y="16"/>
                      <a:pt x="82" y="16"/>
                      <a:pt x="82" y="16"/>
                    </a:cubicBezTo>
                    <a:cubicBezTo>
                      <a:pt x="63" y="12"/>
                      <a:pt x="63" y="12"/>
                      <a:pt x="63" y="12"/>
                    </a:cubicBezTo>
                    <a:cubicBezTo>
                      <a:pt x="54" y="21"/>
                      <a:pt x="54" y="21"/>
                      <a:pt x="54" y="21"/>
                    </a:cubicBezTo>
                    <a:cubicBezTo>
                      <a:pt x="54" y="46"/>
                      <a:pt x="54" y="46"/>
                      <a:pt x="54" y="46"/>
                    </a:cubicBezTo>
                    <a:cubicBezTo>
                      <a:pt x="63" y="55"/>
                      <a:pt x="63" y="55"/>
                      <a:pt x="63" y="55"/>
                    </a:cubicBezTo>
                    <a:cubicBezTo>
                      <a:pt x="82" y="51"/>
                      <a:pt x="82" y="51"/>
                      <a:pt x="82" y="51"/>
                    </a:cubicBezTo>
                    <a:cubicBezTo>
                      <a:pt x="89" y="51"/>
                      <a:pt x="89" y="51"/>
                      <a:pt x="89" y="51"/>
                    </a:cubicBezTo>
                    <a:cubicBezTo>
                      <a:pt x="90" y="54"/>
                      <a:pt x="90" y="54"/>
                      <a:pt x="90" y="54"/>
                    </a:cubicBezTo>
                    <a:cubicBezTo>
                      <a:pt x="61" y="67"/>
                      <a:pt x="61" y="67"/>
                      <a:pt x="61" y="67"/>
                    </a:cubicBezTo>
                    <a:cubicBezTo>
                      <a:pt x="46" y="53"/>
                      <a:pt x="46" y="53"/>
                      <a:pt x="46" y="53"/>
                    </a:cubicBezTo>
                    <a:cubicBezTo>
                      <a:pt x="33" y="53"/>
                      <a:pt x="33" y="53"/>
                      <a:pt x="33" y="53"/>
                    </a:cubicBezTo>
                    <a:cubicBezTo>
                      <a:pt x="31" y="53"/>
                      <a:pt x="30" y="51"/>
                      <a:pt x="30" y="50"/>
                    </a:cubicBezTo>
                    <a:cubicBezTo>
                      <a:pt x="29" y="47"/>
                      <a:pt x="29" y="47"/>
                      <a:pt x="29" y="47"/>
                    </a:cubicBezTo>
                    <a:cubicBezTo>
                      <a:pt x="0" y="47"/>
                      <a:pt x="0" y="47"/>
                      <a:pt x="0" y="47"/>
                    </a:cubicBezTo>
                    <a:cubicBezTo>
                      <a:pt x="2" y="43"/>
                      <a:pt x="3" y="38"/>
                      <a:pt x="3" y="33"/>
                    </a:cubicBezTo>
                    <a:cubicBezTo>
                      <a:pt x="3" y="28"/>
                      <a:pt x="2" y="24"/>
                      <a:pt x="0" y="20"/>
                    </a:cubicBezTo>
                    <a:cubicBezTo>
                      <a:pt x="29" y="20"/>
                      <a:pt x="29" y="20"/>
                      <a:pt x="29" y="20"/>
                    </a:cubicBezTo>
                    <a:cubicBezTo>
                      <a:pt x="30" y="17"/>
                      <a:pt x="30" y="17"/>
                      <a:pt x="30" y="17"/>
                    </a:cubicBezTo>
                    <a:cubicBezTo>
                      <a:pt x="30" y="15"/>
                      <a:pt x="31" y="14"/>
                      <a:pt x="33" y="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sp>
            <p:nvSpPr>
              <p:cNvPr id="85" name="Freeform 290">
                <a:extLst>
                  <a:ext uri="{FF2B5EF4-FFF2-40B4-BE49-F238E27FC236}">
                    <a16:creationId xmlns:a16="http://schemas.microsoft.com/office/drawing/2014/main" id="{825208A8-C59A-1D90-016D-9891829CF501}"/>
                  </a:ext>
                </a:extLst>
              </p:cNvPr>
              <p:cNvSpPr>
                <a:spLocks/>
              </p:cNvSpPr>
              <p:nvPr/>
            </p:nvSpPr>
            <p:spPr bwMode="auto">
              <a:xfrm>
                <a:off x="7321550" y="3536950"/>
                <a:ext cx="93662" cy="93663"/>
              </a:xfrm>
              <a:custGeom>
                <a:avLst/>
                <a:gdLst>
                  <a:gd name="T0" fmla="*/ 0 w 59"/>
                  <a:gd name="T1" fmla="*/ 0 h 59"/>
                  <a:gd name="T2" fmla="*/ 0 w 59"/>
                  <a:gd name="T3" fmla="*/ 59 h 59"/>
                  <a:gd name="T4" fmla="*/ 59 w 59"/>
                  <a:gd name="T5" fmla="*/ 59 h 59"/>
                  <a:gd name="T6" fmla="*/ 59 w 59"/>
                  <a:gd name="T7" fmla="*/ 0 h 59"/>
                  <a:gd name="T8" fmla="*/ 0 w 59"/>
                  <a:gd name="T9" fmla="*/ 0 h 59"/>
                  <a:gd name="T10" fmla="*/ 0 w 59"/>
                  <a:gd name="T11" fmla="*/ 0 h 59"/>
                </a:gdLst>
                <a:ahLst/>
                <a:cxnLst>
                  <a:cxn ang="0">
                    <a:pos x="T0" y="T1"/>
                  </a:cxn>
                  <a:cxn ang="0">
                    <a:pos x="T2" y="T3"/>
                  </a:cxn>
                  <a:cxn ang="0">
                    <a:pos x="T4" y="T5"/>
                  </a:cxn>
                  <a:cxn ang="0">
                    <a:pos x="T6" y="T7"/>
                  </a:cxn>
                  <a:cxn ang="0">
                    <a:pos x="T8" y="T9"/>
                  </a:cxn>
                  <a:cxn ang="0">
                    <a:pos x="T10" y="T11"/>
                  </a:cxn>
                </a:cxnLst>
                <a:rect l="0" t="0" r="r" b="b"/>
                <a:pathLst>
                  <a:path w="59" h="59">
                    <a:moveTo>
                      <a:pt x="0" y="0"/>
                    </a:moveTo>
                    <a:lnTo>
                      <a:pt x="0" y="59"/>
                    </a:lnTo>
                    <a:lnTo>
                      <a:pt x="59" y="59"/>
                    </a:lnTo>
                    <a:lnTo>
                      <a:pt x="59" y="0"/>
                    </a:lnTo>
                    <a:lnTo>
                      <a:pt x="0" y="0"/>
                    </a:lnTo>
                    <a:lnTo>
                      <a:pt x="0" y="0"/>
                    </a:lnTo>
                    <a:close/>
                  </a:path>
                </a:pathLst>
              </a:custGeom>
              <a:solidFill>
                <a:srgbClr val="A7C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sp>
            <p:nvSpPr>
              <p:cNvPr id="86" name="Oval 291">
                <a:extLst>
                  <a:ext uri="{FF2B5EF4-FFF2-40B4-BE49-F238E27FC236}">
                    <a16:creationId xmlns:a16="http://schemas.microsoft.com/office/drawing/2014/main" id="{73D22617-00BB-C87A-B097-4B4574071888}"/>
                  </a:ext>
                </a:extLst>
              </p:cNvPr>
              <p:cNvSpPr>
                <a:spLocks noChangeArrowheads="1"/>
              </p:cNvSpPr>
              <p:nvPr/>
            </p:nvSpPr>
            <p:spPr bwMode="auto">
              <a:xfrm>
                <a:off x="6843712" y="3481387"/>
                <a:ext cx="211137" cy="206375"/>
              </a:xfrm>
              <a:prstGeom prst="ellipse">
                <a:avLst/>
              </a:prstGeom>
              <a:solidFill>
                <a:srgbClr val="A7C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sp>
            <p:nvSpPr>
              <p:cNvPr id="87" name="Freeform 292">
                <a:extLst>
                  <a:ext uri="{FF2B5EF4-FFF2-40B4-BE49-F238E27FC236}">
                    <a16:creationId xmlns:a16="http://schemas.microsoft.com/office/drawing/2014/main" id="{587ACCED-F47A-1B2E-B150-96C42204ABF7}"/>
                  </a:ext>
                </a:extLst>
              </p:cNvPr>
              <p:cNvSpPr>
                <a:spLocks/>
              </p:cNvSpPr>
              <p:nvPr/>
            </p:nvSpPr>
            <p:spPr bwMode="auto">
              <a:xfrm>
                <a:off x="6915150" y="3649662"/>
                <a:ext cx="269875" cy="288925"/>
              </a:xfrm>
              <a:custGeom>
                <a:avLst/>
                <a:gdLst>
                  <a:gd name="T0" fmla="*/ 19 w 72"/>
                  <a:gd name="T1" fmla="*/ 77 h 77"/>
                  <a:gd name="T2" fmla="*/ 72 w 72"/>
                  <a:gd name="T3" fmla="*/ 77 h 77"/>
                  <a:gd name="T4" fmla="*/ 36 w 72"/>
                  <a:gd name="T5" fmla="*/ 0 h 77"/>
                  <a:gd name="T6" fmla="*/ 9 w 72"/>
                  <a:gd name="T7" fmla="*/ 14 h 77"/>
                  <a:gd name="T8" fmla="*/ 0 w 72"/>
                  <a:gd name="T9" fmla="*/ 13 h 77"/>
                  <a:gd name="T10" fmla="*/ 19 w 72"/>
                  <a:gd name="T11" fmla="*/ 77 h 77"/>
                </a:gdLst>
                <a:ahLst/>
                <a:cxnLst>
                  <a:cxn ang="0">
                    <a:pos x="T0" y="T1"/>
                  </a:cxn>
                  <a:cxn ang="0">
                    <a:pos x="T2" y="T3"/>
                  </a:cxn>
                  <a:cxn ang="0">
                    <a:pos x="T4" y="T5"/>
                  </a:cxn>
                  <a:cxn ang="0">
                    <a:pos x="T6" y="T7"/>
                  </a:cxn>
                  <a:cxn ang="0">
                    <a:pos x="T8" y="T9"/>
                  </a:cxn>
                  <a:cxn ang="0">
                    <a:pos x="T10" y="T11"/>
                  </a:cxn>
                </a:cxnLst>
                <a:rect l="0" t="0" r="r" b="b"/>
                <a:pathLst>
                  <a:path w="72" h="77">
                    <a:moveTo>
                      <a:pt x="19" y="77"/>
                    </a:moveTo>
                    <a:cubicBezTo>
                      <a:pt x="72" y="77"/>
                      <a:pt x="72" y="77"/>
                      <a:pt x="72" y="77"/>
                    </a:cubicBezTo>
                    <a:cubicBezTo>
                      <a:pt x="36" y="0"/>
                      <a:pt x="36" y="0"/>
                      <a:pt x="36" y="0"/>
                    </a:cubicBezTo>
                    <a:cubicBezTo>
                      <a:pt x="30" y="9"/>
                      <a:pt x="20" y="14"/>
                      <a:pt x="9" y="14"/>
                    </a:cubicBezTo>
                    <a:cubicBezTo>
                      <a:pt x="6" y="14"/>
                      <a:pt x="3" y="14"/>
                      <a:pt x="0" y="13"/>
                    </a:cubicBezTo>
                    <a:cubicBezTo>
                      <a:pt x="19" y="77"/>
                      <a:pt x="19" y="77"/>
                      <a:pt x="19" y="77"/>
                    </a:cubicBezTo>
                    <a:close/>
                  </a:path>
                </a:pathLst>
              </a:custGeom>
              <a:solidFill>
                <a:srgbClr val="A7C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sp>
            <p:nvSpPr>
              <p:cNvPr id="88" name="Oval 293">
                <a:extLst>
                  <a:ext uri="{FF2B5EF4-FFF2-40B4-BE49-F238E27FC236}">
                    <a16:creationId xmlns:a16="http://schemas.microsoft.com/office/drawing/2014/main" id="{B7E0B726-5C09-73C2-6E59-BF593B3B5BCD}"/>
                  </a:ext>
                </a:extLst>
              </p:cNvPr>
              <p:cNvSpPr>
                <a:spLocks noChangeArrowheads="1"/>
              </p:cNvSpPr>
              <p:nvPr/>
            </p:nvSpPr>
            <p:spPr bwMode="auto">
              <a:xfrm>
                <a:off x="6896100" y="3533775"/>
                <a:ext cx="106362" cy="101600"/>
              </a:xfrm>
              <a:prstGeom prst="ellipse">
                <a:avLst/>
              </a:prstGeom>
              <a:solidFill>
                <a:srgbClr val="006C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sp>
            <p:nvSpPr>
              <p:cNvPr id="122" name="Oval 294">
                <a:extLst>
                  <a:ext uri="{FF2B5EF4-FFF2-40B4-BE49-F238E27FC236}">
                    <a16:creationId xmlns:a16="http://schemas.microsoft.com/office/drawing/2014/main" id="{086BE019-F135-A0ED-B114-CF9B53A37ACA}"/>
                  </a:ext>
                </a:extLst>
              </p:cNvPr>
              <p:cNvSpPr>
                <a:spLocks noChangeArrowheads="1"/>
              </p:cNvSpPr>
              <p:nvPr/>
            </p:nvSpPr>
            <p:spPr bwMode="auto">
              <a:xfrm>
                <a:off x="6923087" y="3559175"/>
                <a:ext cx="52387" cy="492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grpSp>
      </p:grpSp>
      <p:sp>
        <p:nvSpPr>
          <p:cNvPr id="123" name="TextBox 122">
            <a:extLst>
              <a:ext uri="{FF2B5EF4-FFF2-40B4-BE49-F238E27FC236}">
                <a16:creationId xmlns:a16="http://schemas.microsoft.com/office/drawing/2014/main" id="{2BC20B39-CDCD-5721-B44F-F63439986E6B}"/>
              </a:ext>
            </a:extLst>
          </p:cNvPr>
          <p:cNvSpPr txBox="1"/>
          <p:nvPr/>
        </p:nvSpPr>
        <p:spPr>
          <a:xfrm>
            <a:off x="5408302" y="3204659"/>
            <a:ext cx="2266080" cy="461665"/>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prstClr val="black"/>
                </a:solidFill>
                <a:effectLst/>
                <a:uLnTx/>
                <a:uFillTx/>
                <a:ea typeface="+mn-ea"/>
                <a:cs typeface="+mn-cs"/>
              </a:rPr>
              <a:t>Une pression et compétition sur les coûts grandissantes.</a:t>
            </a:r>
          </a:p>
        </p:txBody>
      </p:sp>
      <p:sp>
        <p:nvSpPr>
          <p:cNvPr id="124" name="TextBox 123">
            <a:extLst>
              <a:ext uri="{FF2B5EF4-FFF2-40B4-BE49-F238E27FC236}">
                <a16:creationId xmlns:a16="http://schemas.microsoft.com/office/drawing/2014/main" id="{A5AA2C81-811C-6D35-6109-25DC0D8A89EC}"/>
              </a:ext>
            </a:extLst>
          </p:cNvPr>
          <p:cNvSpPr txBox="1"/>
          <p:nvPr/>
        </p:nvSpPr>
        <p:spPr>
          <a:xfrm>
            <a:off x="5408302" y="4364297"/>
            <a:ext cx="2266080" cy="461665"/>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prstClr val="black"/>
                </a:solidFill>
                <a:effectLst/>
                <a:uLnTx/>
                <a:uFillTx/>
                <a:ea typeface="+mn-ea"/>
                <a:cs typeface="+mn-cs"/>
              </a:rPr>
              <a:t>Un besoin d’innover sans cesse plus important.</a:t>
            </a:r>
          </a:p>
        </p:txBody>
      </p:sp>
      <p:sp>
        <p:nvSpPr>
          <p:cNvPr id="125" name="TextBox 124">
            <a:extLst>
              <a:ext uri="{FF2B5EF4-FFF2-40B4-BE49-F238E27FC236}">
                <a16:creationId xmlns:a16="http://schemas.microsoft.com/office/drawing/2014/main" id="{8E8503C3-6637-9148-191A-BE08F64AC483}"/>
              </a:ext>
            </a:extLst>
          </p:cNvPr>
          <p:cNvSpPr txBox="1"/>
          <p:nvPr/>
        </p:nvSpPr>
        <p:spPr>
          <a:xfrm>
            <a:off x="9227937" y="2239586"/>
            <a:ext cx="2266080" cy="461665"/>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prstClr val="black"/>
                </a:solidFill>
                <a:effectLst/>
                <a:uLnTx/>
                <a:uFillTx/>
                <a:ea typeface="+mn-ea"/>
                <a:cs typeface="+mn-cs"/>
              </a:rPr>
              <a:t>Des réseaux de distribution fortement complexes.</a:t>
            </a:r>
          </a:p>
        </p:txBody>
      </p:sp>
      <p:sp>
        <p:nvSpPr>
          <p:cNvPr id="126" name="TextBox 125">
            <a:extLst>
              <a:ext uri="{FF2B5EF4-FFF2-40B4-BE49-F238E27FC236}">
                <a16:creationId xmlns:a16="http://schemas.microsoft.com/office/drawing/2014/main" id="{5AC12142-5B7A-B355-8D79-D9D9D6C183A5}"/>
              </a:ext>
            </a:extLst>
          </p:cNvPr>
          <p:cNvSpPr txBox="1"/>
          <p:nvPr/>
        </p:nvSpPr>
        <p:spPr>
          <a:xfrm>
            <a:off x="9227937" y="4286112"/>
            <a:ext cx="2266080" cy="830997"/>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prstClr val="black"/>
                </a:solidFill>
                <a:effectLst/>
                <a:uLnTx/>
                <a:uFillTx/>
                <a:ea typeface="+mn-ea"/>
                <a:cs typeface="+mn-cs"/>
              </a:rPr>
              <a:t>De nombreuses données disponibles, devant être traitées ou utiles à de nouveaux services.</a:t>
            </a:r>
          </a:p>
        </p:txBody>
      </p:sp>
      <p:pic>
        <p:nvPicPr>
          <p:cNvPr id="127" name="Picture 2" descr="Globe terrestre - Icônes éducation gratuites">
            <a:extLst>
              <a:ext uri="{FF2B5EF4-FFF2-40B4-BE49-F238E27FC236}">
                <a16:creationId xmlns:a16="http://schemas.microsoft.com/office/drawing/2014/main" id="{2336A18B-DE19-45AF-4C35-0073CDB9052D}"/>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4596296" y="2038048"/>
            <a:ext cx="724214" cy="724214"/>
          </a:xfrm>
          <a:prstGeom prst="rect">
            <a:avLst/>
          </a:prstGeom>
          <a:noFill/>
          <a:extLst>
            <a:ext uri="{909E8E84-426E-40DD-AFC4-6F175D3DCCD1}">
              <a14:hiddenFill xmlns:a14="http://schemas.microsoft.com/office/drawing/2010/main">
                <a:solidFill>
                  <a:srgbClr val="FFFFFF"/>
                </a:solidFill>
              </a14:hiddenFill>
            </a:ext>
          </a:extLst>
        </p:spPr>
      </p:pic>
      <p:sp>
        <p:nvSpPr>
          <p:cNvPr id="160" name="TextBox 159">
            <a:extLst>
              <a:ext uri="{FF2B5EF4-FFF2-40B4-BE49-F238E27FC236}">
                <a16:creationId xmlns:a16="http://schemas.microsoft.com/office/drawing/2014/main" id="{AA7B0AD9-728E-D75D-4D92-EA32164807F6}"/>
              </a:ext>
            </a:extLst>
          </p:cNvPr>
          <p:cNvSpPr txBox="1"/>
          <p:nvPr/>
        </p:nvSpPr>
        <p:spPr>
          <a:xfrm>
            <a:off x="5408302" y="2202878"/>
            <a:ext cx="2266080" cy="276999"/>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prstClr val="black"/>
                </a:solidFill>
                <a:effectLst/>
                <a:uLnTx/>
                <a:uFillTx/>
                <a:ea typeface="+mn-ea"/>
                <a:cs typeface="+mn-cs"/>
              </a:rPr>
              <a:t>Des industries mondialisées.</a:t>
            </a:r>
          </a:p>
        </p:txBody>
      </p:sp>
      <p:sp>
        <p:nvSpPr>
          <p:cNvPr id="161" name="TextBox 160">
            <a:extLst>
              <a:ext uri="{FF2B5EF4-FFF2-40B4-BE49-F238E27FC236}">
                <a16:creationId xmlns:a16="http://schemas.microsoft.com/office/drawing/2014/main" id="{50E199FB-D80F-0D51-BEC3-D3A48D667708}"/>
              </a:ext>
            </a:extLst>
          </p:cNvPr>
          <p:cNvSpPr txBox="1"/>
          <p:nvPr/>
        </p:nvSpPr>
        <p:spPr>
          <a:xfrm>
            <a:off x="9227937" y="3360695"/>
            <a:ext cx="2266080" cy="461665"/>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prstClr val="black"/>
                </a:solidFill>
                <a:effectLst/>
                <a:uLnTx/>
                <a:uFillTx/>
                <a:ea typeface="+mn-ea"/>
                <a:cs typeface="+mn-cs"/>
              </a:rPr>
              <a:t>Des innovations technologiques fréquentes.</a:t>
            </a:r>
          </a:p>
        </p:txBody>
      </p:sp>
      <p:grpSp>
        <p:nvGrpSpPr>
          <p:cNvPr id="162" name="Group 161">
            <a:extLst>
              <a:ext uri="{FF2B5EF4-FFF2-40B4-BE49-F238E27FC236}">
                <a16:creationId xmlns:a16="http://schemas.microsoft.com/office/drawing/2014/main" id="{CCEDD5FA-9C41-7548-FA75-3217AA3B64C4}"/>
              </a:ext>
            </a:extLst>
          </p:cNvPr>
          <p:cNvGrpSpPr/>
          <p:nvPr/>
        </p:nvGrpSpPr>
        <p:grpSpPr>
          <a:xfrm>
            <a:off x="8448083" y="3231527"/>
            <a:ext cx="770154" cy="720000"/>
            <a:chOff x="8448083" y="3039327"/>
            <a:chExt cx="770154" cy="720000"/>
          </a:xfrm>
        </p:grpSpPr>
        <p:grpSp>
          <p:nvGrpSpPr>
            <p:cNvPr id="163" name="Groupe 295">
              <a:extLst>
                <a:ext uri="{FF2B5EF4-FFF2-40B4-BE49-F238E27FC236}">
                  <a16:creationId xmlns:a16="http://schemas.microsoft.com/office/drawing/2014/main" id="{09132FB8-27BB-87FA-F648-153F6A215934}"/>
                </a:ext>
              </a:extLst>
            </p:cNvPr>
            <p:cNvGrpSpPr>
              <a:grpSpLocks noChangeAspect="1"/>
            </p:cNvGrpSpPr>
            <p:nvPr/>
          </p:nvGrpSpPr>
          <p:grpSpPr>
            <a:xfrm>
              <a:off x="8448083" y="3039327"/>
              <a:ext cx="770154" cy="720000"/>
              <a:chOff x="6584950" y="3248025"/>
              <a:chExt cx="1096962" cy="1025525"/>
            </a:xfrm>
          </p:grpSpPr>
          <p:sp>
            <p:nvSpPr>
              <p:cNvPr id="165" name="Freeform 287">
                <a:extLst>
                  <a:ext uri="{FF2B5EF4-FFF2-40B4-BE49-F238E27FC236}">
                    <a16:creationId xmlns:a16="http://schemas.microsoft.com/office/drawing/2014/main" id="{E0F05272-4EC4-BEA8-4E5F-5C69AD8DCE41}"/>
                  </a:ext>
                </a:extLst>
              </p:cNvPr>
              <p:cNvSpPr>
                <a:spLocks/>
              </p:cNvSpPr>
              <p:nvPr/>
            </p:nvSpPr>
            <p:spPr bwMode="auto">
              <a:xfrm>
                <a:off x="6584950" y="3248025"/>
                <a:ext cx="1096962" cy="1025525"/>
              </a:xfrm>
              <a:custGeom>
                <a:avLst/>
                <a:gdLst>
                  <a:gd name="T0" fmla="*/ 41 w 292"/>
                  <a:gd name="T1" fmla="*/ 214 h 273"/>
                  <a:gd name="T2" fmla="*/ 70 w 292"/>
                  <a:gd name="T3" fmla="*/ 40 h 273"/>
                  <a:gd name="T4" fmla="*/ 251 w 292"/>
                  <a:gd name="T5" fmla="*/ 65 h 273"/>
                  <a:gd name="T6" fmla="*/ 218 w 292"/>
                  <a:gd name="T7" fmla="*/ 231 h 273"/>
                  <a:gd name="T8" fmla="*/ 41 w 292"/>
                  <a:gd name="T9" fmla="*/ 214 h 273"/>
                </a:gdLst>
                <a:ahLst/>
                <a:cxnLst>
                  <a:cxn ang="0">
                    <a:pos x="T0" y="T1"/>
                  </a:cxn>
                  <a:cxn ang="0">
                    <a:pos x="T2" y="T3"/>
                  </a:cxn>
                  <a:cxn ang="0">
                    <a:pos x="T4" y="T5"/>
                  </a:cxn>
                  <a:cxn ang="0">
                    <a:pos x="T6" y="T7"/>
                  </a:cxn>
                  <a:cxn ang="0">
                    <a:pos x="T8" y="T9"/>
                  </a:cxn>
                </a:cxnLst>
                <a:rect l="0" t="0" r="r" b="b"/>
                <a:pathLst>
                  <a:path w="292" h="273">
                    <a:moveTo>
                      <a:pt x="41" y="214"/>
                    </a:moveTo>
                    <a:cubicBezTo>
                      <a:pt x="0" y="158"/>
                      <a:pt x="13" y="82"/>
                      <a:pt x="70" y="40"/>
                    </a:cubicBezTo>
                    <a:cubicBezTo>
                      <a:pt x="127" y="0"/>
                      <a:pt x="208" y="11"/>
                      <a:pt x="251" y="65"/>
                    </a:cubicBezTo>
                    <a:cubicBezTo>
                      <a:pt x="292" y="121"/>
                      <a:pt x="274" y="191"/>
                      <a:pt x="218" y="231"/>
                    </a:cubicBezTo>
                    <a:cubicBezTo>
                      <a:pt x="160" y="273"/>
                      <a:pt x="84" y="268"/>
                      <a:pt x="41" y="214"/>
                    </a:cubicBezTo>
                  </a:path>
                </a:pathLst>
              </a:custGeom>
              <a:solidFill>
                <a:srgbClr val="006C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sp>
            <p:nvSpPr>
              <p:cNvPr id="166" name="Oval 293">
                <a:extLst>
                  <a:ext uri="{FF2B5EF4-FFF2-40B4-BE49-F238E27FC236}">
                    <a16:creationId xmlns:a16="http://schemas.microsoft.com/office/drawing/2014/main" id="{484A438B-6433-89AF-1FB7-EF97E489F565}"/>
                  </a:ext>
                </a:extLst>
              </p:cNvPr>
              <p:cNvSpPr>
                <a:spLocks noChangeArrowheads="1"/>
              </p:cNvSpPr>
              <p:nvPr/>
            </p:nvSpPr>
            <p:spPr bwMode="auto">
              <a:xfrm>
                <a:off x="6896100" y="3533775"/>
                <a:ext cx="106363" cy="101600"/>
              </a:xfrm>
              <a:prstGeom prst="ellipse">
                <a:avLst/>
              </a:prstGeom>
              <a:solidFill>
                <a:srgbClr val="006C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grpSp>
        <p:pic>
          <p:nvPicPr>
            <p:cNvPr id="164" name="Graphic 163" descr="Beaker with solid fill">
              <a:extLst>
                <a:ext uri="{FF2B5EF4-FFF2-40B4-BE49-F238E27FC236}">
                  <a16:creationId xmlns:a16="http://schemas.microsoft.com/office/drawing/2014/main" id="{00E0359E-89C9-E2E8-6101-681AB5864C30}"/>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8560425" y="3116325"/>
              <a:ext cx="504804" cy="504804"/>
            </a:xfrm>
            <a:prstGeom prst="rect">
              <a:avLst/>
            </a:prstGeom>
          </p:spPr>
        </p:pic>
      </p:grpSp>
    </p:spTree>
    <p:extLst>
      <p:ext uri="{BB962C8B-B14F-4D97-AF65-F5344CB8AC3E}">
        <p14:creationId xmlns:p14="http://schemas.microsoft.com/office/powerpoint/2010/main" val="361092372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45F714E-B0DB-4AC0-A544-A6932E332BDD}"/>
              </a:ext>
            </a:extLst>
          </p:cNvPr>
          <p:cNvSpPr>
            <a:spLocks noGrp="1"/>
          </p:cNvSpPr>
          <p:nvPr>
            <p:ph type="title"/>
          </p:nvPr>
        </p:nvSpPr>
        <p:spPr/>
        <p:txBody>
          <a:bodyPr vert="horz" lIns="0" tIns="0" rIns="0" bIns="0" rtlCol="0" anchor="ctr" anchorCtr="0">
            <a:normAutofit/>
          </a:bodyPr>
          <a:lstStyle/>
          <a:p>
            <a:r>
              <a:rPr lang="fr-FR" sz="2800">
                <a:solidFill>
                  <a:schemeClr val="tx1"/>
                </a:solidFill>
              </a:rPr>
              <a:t>Classification des industries</a:t>
            </a:r>
          </a:p>
        </p:txBody>
      </p:sp>
      <p:cxnSp>
        <p:nvCxnSpPr>
          <p:cNvPr id="2" name="Straight Connector 1">
            <a:extLst>
              <a:ext uri="{FF2B5EF4-FFF2-40B4-BE49-F238E27FC236}">
                <a16:creationId xmlns:a16="http://schemas.microsoft.com/office/drawing/2014/main" id="{09A13806-D407-C593-DAE0-6DE7BD5D9120}"/>
              </a:ext>
            </a:extLst>
          </p:cNvPr>
          <p:cNvCxnSpPr>
            <a:cxnSpLocks/>
          </p:cNvCxnSpPr>
          <p:nvPr/>
        </p:nvCxnSpPr>
        <p:spPr>
          <a:xfrm>
            <a:off x="2632722" y="1606769"/>
            <a:ext cx="4389122" cy="0"/>
          </a:xfrm>
          <a:prstGeom prst="line">
            <a:avLst/>
          </a:prstGeom>
          <a:noFill/>
          <a:ln w="28575" cap="flat" cmpd="sng" algn="ctr">
            <a:solidFill>
              <a:schemeClr val="accent1">
                <a:lumMod val="20000"/>
                <a:lumOff val="80000"/>
              </a:schemeClr>
            </a:solidFill>
            <a:prstDash val="solid"/>
            <a:miter lim="800000"/>
          </a:ln>
          <a:effectLst/>
        </p:spPr>
      </p:cxnSp>
      <p:sp>
        <p:nvSpPr>
          <p:cNvPr id="3" name="Rectangle 2">
            <a:extLst>
              <a:ext uri="{FF2B5EF4-FFF2-40B4-BE49-F238E27FC236}">
                <a16:creationId xmlns:a16="http://schemas.microsoft.com/office/drawing/2014/main" id="{FCE54E78-32FB-3780-7072-EBE7A21DCDFF}"/>
              </a:ext>
            </a:extLst>
          </p:cNvPr>
          <p:cNvSpPr/>
          <p:nvPr/>
        </p:nvSpPr>
        <p:spPr bwMode="auto">
          <a:xfrm>
            <a:off x="3227083" y="1420919"/>
            <a:ext cx="3200401" cy="358541"/>
          </a:xfrm>
          <a:prstGeom prst="rect">
            <a:avLst/>
          </a:prstGeom>
          <a:solidFill>
            <a:schemeClr val="bg1"/>
          </a:solidFill>
          <a:ln w="6350" algn="ctr">
            <a:noFill/>
            <a:miter lim="800000"/>
            <a:headEnd/>
            <a:tailEnd/>
          </a:ln>
          <a:effectLst/>
        </p:spPr>
        <p:txBody>
          <a:bodyPr lIns="90000" tIns="90000" rIns="90000" bIns="90000" rtlCol="0" anchor="ctr"/>
          <a:lstStyle/>
          <a:p>
            <a:pPr marL="0" marR="0" lvl="0" indent="0" algn="ctr" defTabSz="914400" rtl="0" eaLnBrk="1" fontAlgn="auto" latinLnBrk="0" hangingPunct="1">
              <a:lnSpc>
                <a:spcPct val="100000"/>
              </a:lnSpc>
              <a:spcBef>
                <a:spcPts val="0"/>
              </a:spcBef>
              <a:spcAft>
                <a:spcPts val="0"/>
              </a:spcAft>
              <a:buClr>
                <a:srgbClr val="12ABDB"/>
              </a:buClr>
              <a:buSzTx/>
              <a:buFontTx/>
              <a:buNone/>
              <a:tabLst/>
              <a:defRPr/>
            </a:pPr>
            <a:r>
              <a:rPr kumimoji="0" lang="en-US" sz="1100" b="1" i="0" u="none" strike="noStrike" kern="0" cap="none" spc="0" normalizeH="0" baseline="0" noProof="0">
                <a:ln>
                  <a:noFill/>
                </a:ln>
                <a:solidFill>
                  <a:prstClr val="black"/>
                </a:solidFill>
                <a:effectLst/>
                <a:uLnTx/>
                <a:uFillTx/>
                <a:latin typeface="+mj-lt"/>
                <a:ea typeface="+mn-ea"/>
                <a:cs typeface="Calibri" pitchFamily="34" charset="0"/>
              </a:rPr>
              <a:t>DÉFINITION</a:t>
            </a:r>
          </a:p>
        </p:txBody>
      </p:sp>
      <p:cxnSp>
        <p:nvCxnSpPr>
          <p:cNvPr id="4" name="Straight Connector 3">
            <a:extLst>
              <a:ext uri="{FF2B5EF4-FFF2-40B4-BE49-F238E27FC236}">
                <a16:creationId xmlns:a16="http://schemas.microsoft.com/office/drawing/2014/main" id="{844F19DC-5097-7766-1433-5E4C604F5EB7}"/>
              </a:ext>
            </a:extLst>
          </p:cNvPr>
          <p:cNvCxnSpPr>
            <a:cxnSpLocks/>
          </p:cNvCxnSpPr>
          <p:nvPr/>
        </p:nvCxnSpPr>
        <p:spPr>
          <a:xfrm>
            <a:off x="7604492" y="1606769"/>
            <a:ext cx="4389120" cy="0"/>
          </a:xfrm>
          <a:prstGeom prst="line">
            <a:avLst/>
          </a:prstGeom>
          <a:noFill/>
          <a:ln w="28575" cap="flat" cmpd="sng" algn="ctr">
            <a:solidFill>
              <a:schemeClr val="accent1">
                <a:lumMod val="20000"/>
                <a:lumOff val="80000"/>
              </a:schemeClr>
            </a:solidFill>
            <a:prstDash val="solid"/>
            <a:miter lim="800000"/>
          </a:ln>
          <a:effectLst/>
        </p:spPr>
      </p:cxnSp>
      <p:sp>
        <p:nvSpPr>
          <p:cNvPr id="6" name="Rectangle 5">
            <a:extLst>
              <a:ext uri="{FF2B5EF4-FFF2-40B4-BE49-F238E27FC236}">
                <a16:creationId xmlns:a16="http://schemas.microsoft.com/office/drawing/2014/main" id="{8CEC6A37-DEA8-BB0B-FE43-6A55747C34D6}"/>
              </a:ext>
            </a:extLst>
          </p:cNvPr>
          <p:cNvSpPr/>
          <p:nvPr/>
        </p:nvSpPr>
        <p:spPr bwMode="auto">
          <a:xfrm>
            <a:off x="8290526" y="1420919"/>
            <a:ext cx="3200921" cy="358541"/>
          </a:xfrm>
          <a:prstGeom prst="rect">
            <a:avLst/>
          </a:prstGeom>
          <a:solidFill>
            <a:schemeClr val="bg1"/>
          </a:solidFill>
          <a:ln w="6350" algn="ctr">
            <a:noFill/>
            <a:miter lim="800000"/>
            <a:headEnd/>
            <a:tailEnd/>
          </a:ln>
          <a:effectLst/>
        </p:spPr>
        <p:txBody>
          <a:bodyPr lIns="90000" tIns="90000" rIns="90000" bIns="90000" rtlCol="0" anchor="ctr"/>
          <a:lstStyle/>
          <a:p>
            <a:pPr marL="0" marR="0" lvl="0" indent="0" algn="ctr" defTabSz="914400" rtl="0" eaLnBrk="1" fontAlgn="auto" latinLnBrk="0" hangingPunct="1">
              <a:lnSpc>
                <a:spcPct val="100000"/>
              </a:lnSpc>
              <a:spcBef>
                <a:spcPts val="0"/>
              </a:spcBef>
              <a:spcAft>
                <a:spcPts val="0"/>
              </a:spcAft>
              <a:buClr>
                <a:srgbClr val="12ABDB"/>
              </a:buClr>
              <a:buSzTx/>
              <a:buFontTx/>
              <a:buNone/>
              <a:tabLst/>
              <a:defRPr/>
            </a:pPr>
            <a:r>
              <a:rPr kumimoji="0" lang="en-US" sz="1100" b="1" i="0" u="none" strike="noStrike" kern="0" cap="none" spc="0" normalizeH="0" baseline="0" noProof="0">
                <a:ln>
                  <a:noFill/>
                </a:ln>
                <a:solidFill>
                  <a:prstClr val="black"/>
                </a:solidFill>
                <a:effectLst/>
                <a:uLnTx/>
                <a:uFillTx/>
                <a:latin typeface="+mj-lt"/>
                <a:ea typeface="+mn-ea"/>
                <a:cs typeface="Calibri" pitchFamily="34" charset="0"/>
              </a:rPr>
              <a:t>ENJEUX</a:t>
            </a:r>
          </a:p>
        </p:txBody>
      </p:sp>
      <p:sp>
        <p:nvSpPr>
          <p:cNvPr id="8" name="Isosceles Triangle 7">
            <a:extLst>
              <a:ext uri="{FF2B5EF4-FFF2-40B4-BE49-F238E27FC236}">
                <a16:creationId xmlns:a16="http://schemas.microsoft.com/office/drawing/2014/main" id="{B87A26A2-86A6-6C94-BA50-A5728B0285B2}"/>
              </a:ext>
            </a:extLst>
          </p:cNvPr>
          <p:cNvSpPr/>
          <p:nvPr/>
        </p:nvSpPr>
        <p:spPr bwMode="auto">
          <a:xfrm rot="5400000">
            <a:off x="7098986" y="2120870"/>
            <a:ext cx="640230" cy="340502"/>
          </a:xfrm>
          <a:prstGeom prst="triangle">
            <a:avLst/>
          </a:prstGeom>
          <a:solidFill>
            <a:schemeClr val="accent2"/>
          </a:solidFill>
          <a:ln w="9525" cap="flat" cmpd="sng" algn="ctr">
            <a:noFill/>
            <a:prstDash val="solid"/>
          </a:ln>
          <a:effectLst/>
        </p:spPr>
        <p:txBody>
          <a:bodyPr rtlCol="0" anchor="t" anchorCtr="0"/>
          <a:lstStyle/>
          <a:p>
            <a:pPr marL="0" marR="0" lvl="0" indent="0" algn="ctr" defTabSz="457200" rtl="0" eaLnBrk="1" fontAlgn="auto" latinLnBrk="0" hangingPunct="1">
              <a:lnSpc>
                <a:spcPct val="90000"/>
              </a:lnSpc>
              <a:spcBef>
                <a:spcPts val="369"/>
              </a:spcBef>
              <a:spcAft>
                <a:spcPts val="0"/>
              </a:spcAft>
              <a:buClrTx/>
              <a:buSzTx/>
              <a:buFontTx/>
              <a:buNone/>
              <a:tabLst/>
              <a:defRPr/>
            </a:pPr>
            <a:endParaRPr kumimoji="0" lang="en-US" sz="1050" b="0" i="0" u="none" strike="noStrike" kern="0" cap="none" spc="0" normalizeH="0" baseline="0" noProof="0">
              <a:ln>
                <a:noFill/>
              </a:ln>
              <a:solidFill>
                <a:prstClr val="black">
                  <a:lumMod val="85000"/>
                  <a:lumOff val="15000"/>
                </a:prstClr>
              </a:solidFill>
              <a:effectLst/>
              <a:uLnTx/>
              <a:uFillTx/>
              <a:latin typeface="+mj-lt"/>
              <a:ea typeface="Verdana" panose="020B0604030504040204" pitchFamily="34" charset="0"/>
              <a:cs typeface="Verdana" panose="020B0604030504040204" pitchFamily="34" charset="0"/>
            </a:endParaRPr>
          </a:p>
        </p:txBody>
      </p:sp>
      <p:sp>
        <p:nvSpPr>
          <p:cNvPr id="9" name="TextBox 8">
            <a:extLst>
              <a:ext uri="{FF2B5EF4-FFF2-40B4-BE49-F238E27FC236}">
                <a16:creationId xmlns:a16="http://schemas.microsoft.com/office/drawing/2014/main" id="{9728AC0B-0743-CE9F-5AEE-0D6F342211B1}"/>
              </a:ext>
            </a:extLst>
          </p:cNvPr>
          <p:cNvSpPr txBox="1"/>
          <p:nvPr/>
        </p:nvSpPr>
        <p:spPr bwMode="auto">
          <a:xfrm>
            <a:off x="7697258" y="1856084"/>
            <a:ext cx="4313468" cy="956737"/>
          </a:xfrm>
          <a:prstGeom prst="rect">
            <a:avLst/>
          </a:prstGeom>
          <a:noFill/>
          <a:ln w="12700">
            <a:noFill/>
            <a:prstDash val="dash"/>
            <a:miter lim="800000"/>
            <a:headEnd/>
            <a:tailEnd/>
          </a:ln>
          <a:effectLst/>
        </p:spPr>
        <p:txBody>
          <a:bodyPr wrap="square" lIns="66462" tIns="99692" rIns="66462" bIns="66462" anchor="t"/>
          <a:lstStyle>
            <a:defPPr>
              <a:defRPr lang="en-US"/>
            </a:defPPr>
            <a:lvl2pPr marL="176400" lvl="1" indent="-176400">
              <a:lnSpc>
                <a:spcPct val="90000"/>
              </a:lnSpc>
              <a:spcBef>
                <a:spcPts val="300"/>
              </a:spcBef>
              <a:spcAft>
                <a:spcPts val="0"/>
              </a:spcAft>
              <a:buClr>
                <a:srgbClr val="B10034"/>
              </a:buClr>
              <a:buFont typeface="Wingdings" pitchFamily="2" charset="2"/>
              <a:buChar char="§"/>
              <a:defRPr sz="1000">
                <a:solidFill>
                  <a:srgbClr val="000000"/>
                </a:solidFill>
                <a:latin typeface="Calibri"/>
              </a:defRPr>
            </a:lvl2pPr>
          </a:lstStyle>
          <a:p>
            <a:pPr marL="176400" marR="0" lvl="1" indent="-176400" algn="just" defTabSz="457200" rtl="0" eaLnBrk="1" fontAlgn="base" latinLnBrk="0" hangingPunct="1">
              <a:lnSpc>
                <a:spcPct val="90000"/>
              </a:lnSpc>
              <a:spcBef>
                <a:spcPts val="300"/>
              </a:spcBef>
              <a:spcAft>
                <a:spcPts val="0"/>
              </a:spcAft>
              <a:buClr>
                <a:srgbClr val="B10034"/>
              </a:buClr>
              <a:buSzTx/>
              <a:buFont typeface="Wingdings" pitchFamily="2" charset="2"/>
              <a:buChar char="§"/>
              <a:tabLst/>
              <a:defRPr/>
            </a:pPr>
            <a:r>
              <a:rPr kumimoji="0" lang="fr-FR" sz="1050" b="0" i="0" u="none" strike="noStrike" kern="1200" cap="none" spc="0" normalizeH="0" baseline="0" noProof="0">
                <a:ln>
                  <a:noFill/>
                </a:ln>
                <a:solidFill>
                  <a:prstClr val="black"/>
                </a:solidFill>
                <a:effectLst/>
                <a:uLnTx/>
                <a:uFillTx/>
                <a:latin typeface="+mj-lt"/>
                <a:ea typeface="MS PGothic" pitchFamily="34" charset="-128"/>
                <a:cs typeface="Arial" charset="0"/>
              </a:rPr>
              <a:t>Optimisation de la chaîne d'approvisionnement et de la logistique</a:t>
            </a:r>
          </a:p>
          <a:p>
            <a:pPr marL="176400" marR="0" lvl="1" indent="-176400" algn="just" defTabSz="457200" rtl="0" eaLnBrk="1" fontAlgn="base" latinLnBrk="0" hangingPunct="1">
              <a:lnSpc>
                <a:spcPct val="90000"/>
              </a:lnSpc>
              <a:spcBef>
                <a:spcPts val="300"/>
              </a:spcBef>
              <a:spcAft>
                <a:spcPts val="0"/>
              </a:spcAft>
              <a:buClr>
                <a:srgbClr val="B10034"/>
              </a:buClr>
              <a:buSzTx/>
              <a:buFont typeface="Wingdings" pitchFamily="2" charset="2"/>
              <a:buChar char="§"/>
              <a:tabLst/>
              <a:defRPr/>
            </a:pPr>
            <a:r>
              <a:rPr kumimoji="0" lang="fr-FR" sz="1050" b="0" i="0" u="none" strike="noStrike" kern="1200" cap="none" spc="0" normalizeH="0" baseline="0" noProof="0">
                <a:ln>
                  <a:noFill/>
                </a:ln>
                <a:solidFill>
                  <a:prstClr val="black"/>
                </a:solidFill>
                <a:effectLst/>
                <a:uLnTx/>
                <a:uFillTx/>
                <a:latin typeface="+mj-lt"/>
                <a:ea typeface="MS PGothic" pitchFamily="34" charset="-128"/>
                <a:cs typeface="Arial" charset="0"/>
              </a:rPr>
              <a:t>Amélioration de l'efficacité de la production et de la qualité des produits</a:t>
            </a:r>
          </a:p>
          <a:p>
            <a:pPr marL="176400" marR="0" lvl="1" indent="-176400" algn="just" defTabSz="457200" rtl="0" eaLnBrk="1" fontAlgn="base" latinLnBrk="0" hangingPunct="1">
              <a:lnSpc>
                <a:spcPct val="90000"/>
              </a:lnSpc>
              <a:spcBef>
                <a:spcPts val="300"/>
              </a:spcBef>
              <a:spcAft>
                <a:spcPts val="0"/>
              </a:spcAft>
              <a:buClr>
                <a:srgbClr val="B10034"/>
              </a:buClr>
              <a:buSzTx/>
              <a:buFont typeface="Wingdings" pitchFamily="2" charset="2"/>
              <a:buChar char="§"/>
              <a:tabLst/>
              <a:defRPr/>
            </a:pPr>
            <a:r>
              <a:rPr kumimoji="0" lang="fr-FR" sz="1050" b="0" i="0" u="none" strike="noStrike" kern="1200" cap="none" spc="0" normalizeH="0" baseline="0" noProof="0">
                <a:ln>
                  <a:noFill/>
                </a:ln>
                <a:solidFill>
                  <a:prstClr val="black"/>
                </a:solidFill>
                <a:effectLst/>
                <a:uLnTx/>
                <a:uFillTx/>
                <a:latin typeface="+mj-lt"/>
                <a:ea typeface="MS PGothic" pitchFamily="34" charset="-128"/>
                <a:cs typeface="Arial" charset="0"/>
              </a:rPr>
              <a:t>Gestion de l'automatisation et de la robotique pour augmenter la productivité</a:t>
            </a:r>
          </a:p>
        </p:txBody>
      </p:sp>
      <p:sp>
        <p:nvSpPr>
          <p:cNvPr id="11" name="Rectangle: Rounded Corners 10">
            <a:extLst>
              <a:ext uri="{FF2B5EF4-FFF2-40B4-BE49-F238E27FC236}">
                <a16:creationId xmlns:a16="http://schemas.microsoft.com/office/drawing/2014/main" id="{D688E535-89A5-1C5E-ED91-E836198687DA}"/>
              </a:ext>
            </a:extLst>
          </p:cNvPr>
          <p:cNvSpPr/>
          <p:nvPr/>
        </p:nvSpPr>
        <p:spPr>
          <a:xfrm>
            <a:off x="2632723" y="1833921"/>
            <a:ext cx="4389120" cy="914400"/>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mj-lt"/>
                <a:ea typeface="+mn-ea"/>
                <a:cs typeface="+mn-cs"/>
              </a:rPr>
              <a:t>INDUSTRIE DISCRÈT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a:ln>
                  <a:noFill/>
                </a:ln>
                <a:solidFill>
                  <a:prstClr val="black"/>
                </a:solidFill>
                <a:effectLst/>
                <a:uLnTx/>
                <a:uFillTx/>
                <a:latin typeface="+mj-lt"/>
                <a:ea typeface="+mn-ea"/>
                <a:cs typeface="+mn-cs"/>
              </a:rPr>
              <a:t>Secteur de fabrication de produits physiques distincts à partir d'assemblage de composants individuels</a:t>
            </a:r>
            <a:endParaRPr kumimoji="0" lang="en-US" sz="1050" b="0" i="0" u="none" strike="noStrike" kern="1200" cap="none" spc="0" normalizeH="0" baseline="0" noProof="0">
              <a:ln>
                <a:noFill/>
              </a:ln>
              <a:solidFill>
                <a:prstClr val="black"/>
              </a:solidFill>
              <a:effectLst/>
              <a:uLnTx/>
              <a:uFillTx/>
              <a:latin typeface="+mj-lt"/>
              <a:ea typeface="+mn-ea"/>
              <a:cs typeface="+mn-cs"/>
            </a:endParaRPr>
          </a:p>
        </p:txBody>
      </p:sp>
      <p:sp>
        <p:nvSpPr>
          <p:cNvPr id="12" name="Isosceles Triangle 11">
            <a:extLst>
              <a:ext uri="{FF2B5EF4-FFF2-40B4-BE49-F238E27FC236}">
                <a16:creationId xmlns:a16="http://schemas.microsoft.com/office/drawing/2014/main" id="{D709C43B-4C5C-9ED9-7358-F94CA376D468}"/>
              </a:ext>
            </a:extLst>
          </p:cNvPr>
          <p:cNvSpPr/>
          <p:nvPr/>
        </p:nvSpPr>
        <p:spPr bwMode="auto">
          <a:xfrm rot="5400000">
            <a:off x="7078956" y="3237527"/>
            <a:ext cx="640230" cy="340502"/>
          </a:xfrm>
          <a:prstGeom prst="triangle">
            <a:avLst/>
          </a:prstGeom>
          <a:solidFill>
            <a:schemeClr val="accent2"/>
          </a:solidFill>
          <a:ln w="9525" cap="flat" cmpd="sng" algn="ctr">
            <a:noFill/>
            <a:prstDash val="solid"/>
          </a:ln>
          <a:effectLst/>
        </p:spPr>
        <p:txBody>
          <a:bodyPr rtlCol="0" anchor="t" anchorCtr="0"/>
          <a:lstStyle/>
          <a:p>
            <a:pPr marL="0" marR="0" lvl="0" indent="0" algn="ctr" defTabSz="457200" rtl="0" eaLnBrk="1" fontAlgn="auto" latinLnBrk="0" hangingPunct="1">
              <a:lnSpc>
                <a:spcPct val="90000"/>
              </a:lnSpc>
              <a:spcBef>
                <a:spcPts val="369"/>
              </a:spcBef>
              <a:spcAft>
                <a:spcPts val="0"/>
              </a:spcAft>
              <a:buClrTx/>
              <a:buSzTx/>
              <a:buFontTx/>
              <a:buNone/>
              <a:tabLst/>
              <a:defRPr/>
            </a:pPr>
            <a:endParaRPr kumimoji="0" lang="en-US" sz="1050" b="0" i="0" u="none" strike="noStrike" kern="0" cap="none" spc="0" normalizeH="0" baseline="0" noProof="0">
              <a:ln>
                <a:noFill/>
              </a:ln>
              <a:solidFill>
                <a:prstClr val="black">
                  <a:lumMod val="85000"/>
                  <a:lumOff val="15000"/>
                </a:prstClr>
              </a:solidFill>
              <a:effectLst/>
              <a:uLnTx/>
              <a:uFillTx/>
              <a:latin typeface="+mj-lt"/>
              <a:ea typeface="Verdana" panose="020B0604030504040204" pitchFamily="34" charset="0"/>
              <a:cs typeface="Verdana" panose="020B0604030504040204" pitchFamily="34" charset="0"/>
            </a:endParaRPr>
          </a:p>
        </p:txBody>
      </p:sp>
      <p:sp>
        <p:nvSpPr>
          <p:cNvPr id="13" name="TextBox 12">
            <a:extLst>
              <a:ext uri="{FF2B5EF4-FFF2-40B4-BE49-F238E27FC236}">
                <a16:creationId xmlns:a16="http://schemas.microsoft.com/office/drawing/2014/main" id="{FC18329E-A472-A39B-AB79-F3DEC175E4E0}"/>
              </a:ext>
            </a:extLst>
          </p:cNvPr>
          <p:cNvSpPr txBox="1"/>
          <p:nvPr/>
        </p:nvSpPr>
        <p:spPr bwMode="auto">
          <a:xfrm>
            <a:off x="7697257" y="2878095"/>
            <a:ext cx="4313469" cy="1059366"/>
          </a:xfrm>
          <a:prstGeom prst="rect">
            <a:avLst/>
          </a:prstGeom>
          <a:noFill/>
          <a:ln w="12700">
            <a:noFill/>
            <a:prstDash val="dash"/>
            <a:miter lim="800000"/>
            <a:headEnd/>
            <a:tailEnd/>
          </a:ln>
          <a:effectLst/>
        </p:spPr>
        <p:txBody>
          <a:bodyPr wrap="square" lIns="66462" tIns="99692" rIns="66462" bIns="66462" anchor="ctr"/>
          <a:lstStyle>
            <a:defPPr>
              <a:defRPr lang="en-US"/>
            </a:defPPr>
            <a:lvl2pPr marL="176400" lvl="1" indent="-176400">
              <a:lnSpc>
                <a:spcPct val="90000"/>
              </a:lnSpc>
              <a:spcBef>
                <a:spcPts val="300"/>
              </a:spcBef>
              <a:spcAft>
                <a:spcPts val="0"/>
              </a:spcAft>
              <a:buClr>
                <a:srgbClr val="B10034"/>
              </a:buClr>
              <a:buFont typeface="Wingdings" pitchFamily="2" charset="2"/>
              <a:buChar char="§"/>
              <a:defRPr sz="1000">
                <a:solidFill>
                  <a:srgbClr val="000000"/>
                </a:solidFill>
                <a:latin typeface="Calibri"/>
              </a:defRPr>
            </a:lvl2pPr>
          </a:lstStyle>
          <a:p>
            <a:pPr marL="176400" marR="0" lvl="1" indent="-176400" algn="just" defTabSz="457200" rtl="0" eaLnBrk="1" fontAlgn="base" latinLnBrk="0" hangingPunct="1">
              <a:lnSpc>
                <a:spcPct val="90000"/>
              </a:lnSpc>
              <a:spcBef>
                <a:spcPts val="300"/>
              </a:spcBef>
              <a:spcAft>
                <a:spcPts val="0"/>
              </a:spcAft>
              <a:buClr>
                <a:srgbClr val="B10034"/>
              </a:buClr>
              <a:buSzTx/>
              <a:buFont typeface="Wingdings" pitchFamily="2" charset="2"/>
              <a:buChar char="§"/>
              <a:tabLst/>
              <a:defRPr/>
            </a:pPr>
            <a:r>
              <a:rPr kumimoji="0" lang="fr-FR" sz="1050" b="0" i="0" u="none" strike="noStrike" kern="1200" cap="none" spc="0" normalizeH="0" baseline="0" noProof="0">
                <a:ln>
                  <a:noFill/>
                </a:ln>
                <a:solidFill>
                  <a:prstClr val="black"/>
                </a:solidFill>
                <a:effectLst/>
                <a:uLnTx/>
                <a:uFillTx/>
                <a:latin typeface="+mj-lt"/>
                <a:ea typeface="MS PGothic" pitchFamily="34" charset="-128"/>
                <a:cs typeface="Arial" charset="0"/>
              </a:rPr>
              <a:t>Contrôle de la qualité et de la sécurité des processus industriels. </a:t>
            </a:r>
          </a:p>
          <a:p>
            <a:pPr marL="176400" marR="0" lvl="1" indent="-176400" algn="just" defTabSz="457200" rtl="0" eaLnBrk="1" fontAlgn="base" latinLnBrk="0" hangingPunct="1">
              <a:lnSpc>
                <a:spcPct val="90000"/>
              </a:lnSpc>
              <a:spcBef>
                <a:spcPts val="300"/>
              </a:spcBef>
              <a:spcAft>
                <a:spcPts val="0"/>
              </a:spcAft>
              <a:buClr>
                <a:srgbClr val="B10034"/>
              </a:buClr>
              <a:buSzTx/>
              <a:buFont typeface="Wingdings" pitchFamily="2" charset="2"/>
              <a:buChar char="§"/>
              <a:tabLst/>
              <a:defRPr/>
            </a:pPr>
            <a:r>
              <a:rPr kumimoji="0" lang="fr-FR" sz="1050" b="0" i="0" u="none" strike="noStrike" kern="1200" cap="none" spc="0" normalizeH="0" baseline="0" noProof="0">
                <a:ln>
                  <a:noFill/>
                </a:ln>
                <a:solidFill>
                  <a:prstClr val="black"/>
                </a:solidFill>
                <a:effectLst/>
                <a:uLnTx/>
                <a:uFillTx/>
                <a:latin typeface="+mj-lt"/>
                <a:ea typeface="MS PGothic" pitchFamily="34" charset="-128"/>
                <a:cs typeface="Arial" charset="0"/>
              </a:rPr>
              <a:t>Réduction des déchets et de l'impact environnemental. </a:t>
            </a:r>
          </a:p>
          <a:p>
            <a:pPr marL="176400" marR="0" lvl="1" indent="-176400" algn="just" defTabSz="457200" rtl="0" eaLnBrk="1" fontAlgn="base" latinLnBrk="0" hangingPunct="1">
              <a:lnSpc>
                <a:spcPct val="90000"/>
              </a:lnSpc>
              <a:spcBef>
                <a:spcPts val="300"/>
              </a:spcBef>
              <a:spcAft>
                <a:spcPts val="0"/>
              </a:spcAft>
              <a:buClr>
                <a:srgbClr val="B10034"/>
              </a:buClr>
              <a:buSzTx/>
              <a:buFont typeface="Wingdings" pitchFamily="2" charset="2"/>
              <a:buChar char="§"/>
              <a:tabLst/>
              <a:defRPr/>
            </a:pPr>
            <a:r>
              <a:rPr kumimoji="0" lang="fr-FR" sz="1050" b="0" i="0" u="none" strike="noStrike" kern="1200" cap="none" spc="0" normalizeH="0" baseline="0" noProof="0">
                <a:ln>
                  <a:noFill/>
                </a:ln>
                <a:solidFill>
                  <a:prstClr val="black"/>
                </a:solidFill>
                <a:effectLst/>
                <a:uLnTx/>
                <a:uFillTx/>
                <a:latin typeface="+mj-lt"/>
                <a:ea typeface="MS PGothic" pitchFamily="34" charset="-128"/>
                <a:cs typeface="Arial" charset="0"/>
              </a:rPr>
              <a:t>Gestion de l'énergie et des ressources pour une efficacité accrue.</a:t>
            </a:r>
          </a:p>
          <a:p>
            <a:pPr marL="176400" marR="0" lvl="1" indent="-176400" algn="just" defTabSz="457200" rtl="0" eaLnBrk="1" fontAlgn="base" latinLnBrk="0" hangingPunct="1">
              <a:lnSpc>
                <a:spcPct val="90000"/>
              </a:lnSpc>
              <a:spcBef>
                <a:spcPts val="300"/>
              </a:spcBef>
              <a:spcAft>
                <a:spcPts val="0"/>
              </a:spcAft>
              <a:buClr>
                <a:srgbClr val="B10034"/>
              </a:buClr>
              <a:buSzTx/>
              <a:buFont typeface="Wingdings" pitchFamily="2" charset="2"/>
              <a:buChar char="§"/>
              <a:tabLst/>
              <a:defRPr/>
            </a:pPr>
            <a:r>
              <a:rPr kumimoji="0" lang="fr-FR" sz="1050" b="0" i="0" u="none" strike="noStrike" kern="1200" cap="none" spc="0" normalizeH="0" baseline="0" noProof="0">
                <a:ln>
                  <a:noFill/>
                </a:ln>
                <a:solidFill>
                  <a:prstClr val="black"/>
                </a:solidFill>
                <a:effectLst/>
                <a:uLnTx/>
                <a:uFillTx/>
                <a:latin typeface="+mj-lt"/>
                <a:ea typeface="MS PGothic" pitchFamily="34" charset="-128"/>
                <a:cs typeface="Arial" charset="0"/>
              </a:rPr>
              <a:t>Conformité réglementaire et adaptation aux normes en évolution</a:t>
            </a:r>
            <a:r>
              <a:rPr kumimoji="0" lang="fr-FR" sz="1050" b="0" i="0" u="none" strike="noStrike" kern="1200" cap="none" spc="0" normalizeH="0" baseline="0" noProof="0">
                <a:ln>
                  <a:noFill/>
                </a:ln>
                <a:solidFill>
                  <a:srgbClr val="FFFFFF"/>
                </a:solidFill>
                <a:effectLst/>
                <a:uLnTx/>
                <a:uFillTx/>
                <a:latin typeface="+mj-lt"/>
                <a:ea typeface="MS PGothic" pitchFamily="34" charset="-128"/>
                <a:cs typeface="Arial" charset="0"/>
              </a:rPr>
              <a:t>. </a:t>
            </a:r>
            <a:endParaRPr kumimoji="0" lang="en-US" sz="1050" b="0" i="0" u="none" strike="noStrike" kern="1200" cap="none" spc="0" normalizeH="0" baseline="0" noProof="0">
              <a:ln>
                <a:noFill/>
              </a:ln>
              <a:solidFill>
                <a:srgbClr val="FFFFFF"/>
              </a:solidFill>
              <a:effectLst/>
              <a:uLnTx/>
              <a:uFillTx/>
              <a:latin typeface="+mj-lt"/>
              <a:ea typeface="MS PGothic" pitchFamily="34" charset="-128"/>
              <a:cs typeface="Arial" charset="0"/>
            </a:endParaRPr>
          </a:p>
        </p:txBody>
      </p:sp>
      <p:sp>
        <p:nvSpPr>
          <p:cNvPr id="14" name="Rectangle: Rounded Corners 13">
            <a:extLst>
              <a:ext uri="{FF2B5EF4-FFF2-40B4-BE49-F238E27FC236}">
                <a16:creationId xmlns:a16="http://schemas.microsoft.com/office/drawing/2014/main" id="{D42F0508-7BD1-6EF3-1D64-668517C0152B}"/>
              </a:ext>
            </a:extLst>
          </p:cNvPr>
          <p:cNvSpPr/>
          <p:nvPr/>
        </p:nvSpPr>
        <p:spPr>
          <a:xfrm>
            <a:off x="2632723" y="2950578"/>
            <a:ext cx="4389120" cy="914400"/>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mj-lt"/>
                <a:ea typeface="+mn-ea"/>
                <a:cs typeface="+mn-cs"/>
              </a:rPr>
              <a:t>INDUSTRIE DE PROCES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a:ln>
                  <a:noFill/>
                </a:ln>
                <a:solidFill>
                  <a:prstClr val="black"/>
                </a:solidFill>
                <a:effectLst/>
                <a:uLnTx/>
                <a:uFillTx/>
                <a:latin typeface="+mj-lt"/>
                <a:ea typeface="+mn-ea"/>
                <a:cs typeface="+mn-cs"/>
              </a:rPr>
              <a:t>Secteur qui produit des biens à travers des procédés chimiques ou physiques, souvent sous forme continue</a:t>
            </a:r>
            <a:endParaRPr kumimoji="0" lang="en-US" sz="1050" b="0" i="0" u="none" strike="noStrike" kern="1200" cap="none" spc="0" normalizeH="0" baseline="0" noProof="0">
              <a:ln>
                <a:noFill/>
              </a:ln>
              <a:solidFill>
                <a:prstClr val="black"/>
              </a:solidFill>
              <a:effectLst/>
              <a:uLnTx/>
              <a:uFillTx/>
              <a:latin typeface="+mj-lt"/>
              <a:ea typeface="+mn-ea"/>
              <a:cs typeface="+mn-cs"/>
            </a:endParaRPr>
          </a:p>
        </p:txBody>
      </p:sp>
      <p:sp>
        <p:nvSpPr>
          <p:cNvPr id="18" name="Isosceles Triangle 17">
            <a:extLst>
              <a:ext uri="{FF2B5EF4-FFF2-40B4-BE49-F238E27FC236}">
                <a16:creationId xmlns:a16="http://schemas.microsoft.com/office/drawing/2014/main" id="{684D87A3-9941-4DCA-9A6C-A951AE27A4A2}"/>
              </a:ext>
            </a:extLst>
          </p:cNvPr>
          <p:cNvSpPr/>
          <p:nvPr/>
        </p:nvSpPr>
        <p:spPr bwMode="auto">
          <a:xfrm rot="5400000">
            <a:off x="7078956" y="4397611"/>
            <a:ext cx="640230" cy="340502"/>
          </a:xfrm>
          <a:prstGeom prst="triangle">
            <a:avLst/>
          </a:prstGeom>
          <a:solidFill>
            <a:schemeClr val="accent2"/>
          </a:solidFill>
          <a:ln w="9525" cap="flat" cmpd="sng" algn="ctr">
            <a:noFill/>
            <a:prstDash val="solid"/>
          </a:ln>
          <a:effectLst/>
        </p:spPr>
        <p:txBody>
          <a:bodyPr rtlCol="0" anchor="t" anchorCtr="0"/>
          <a:lstStyle/>
          <a:p>
            <a:pPr marL="0" marR="0" lvl="0" indent="0" algn="ctr" defTabSz="457200" rtl="0" eaLnBrk="1" fontAlgn="auto" latinLnBrk="0" hangingPunct="1">
              <a:lnSpc>
                <a:spcPct val="90000"/>
              </a:lnSpc>
              <a:spcBef>
                <a:spcPts val="369"/>
              </a:spcBef>
              <a:spcAft>
                <a:spcPts val="0"/>
              </a:spcAft>
              <a:buClrTx/>
              <a:buSzTx/>
              <a:buFontTx/>
              <a:buNone/>
              <a:tabLst/>
              <a:defRPr/>
            </a:pPr>
            <a:endParaRPr kumimoji="0" lang="en-US" sz="1050" b="0" i="0" u="none" strike="noStrike" kern="0" cap="none" spc="0" normalizeH="0" baseline="0" noProof="0">
              <a:ln>
                <a:noFill/>
              </a:ln>
              <a:solidFill>
                <a:prstClr val="black">
                  <a:lumMod val="85000"/>
                  <a:lumOff val="15000"/>
                </a:prstClr>
              </a:solidFill>
              <a:effectLst/>
              <a:uLnTx/>
              <a:uFillTx/>
              <a:latin typeface="+mj-lt"/>
              <a:ea typeface="Verdana" panose="020B0604030504040204" pitchFamily="34" charset="0"/>
              <a:cs typeface="Verdana" panose="020B0604030504040204" pitchFamily="34" charset="0"/>
            </a:endParaRPr>
          </a:p>
        </p:txBody>
      </p:sp>
      <p:sp>
        <p:nvSpPr>
          <p:cNvPr id="19" name="TextBox 18">
            <a:extLst>
              <a:ext uri="{FF2B5EF4-FFF2-40B4-BE49-F238E27FC236}">
                <a16:creationId xmlns:a16="http://schemas.microsoft.com/office/drawing/2014/main" id="{83139EE0-2A9C-35A2-A03A-CD90625EED8B}"/>
              </a:ext>
            </a:extLst>
          </p:cNvPr>
          <p:cNvSpPr txBox="1"/>
          <p:nvPr/>
        </p:nvSpPr>
        <p:spPr bwMode="auto">
          <a:xfrm>
            <a:off x="7697258" y="4179603"/>
            <a:ext cx="4313468" cy="776518"/>
          </a:xfrm>
          <a:prstGeom prst="rect">
            <a:avLst/>
          </a:prstGeom>
          <a:noFill/>
          <a:ln w="12700">
            <a:noFill/>
            <a:prstDash val="dash"/>
            <a:miter lim="800000"/>
            <a:headEnd/>
            <a:tailEnd/>
          </a:ln>
          <a:effectLst/>
        </p:spPr>
        <p:txBody>
          <a:bodyPr wrap="square" lIns="66462" tIns="99692" rIns="66462" bIns="66462" anchor="ctr"/>
          <a:lstStyle>
            <a:defPPr>
              <a:defRPr lang="en-US"/>
            </a:defPPr>
            <a:lvl2pPr marL="176400" lvl="1" indent="-176400">
              <a:lnSpc>
                <a:spcPct val="90000"/>
              </a:lnSpc>
              <a:spcBef>
                <a:spcPts val="300"/>
              </a:spcBef>
              <a:spcAft>
                <a:spcPts val="0"/>
              </a:spcAft>
              <a:buClr>
                <a:srgbClr val="B10034"/>
              </a:buClr>
              <a:buFont typeface="Wingdings" pitchFamily="2" charset="2"/>
              <a:buChar char="§"/>
              <a:defRPr sz="1000">
                <a:solidFill>
                  <a:srgbClr val="000000"/>
                </a:solidFill>
                <a:latin typeface="Calibri"/>
              </a:defRPr>
            </a:lvl2pPr>
          </a:lstStyle>
          <a:p>
            <a:pPr marL="176400" marR="0" lvl="1" indent="-176400" algn="just" defTabSz="457200" rtl="0" eaLnBrk="1" fontAlgn="base" latinLnBrk="0" hangingPunct="1">
              <a:lnSpc>
                <a:spcPct val="90000"/>
              </a:lnSpc>
              <a:spcBef>
                <a:spcPts val="300"/>
              </a:spcBef>
              <a:spcAft>
                <a:spcPts val="0"/>
              </a:spcAft>
              <a:buClr>
                <a:srgbClr val="B10034"/>
              </a:buClr>
              <a:buSzTx/>
              <a:buFont typeface="Wingdings" pitchFamily="2" charset="2"/>
              <a:buChar char="§"/>
              <a:tabLst/>
              <a:defRPr/>
            </a:pPr>
            <a:r>
              <a:rPr kumimoji="0" lang="fr-FR" sz="1050" b="0" i="0" u="none" strike="noStrike" kern="1200" cap="none" spc="0" normalizeH="0" baseline="0" noProof="0">
                <a:ln>
                  <a:noFill/>
                </a:ln>
                <a:solidFill>
                  <a:prstClr val="black"/>
                </a:solidFill>
                <a:effectLst/>
                <a:uLnTx/>
                <a:uFillTx/>
                <a:latin typeface="+mj-lt"/>
                <a:ea typeface="MS PGothic" pitchFamily="34" charset="-128"/>
                <a:cs typeface="Arial" charset="0"/>
              </a:rPr>
              <a:t>Planification et gestion de projets à grande échelle. </a:t>
            </a:r>
          </a:p>
          <a:p>
            <a:pPr marL="176400" marR="0" lvl="1" indent="-176400" algn="just" defTabSz="457200" rtl="0" eaLnBrk="1" fontAlgn="base" latinLnBrk="0" hangingPunct="1">
              <a:lnSpc>
                <a:spcPct val="90000"/>
              </a:lnSpc>
              <a:spcBef>
                <a:spcPts val="300"/>
              </a:spcBef>
              <a:spcAft>
                <a:spcPts val="0"/>
              </a:spcAft>
              <a:buClr>
                <a:srgbClr val="B10034"/>
              </a:buClr>
              <a:buSzTx/>
              <a:buFont typeface="Wingdings" pitchFamily="2" charset="2"/>
              <a:buChar char="§"/>
              <a:tabLst/>
              <a:defRPr/>
            </a:pPr>
            <a:r>
              <a:rPr kumimoji="0" lang="fr-FR" sz="1050" b="0" i="0" u="none" strike="noStrike" kern="1200" cap="none" spc="0" normalizeH="0" baseline="0" noProof="0">
                <a:ln>
                  <a:noFill/>
                </a:ln>
                <a:solidFill>
                  <a:prstClr val="black"/>
                </a:solidFill>
                <a:effectLst/>
                <a:uLnTx/>
                <a:uFillTx/>
                <a:latin typeface="+mj-lt"/>
                <a:ea typeface="MS PGothic" pitchFamily="34" charset="-128"/>
                <a:cs typeface="Arial" charset="0"/>
              </a:rPr>
              <a:t>Sûreté et sécurité des infrastructures critiques. </a:t>
            </a:r>
          </a:p>
          <a:p>
            <a:pPr marL="176400" marR="0" lvl="1" indent="-176400" algn="just" defTabSz="457200" rtl="0" eaLnBrk="1" fontAlgn="base" latinLnBrk="0" hangingPunct="1">
              <a:lnSpc>
                <a:spcPct val="90000"/>
              </a:lnSpc>
              <a:spcBef>
                <a:spcPts val="300"/>
              </a:spcBef>
              <a:spcAft>
                <a:spcPts val="0"/>
              </a:spcAft>
              <a:buClr>
                <a:srgbClr val="B10034"/>
              </a:buClr>
              <a:buSzTx/>
              <a:buFont typeface="Wingdings" pitchFamily="2" charset="2"/>
              <a:buChar char="§"/>
              <a:tabLst/>
              <a:defRPr/>
            </a:pPr>
            <a:r>
              <a:rPr kumimoji="0" lang="fr-FR" sz="1050" b="0" i="0" u="none" strike="noStrike" kern="1200" cap="none" spc="0" normalizeH="0" baseline="0" noProof="0">
                <a:ln>
                  <a:noFill/>
                </a:ln>
                <a:solidFill>
                  <a:prstClr val="black"/>
                </a:solidFill>
                <a:effectLst/>
                <a:uLnTx/>
                <a:uFillTx/>
                <a:latin typeface="+mj-lt"/>
                <a:ea typeface="MS PGothic" pitchFamily="34" charset="-128"/>
                <a:cs typeface="Arial" charset="0"/>
              </a:rPr>
              <a:t>Durabilité et gestion des ressources dans le building</a:t>
            </a:r>
          </a:p>
          <a:p>
            <a:pPr marL="176400" marR="0" lvl="1" indent="-176400" algn="just" defTabSz="457200" rtl="0" eaLnBrk="1" fontAlgn="base" latinLnBrk="0" hangingPunct="1">
              <a:lnSpc>
                <a:spcPct val="90000"/>
              </a:lnSpc>
              <a:spcBef>
                <a:spcPts val="300"/>
              </a:spcBef>
              <a:spcAft>
                <a:spcPts val="0"/>
              </a:spcAft>
              <a:buClr>
                <a:srgbClr val="B10034"/>
              </a:buClr>
              <a:buSzTx/>
              <a:buFont typeface="Wingdings" pitchFamily="2" charset="2"/>
              <a:buChar char="§"/>
              <a:tabLst/>
              <a:defRPr/>
            </a:pPr>
            <a:r>
              <a:rPr kumimoji="0" lang="fr-FR" sz="1050" b="0" i="0" u="none" strike="noStrike" kern="1200" cap="none" spc="0" normalizeH="0" baseline="0" noProof="0">
                <a:ln>
                  <a:noFill/>
                </a:ln>
                <a:solidFill>
                  <a:prstClr val="black"/>
                </a:solidFill>
                <a:effectLst/>
                <a:uLnTx/>
                <a:uFillTx/>
                <a:latin typeface="+mj-lt"/>
                <a:ea typeface="MS PGothic" pitchFamily="34" charset="-128"/>
                <a:cs typeface="Arial" charset="0"/>
              </a:rPr>
              <a:t>Gestion des coûts et des délais pour éviter les dépassements</a:t>
            </a:r>
            <a:r>
              <a:rPr kumimoji="0" lang="fr-FR" sz="1050" b="0" i="0" u="none" strike="noStrike" kern="1200" cap="none" spc="0" normalizeH="0" baseline="0" noProof="0">
                <a:ln>
                  <a:noFill/>
                </a:ln>
                <a:solidFill>
                  <a:srgbClr val="FFFFFF"/>
                </a:solidFill>
                <a:effectLst/>
                <a:uLnTx/>
                <a:uFillTx/>
                <a:latin typeface="+mj-lt"/>
                <a:ea typeface="MS PGothic" pitchFamily="34" charset="-128"/>
                <a:cs typeface="Arial" charset="0"/>
              </a:rPr>
              <a:t>. </a:t>
            </a:r>
            <a:endParaRPr kumimoji="0" lang="en-US" sz="1050" b="0" i="0" u="none" strike="noStrike" kern="1200" cap="none" spc="0" normalizeH="0" baseline="0" noProof="0">
              <a:ln>
                <a:noFill/>
              </a:ln>
              <a:solidFill>
                <a:srgbClr val="FFFFFF"/>
              </a:solidFill>
              <a:effectLst/>
              <a:uLnTx/>
              <a:uFillTx/>
              <a:latin typeface="+mj-lt"/>
              <a:ea typeface="MS PGothic" pitchFamily="34" charset="-128"/>
              <a:cs typeface="Arial" charset="0"/>
            </a:endParaRPr>
          </a:p>
        </p:txBody>
      </p:sp>
      <p:sp>
        <p:nvSpPr>
          <p:cNvPr id="20" name="Rectangle: Rounded Corners 19">
            <a:extLst>
              <a:ext uri="{FF2B5EF4-FFF2-40B4-BE49-F238E27FC236}">
                <a16:creationId xmlns:a16="http://schemas.microsoft.com/office/drawing/2014/main" id="{F1B68105-98BE-6FA9-99CD-0C8EF8EE82D1}"/>
              </a:ext>
            </a:extLst>
          </p:cNvPr>
          <p:cNvSpPr/>
          <p:nvPr/>
        </p:nvSpPr>
        <p:spPr>
          <a:xfrm>
            <a:off x="2632723" y="4110662"/>
            <a:ext cx="4389120" cy="914400"/>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50" b="1" i="0" u="none" strike="noStrike" kern="1200" cap="none" spc="0" normalizeH="0" baseline="0" noProof="0">
                <a:ln>
                  <a:noFill/>
                </a:ln>
                <a:solidFill>
                  <a:prstClr val="black"/>
                </a:solidFill>
                <a:effectLst/>
                <a:uLnTx/>
                <a:uFillTx/>
                <a:latin typeface="+mj-lt"/>
                <a:ea typeface="+mn-ea"/>
                <a:cs typeface="+mn-cs"/>
              </a:rPr>
              <a:t>INDUSTRIE D’INFRASTRUCTURES COMPLEX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a:ln>
                  <a:noFill/>
                </a:ln>
                <a:solidFill>
                  <a:prstClr val="black"/>
                </a:solidFill>
                <a:effectLst/>
                <a:uLnTx/>
                <a:uFillTx/>
                <a:latin typeface="+mj-lt"/>
                <a:ea typeface="+mn-ea"/>
                <a:cs typeface="+mn-cs"/>
              </a:rPr>
              <a:t>Secteur de la construction d'infrastructures majeures comme des ponts, des routes, des centrales électriques,…</a:t>
            </a:r>
            <a:endParaRPr kumimoji="0" lang="en-US" sz="1050" b="0" i="0" u="none" strike="noStrike" kern="1200" cap="none" spc="0" normalizeH="0" baseline="0" noProof="0">
              <a:ln>
                <a:noFill/>
              </a:ln>
              <a:solidFill>
                <a:prstClr val="black"/>
              </a:solidFill>
              <a:effectLst/>
              <a:uLnTx/>
              <a:uFillTx/>
              <a:latin typeface="+mj-lt"/>
              <a:ea typeface="+mn-ea"/>
              <a:cs typeface="+mn-cs"/>
            </a:endParaRPr>
          </a:p>
        </p:txBody>
      </p:sp>
      <p:sp>
        <p:nvSpPr>
          <p:cNvPr id="224" name="Isosceles Triangle 223">
            <a:extLst>
              <a:ext uri="{FF2B5EF4-FFF2-40B4-BE49-F238E27FC236}">
                <a16:creationId xmlns:a16="http://schemas.microsoft.com/office/drawing/2014/main" id="{F1187C47-DAD7-82C2-22BC-783F6516101C}"/>
              </a:ext>
            </a:extLst>
          </p:cNvPr>
          <p:cNvSpPr/>
          <p:nvPr/>
        </p:nvSpPr>
        <p:spPr bwMode="auto">
          <a:xfrm rot="5400000">
            <a:off x="7078956" y="5541288"/>
            <a:ext cx="640230" cy="340502"/>
          </a:xfrm>
          <a:prstGeom prst="triangle">
            <a:avLst/>
          </a:prstGeom>
          <a:solidFill>
            <a:schemeClr val="accent2"/>
          </a:solidFill>
          <a:ln w="9525" cap="flat" cmpd="sng" algn="ctr">
            <a:noFill/>
            <a:prstDash val="solid"/>
          </a:ln>
          <a:effectLst/>
        </p:spPr>
        <p:txBody>
          <a:bodyPr rtlCol="0" anchor="t" anchorCtr="0"/>
          <a:lstStyle/>
          <a:p>
            <a:pPr marL="0" marR="0" lvl="0" indent="0" algn="ctr" defTabSz="457200" rtl="0" eaLnBrk="1" fontAlgn="auto" latinLnBrk="0" hangingPunct="1">
              <a:lnSpc>
                <a:spcPct val="90000"/>
              </a:lnSpc>
              <a:spcBef>
                <a:spcPts val="369"/>
              </a:spcBef>
              <a:spcAft>
                <a:spcPts val="0"/>
              </a:spcAft>
              <a:buClrTx/>
              <a:buSzTx/>
              <a:buFontTx/>
              <a:buNone/>
              <a:tabLst/>
              <a:defRPr/>
            </a:pPr>
            <a:endParaRPr kumimoji="0" lang="en-US" sz="1050" b="0" i="0" u="none" strike="noStrike" kern="0" cap="none" spc="0" normalizeH="0" baseline="0" noProof="0">
              <a:ln>
                <a:noFill/>
              </a:ln>
              <a:solidFill>
                <a:prstClr val="black">
                  <a:lumMod val="85000"/>
                  <a:lumOff val="15000"/>
                </a:prstClr>
              </a:solidFill>
              <a:effectLst/>
              <a:uLnTx/>
              <a:uFillTx/>
              <a:latin typeface="+mj-lt"/>
              <a:ea typeface="Verdana" panose="020B0604030504040204" pitchFamily="34" charset="0"/>
              <a:cs typeface="Verdana" panose="020B0604030504040204" pitchFamily="34" charset="0"/>
            </a:endParaRPr>
          </a:p>
        </p:txBody>
      </p:sp>
      <p:sp>
        <p:nvSpPr>
          <p:cNvPr id="225" name="TextBox 224">
            <a:extLst>
              <a:ext uri="{FF2B5EF4-FFF2-40B4-BE49-F238E27FC236}">
                <a16:creationId xmlns:a16="http://schemas.microsoft.com/office/drawing/2014/main" id="{0601B8AC-17E1-DC5A-6739-95B896A78405}"/>
              </a:ext>
            </a:extLst>
          </p:cNvPr>
          <p:cNvSpPr txBox="1"/>
          <p:nvPr/>
        </p:nvSpPr>
        <p:spPr bwMode="auto">
          <a:xfrm>
            <a:off x="7697258" y="5320196"/>
            <a:ext cx="4313468" cy="776518"/>
          </a:xfrm>
          <a:prstGeom prst="rect">
            <a:avLst/>
          </a:prstGeom>
          <a:noFill/>
          <a:ln w="12700">
            <a:noFill/>
            <a:prstDash val="dash"/>
            <a:miter lim="800000"/>
            <a:headEnd/>
            <a:tailEnd/>
          </a:ln>
          <a:effectLst/>
        </p:spPr>
        <p:txBody>
          <a:bodyPr wrap="square" lIns="66462" tIns="99692" rIns="66462" bIns="66462" anchor="ctr"/>
          <a:lstStyle>
            <a:defPPr>
              <a:defRPr lang="en-US"/>
            </a:defPPr>
            <a:lvl2pPr marL="176400" lvl="1" indent="-176400">
              <a:lnSpc>
                <a:spcPct val="90000"/>
              </a:lnSpc>
              <a:spcBef>
                <a:spcPts val="300"/>
              </a:spcBef>
              <a:spcAft>
                <a:spcPts val="0"/>
              </a:spcAft>
              <a:buClr>
                <a:srgbClr val="B10034"/>
              </a:buClr>
              <a:buFont typeface="Wingdings" pitchFamily="2" charset="2"/>
              <a:buChar char="§"/>
              <a:defRPr sz="1000">
                <a:solidFill>
                  <a:srgbClr val="000000"/>
                </a:solidFill>
                <a:latin typeface="Calibri"/>
              </a:defRPr>
            </a:lvl2pPr>
          </a:lstStyle>
          <a:p>
            <a:pPr marL="176400" marR="0" lvl="1" indent="-176400" algn="just" defTabSz="457200" rtl="0" eaLnBrk="1" fontAlgn="base" latinLnBrk="0" hangingPunct="1">
              <a:lnSpc>
                <a:spcPct val="90000"/>
              </a:lnSpc>
              <a:spcBef>
                <a:spcPts val="300"/>
              </a:spcBef>
              <a:spcAft>
                <a:spcPts val="0"/>
              </a:spcAft>
              <a:buClr>
                <a:srgbClr val="B10034"/>
              </a:buClr>
              <a:buSzTx/>
              <a:buFont typeface="Wingdings" pitchFamily="2" charset="2"/>
              <a:buChar char="§"/>
              <a:tabLst/>
              <a:defRPr/>
            </a:pPr>
            <a:r>
              <a:rPr kumimoji="0" lang="fr-FR" sz="1050" b="0" i="0" u="none" strike="noStrike" kern="1200" cap="none" spc="0" normalizeH="0" baseline="0" noProof="0">
                <a:ln>
                  <a:noFill/>
                </a:ln>
                <a:solidFill>
                  <a:prstClr val="black"/>
                </a:solidFill>
                <a:effectLst/>
                <a:uLnTx/>
                <a:uFillTx/>
                <a:latin typeface="+mj-lt"/>
                <a:ea typeface="MS PGothic" pitchFamily="34" charset="-128"/>
                <a:cs typeface="Arial" charset="0"/>
              </a:rPr>
              <a:t>Amélioration de l'expérience client et de la satisfaction. </a:t>
            </a:r>
          </a:p>
          <a:p>
            <a:pPr marL="176400" marR="0" lvl="1" indent="-176400" algn="just" defTabSz="457200" rtl="0" eaLnBrk="1" fontAlgn="base" latinLnBrk="0" hangingPunct="1">
              <a:lnSpc>
                <a:spcPct val="90000"/>
              </a:lnSpc>
              <a:spcBef>
                <a:spcPts val="300"/>
              </a:spcBef>
              <a:spcAft>
                <a:spcPts val="0"/>
              </a:spcAft>
              <a:buClr>
                <a:srgbClr val="B10034"/>
              </a:buClr>
              <a:buSzTx/>
              <a:buFont typeface="Wingdings" pitchFamily="2" charset="2"/>
              <a:buChar char="§"/>
              <a:tabLst/>
              <a:defRPr/>
            </a:pPr>
            <a:r>
              <a:rPr kumimoji="0" lang="fr-FR" sz="1050" b="0" i="0" u="none" strike="noStrike" kern="1200" cap="none" spc="0" normalizeH="0" baseline="0" noProof="0">
                <a:ln>
                  <a:noFill/>
                </a:ln>
                <a:solidFill>
                  <a:prstClr val="black"/>
                </a:solidFill>
                <a:effectLst/>
                <a:uLnTx/>
                <a:uFillTx/>
                <a:latin typeface="+mj-lt"/>
                <a:ea typeface="MS PGothic" pitchFamily="34" charset="-128"/>
                <a:cs typeface="Arial" charset="0"/>
              </a:rPr>
              <a:t>Numérisation des services et adoption de nouvelles technologies. </a:t>
            </a:r>
          </a:p>
          <a:p>
            <a:pPr marL="176400" marR="0" lvl="1" indent="-176400" algn="just" defTabSz="457200" rtl="0" eaLnBrk="1" fontAlgn="base" latinLnBrk="0" hangingPunct="1">
              <a:lnSpc>
                <a:spcPct val="90000"/>
              </a:lnSpc>
              <a:spcBef>
                <a:spcPts val="300"/>
              </a:spcBef>
              <a:spcAft>
                <a:spcPts val="0"/>
              </a:spcAft>
              <a:buClr>
                <a:srgbClr val="B10034"/>
              </a:buClr>
              <a:buSzTx/>
              <a:buFont typeface="Wingdings" pitchFamily="2" charset="2"/>
              <a:buChar char="§"/>
              <a:tabLst/>
              <a:defRPr/>
            </a:pPr>
            <a:r>
              <a:rPr kumimoji="0" lang="fr-FR" sz="1050" b="0" i="0" u="none" strike="noStrike" kern="1200" cap="none" spc="0" normalizeH="0" baseline="0" noProof="0">
                <a:ln>
                  <a:noFill/>
                </a:ln>
                <a:solidFill>
                  <a:prstClr val="black"/>
                </a:solidFill>
                <a:effectLst/>
                <a:uLnTx/>
                <a:uFillTx/>
                <a:latin typeface="+mj-lt"/>
                <a:ea typeface="MS PGothic" pitchFamily="34" charset="-128"/>
                <a:cs typeface="Arial" charset="0"/>
              </a:rPr>
              <a:t>Gestion des données et de la confidentialité dans un environnement numérique. </a:t>
            </a:r>
          </a:p>
        </p:txBody>
      </p:sp>
      <p:sp>
        <p:nvSpPr>
          <p:cNvPr id="226" name="Rectangle: Rounded Corners 225">
            <a:extLst>
              <a:ext uri="{FF2B5EF4-FFF2-40B4-BE49-F238E27FC236}">
                <a16:creationId xmlns:a16="http://schemas.microsoft.com/office/drawing/2014/main" id="{309D26D7-308D-33C3-62A8-606D7BCC83B3}"/>
              </a:ext>
            </a:extLst>
          </p:cNvPr>
          <p:cNvSpPr/>
          <p:nvPr/>
        </p:nvSpPr>
        <p:spPr>
          <a:xfrm>
            <a:off x="2632723" y="5254339"/>
            <a:ext cx="4389120" cy="914400"/>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50" b="1" i="0" u="none" strike="noStrike" kern="1200" cap="none" spc="0" normalizeH="0" baseline="0" noProof="0">
                <a:ln>
                  <a:noFill/>
                </a:ln>
                <a:solidFill>
                  <a:prstClr val="black"/>
                </a:solidFill>
                <a:effectLst/>
                <a:uLnTx/>
                <a:uFillTx/>
                <a:latin typeface="+mj-lt"/>
                <a:ea typeface="+mn-ea"/>
                <a:cs typeface="+mn-cs"/>
              </a:rPr>
              <a:t>INDUSTRIE DE SERVICES</a:t>
            </a:r>
            <a:endParaRPr kumimoji="0" lang="fr-FR" sz="1050" b="0" i="0" u="none" strike="noStrike" kern="1200" cap="none" spc="0" normalizeH="0" baseline="0" noProof="0">
              <a:ln>
                <a:noFill/>
              </a:ln>
              <a:solidFill>
                <a:prstClr val="black"/>
              </a:solidFill>
              <a:effectLst/>
              <a:uLnTx/>
              <a:uFillTx/>
              <a:latin typeface="+mj-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a:ln>
                  <a:noFill/>
                </a:ln>
                <a:solidFill>
                  <a:prstClr val="black"/>
                </a:solidFill>
                <a:effectLst/>
                <a:uLnTx/>
                <a:uFillTx/>
                <a:latin typeface="+mj-lt"/>
                <a:ea typeface="+mn-ea"/>
                <a:cs typeface="+mn-cs"/>
              </a:rPr>
              <a:t>Secteur qui fournit des services plutôt que des produits tangibles, tels que la finance, la santé, l'éducation,…</a:t>
            </a:r>
            <a:endParaRPr kumimoji="0" lang="en-US" sz="1050" b="0" i="0" u="none" strike="noStrike" kern="1200" cap="none" spc="0" normalizeH="0" baseline="0" noProof="0">
              <a:ln>
                <a:noFill/>
              </a:ln>
              <a:solidFill>
                <a:prstClr val="black"/>
              </a:solidFill>
              <a:effectLst/>
              <a:uLnTx/>
              <a:uFillTx/>
              <a:latin typeface="+mj-lt"/>
              <a:ea typeface="+mn-ea"/>
              <a:cs typeface="+mn-cs"/>
            </a:endParaRPr>
          </a:p>
        </p:txBody>
      </p:sp>
      <p:sp>
        <p:nvSpPr>
          <p:cNvPr id="227" name="Rectangle 9">
            <a:extLst>
              <a:ext uri="{FF2B5EF4-FFF2-40B4-BE49-F238E27FC236}">
                <a16:creationId xmlns:a16="http://schemas.microsoft.com/office/drawing/2014/main" id="{7A253671-51F4-40B3-C158-57E425CB0943}"/>
              </a:ext>
            </a:extLst>
          </p:cNvPr>
          <p:cNvSpPr/>
          <p:nvPr/>
        </p:nvSpPr>
        <p:spPr>
          <a:xfrm>
            <a:off x="232469" y="1834855"/>
            <a:ext cx="2167437" cy="912532"/>
          </a:xfrm>
          <a:prstGeom prst="roundRect">
            <a:avLst/>
          </a:prstGeom>
          <a:solidFill>
            <a:schemeClr val="bg1">
              <a:lumMod val="85000"/>
            </a:schemeClr>
          </a:solidFill>
          <a:ln w="12700" cap="flat" cmpd="sng" algn="ctr">
            <a:noFill/>
            <a:prstDash val="solid"/>
            <a:miter lim="800000"/>
          </a:ln>
          <a:effectLst/>
        </p:spPr>
        <p:txBody>
          <a:bodyPr rtlCol="0" anchor="ctr"/>
          <a:lstStyle/>
          <a:p>
            <a:pPr marL="0" marR="0" lvl="1" indent="0" algn="ctr" defTabSz="914400" rtl="0" eaLnBrk="1" fontAlgn="auto" latinLnBrk="0" hangingPunct="1">
              <a:lnSpc>
                <a:spcPct val="100000"/>
              </a:lnSpc>
              <a:spcBef>
                <a:spcPts val="0"/>
              </a:spcBef>
              <a:spcAft>
                <a:spcPts val="600"/>
              </a:spcAft>
              <a:buClrTx/>
              <a:buSzTx/>
              <a:buFontTx/>
              <a:buNone/>
              <a:tabLst/>
              <a:defRPr/>
            </a:pPr>
            <a:endParaRPr kumimoji="0" lang="en-US" sz="1400" b="1" i="0" u="none" strike="noStrike" kern="0" cap="none" spc="0" normalizeH="0" baseline="0" noProof="0">
              <a:ln>
                <a:noFill/>
              </a:ln>
              <a:solidFill>
                <a:srgbClr val="68D1F3"/>
              </a:solidFill>
              <a:effectLst/>
              <a:uLnTx/>
              <a:uFillTx/>
              <a:latin typeface="+mj-lt"/>
              <a:ea typeface="Verdana" panose="020B0604030504040204" pitchFamily="34" charset="0"/>
              <a:cs typeface="Verdana" panose="020B0604030504040204" pitchFamily="34" charset="0"/>
            </a:endParaRPr>
          </a:p>
          <a:p>
            <a:pPr marL="0" marR="0" lvl="1" indent="0" algn="ctr" defTabSz="914400" rtl="0" eaLnBrk="1" fontAlgn="auto" latinLnBrk="0" hangingPunct="1">
              <a:lnSpc>
                <a:spcPct val="100000"/>
              </a:lnSpc>
              <a:spcBef>
                <a:spcPts val="0"/>
              </a:spcBef>
              <a:spcAft>
                <a:spcPts val="600"/>
              </a:spcAft>
              <a:buClrTx/>
              <a:buSzTx/>
              <a:buFontTx/>
              <a:buNone/>
              <a:tabLst/>
              <a:defRPr/>
            </a:pPr>
            <a:endParaRPr kumimoji="0" lang="en-US" sz="1400" b="1" i="0" u="none" strike="noStrike" kern="0" cap="none" spc="0" normalizeH="0" baseline="0" noProof="0">
              <a:ln>
                <a:noFill/>
              </a:ln>
              <a:solidFill>
                <a:srgbClr val="68D1F3"/>
              </a:solidFill>
              <a:effectLst/>
              <a:uLnTx/>
              <a:uFillTx/>
              <a:latin typeface="+mj-lt"/>
              <a:ea typeface="Verdana" panose="020B0604030504040204" pitchFamily="34" charset="0"/>
              <a:cs typeface="Verdana" panose="020B0604030504040204" pitchFamily="34" charset="0"/>
            </a:endParaRPr>
          </a:p>
          <a:p>
            <a:pPr marL="0" marR="0" lvl="1" indent="0" algn="ctr" defTabSz="914400" rtl="0" eaLnBrk="1" fontAlgn="auto" latinLnBrk="0" hangingPunct="1">
              <a:lnSpc>
                <a:spcPct val="100000"/>
              </a:lnSpc>
              <a:spcBef>
                <a:spcPts val="0"/>
              </a:spcBef>
              <a:spcAft>
                <a:spcPts val="600"/>
              </a:spcAft>
              <a:buClrTx/>
              <a:buSzTx/>
              <a:buFontTx/>
              <a:buNone/>
              <a:tabLst/>
              <a:defRPr/>
            </a:pPr>
            <a:endParaRPr kumimoji="0" lang="en-US" sz="1400" b="1" i="0" u="none" strike="noStrike" kern="0" cap="none" spc="0" normalizeH="0" baseline="0" noProof="0">
              <a:ln>
                <a:noFill/>
              </a:ln>
              <a:solidFill>
                <a:srgbClr val="68D1F3"/>
              </a:solidFill>
              <a:effectLst/>
              <a:uLnTx/>
              <a:uFillTx/>
              <a:latin typeface="+mj-lt"/>
              <a:ea typeface="Verdana" panose="020B0604030504040204" pitchFamily="34" charset="0"/>
              <a:cs typeface="Verdana" panose="020B0604030504040204" pitchFamily="34" charset="0"/>
            </a:endParaRPr>
          </a:p>
        </p:txBody>
      </p:sp>
      <p:grpSp>
        <p:nvGrpSpPr>
          <p:cNvPr id="228" name="Group 227">
            <a:extLst>
              <a:ext uri="{FF2B5EF4-FFF2-40B4-BE49-F238E27FC236}">
                <a16:creationId xmlns:a16="http://schemas.microsoft.com/office/drawing/2014/main" id="{2FDE02F9-BEEB-8E75-1A93-1A5820A118BE}"/>
              </a:ext>
            </a:extLst>
          </p:cNvPr>
          <p:cNvGrpSpPr/>
          <p:nvPr/>
        </p:nvGrpSpPr>
        <p:grpSpPr>
          <a:xfrm>
            <a:off x="181272" y="2029177"/>
            <a:ext cx="784708" cy="523884"/>
            <a:chOff x="-3132612" y="1580954"/>
            <a:chExt cx="1182550" cy="789493"/>
          </a:xfrm>
        </p:grpSpPr>
        <p:pic>
          <p:nvPicPr>
            <p:cNvPr id="229" name="Picture 228" descr="Icon&#10;&#10;Description automatically generated">
              <a:extLst>
                <a:ext uri="{FF2B5EF4-FFF2-40B4-BE49-F238E27FC236}">
                  <a16:creationId xmlns:a16="http://schemas.microsoft.com/office/drawing/2014/main" id="{FDE03C74-29B8-AB91-9D1F-6658F7BAE946}"/>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775337" y="1580954"/>
              <a:ext cx="468000" cy="468000"/>
            </a:xfrm>
            <a:prstGeom prst="roundRect">
              <a:avLst/>
            </a:prstGeom>
          </p:spPr>
        </p:pic>
        <p:sp>
          <p:nvSpPr>
            <p:cNvPr id="230" name="Rectangle 44">
              <a:extLst>
                <a:ext uri="{FF2B5EF4-FFF2-40B4-BE49-F238E27FC236}">
                  <a16:creationId xmlns:a16="http://schemas.microsoft.com/office/drawing/2014/main" id="{BFBADE87-FC40-B876-29EA-2DA79B72D799}"/>
                </a:ext>
              </a:extLst>
            </p:cNvPr>
            <p:cNvSpPr/>
            <p:nvPr/>
          </p:nvSpPr>
          <p:spPr>
            <a:xfrm>
              <a:off x="-3132612" y="2048954"/>
              <a:ext cx="1182550" cy="321493"/>
            </a:xfrm>
            <a:prstGeom prst="roundRect">
              <a:avLst/>
            </a:prstGeom>
            <a:noFill/>
            <a:ln w="12700" cap="flat" cmpd="sng" algn="ctr">
              <a:noFill/>
              <a:prstDash val="solid"/>
              <a:miter lim="800000"/>
            </a:ln>
            <a:effectLst/>
          </p:spPr>
          <p:txBody>
            <a:bodyPr lIns="0" tIns="0" rIns="0" bIns="0" rtlCol="0" anchor="ctr"/>
            <a:lstStyle/>
            <a:p>
              <a:pPr marL="0" marR="0" lvl="1" indent="0" algn="ctr" defTabSz="914400" rtl="0" eaLnBrk="1" fontAlgn="auto" latinLnBrk="0" hangingPunct="1">
                <a:lnSpc>
                  <a:spcPct val="100000"/>
                </a:lnSpc>
                <a:spcBef>
                  <a:spcPts val="0"/>
                </a:spcBef>
                <a:spcAft>
                  <a:spcPts val="600"/>
                </a:spcAft>
                <a:buClrTx/>
                <a:buSzTx/>
                <a:buFontTx/>
                <a:buNone/>
                <a:tabLst/>
                <a:defRPr/>
              </a:pPr>
              <a:r>
                <a:rPr kumimoji="0" lang="en-US" sz="700" b="1" i="0" u="none" strike="noStrike" kern="0" cap="none" spc="0" normalizeH="0" baseline="0" noProof="0">
                  <a:ln>
                    <a:noFill/>
                  </a:ln>
                  <a:solidFill>
                    <a:prstClr val="black"/>
                  </a:solidFill>
                  <a:effectLst/>
                  <a:uLnTx/>
                  <a:uFillTx/>
                  <a:latin typeface="+mj-lt"/>
                  <a:ea typeface="Verdana" panose="020B0604030504040204" pitchFamily="34" charset="0"/>
                  <a:cs typeface="Verdana" panose="020B0604030504040204" pitchFamily="34" charset="0"/>
                </a:rPr>
                <a:t>Automobile</a:t>
              </a:r>
            </a:p>
          </p:txBody>
        </p:sp>
      </p:grpSp>
      <p:grpSp>
        <p:nvGrpSpPr>
          <p:cNvPr id="231" name="Group 230">
            <a:extLst>
              <a:ext uri="{FF2B5EF4-FFF2-40B4-BE49-F238E27FC236}">
                <a16:creationId xmlns:a16="http://schemas.microsoft.com/office/drawing/2014/main" id="{5902CCF6-F4D0-FE3C-A9F0-5F70FC90CEBE}"/>
              </a:ext>
            </a:extLst>
          </p:cNvPr>
          <p:cNvGrpSpPr/>
          <p:nvPr/>
        </p:nvGrpSpPr>
        <p:grpSpPr>
          <a:xfrm>
            <a:off x="923831" y="2029177"/>
            <a:ext cx="784708" cy="523884"/>
            <a:chOff x="-2168209" y="1580954"/>
            <a:chExt cx="1182550" cy="789493"/>
          </a:xfrm>
        </p:grpSpPr>
        <p:pic>
          <p:nvPicPr>
            <p:cNvPr id="232" name="Picture 231" descr="Icon&#10;&#10;Description automatically generated">
              <a:extLst>
                <a:ext uri="{FF2B5EF4-FFF2-40B4-BE49-F238E27FC236}">
                  <a16:creationId xmlns:a16="http://schemas.microsoft.com/office/drawing/2014/main" id="{5057CDA8-45D5-42C7-5728-CD8ED42AA8E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810934" y="1580954"/>
              <a:ext cx="468000" cy="468000"/>
            </a:xfrm>
            <a:prstGeom prst="roundRect">
              <a:avLst/>
            </a:prstGeom>
          </p:spPr>
        </p:pic>
        <p:sp>
          <p:nvSpPr>
            <p:cNvPr id="233" name="Rectangle 45">
              <a:extLst>
                <a:ext uri="{FF2B5EF4-FFF2-40B4-BE49-F238E27FC236}">
                  <a16:creationId xmlns:a16="http://schemas.microsoft.com/office/drawing/2014/main" id="{BC6F8E71-CC24-A4A6-3333-0A6677AF6978}"/>
                </a:ext>
              </a:extLst>
            </p:cNvPr>
            <p:cNvSpPr/>
            <p:nvPr/>
          </p:nvSpPr>
          <p:spPr>
            <a:xfrm>
              <a:off x="-2168209" y="2048954"/>
              <a:ext cx="1182550" cy="321493"/>
            </a:xfrm>
            <a:prstGeom prst="roundRect">
              <a:avLst/>
            </a:prstGeom>
            <a:noFill/>
            <a:ln w="12700" cap="flat" cmpd="sng" algn="ctr">
              <a:noFill/>
              <a:prstDash val="solid"/>
              <a:miter lim="800000"/>
            </a:ln>
            <a:effectLst/>
          </p:spPr>
          <p:txBody>
            <a:bodyPr lIns="0" tIns="0" rIns="0" bIns="0" rtlCol="0" anchor="ctr"/>
            <a:lstStyle/>
            <a:p>
              <a:pPr marL="0" marR="0" lvl="1" indent="0" algn="ctr" defTabSz="914400" rtl="0" eaLnBrk="1" fontAlgn="auto" latinLnBrk="0" hangingPunct="1">
                <a:lnSpc>
                  <a:spcPct val="100000"/>
                </a:lnSpc>
                <a:spcBef>
                  <a:spcPts val="0"/>
                </a:spcBef>
                <a:spcAft>
                  <a:spcPts val="600"/>
                </a:spcAft>
                <a:buClrTx/>
                <a:buSzTx/>
                <a:buFontTx/>
                <a:buNone/>
                <a:tabLst/>
                <a:defRPr/>
              </a:pPr>
              <a:r>
                <a:rPr kumimoji="0" lang="fr-FR" sz="700" b="1" i="0" u="none" strike="noStrike" kern="0" cap="none" spc="0" normalizeH="0" baseline="0" noProof="0">
                  <a:ln>
                    <a:noFill/>
                  </a:ln>
                  <a:solidFill>
                    <a:prstClr val="black"/>
                  </a:solidFill>
                  <a:effectLst/>
                  <a:uLnTx/>
                  <a:uFillTx/>
                  <a:latin typeface="+mj-lt"/>
                  <a:ea typeface="Verdana" panose="020B0604030504040204" pitchFamily="34" charset="0"/>
                  <a:cs typeface="Verdana" panose="020B0604030504040204" pitchFamily="34" charset="0"/>
                </a:rPr>
                <a:t>Aéronautique</a:t>
              </a:r>
            </a:p>
          </p:txBody>
        </p:sp>
      </p:grpSp>
      <p:grpSp>
        <p:nvGrpSpPr>
          <p:cNvPr id="234" name="Group 233">
            <a:extLst>
              <a:ext uri="{FF2B5EF4-FFF2-40B4-BE49-F238E27FC236}">
                <a16:creationId xmlns:a16="http://schemas.microsoft.com/office/drawing/2014/main" id="{C2364D57-4BE5-668B-9292-66628D81B44C}"/>
              </a:ext>
            </a:extLst>
          </p:cNvPr>
          <p:cNvGrpSpPr/>
          <p:nvPr/>
        </p:nvGrpSpPr>
        <p:grpSpPr>
          <a:xfrm>
            <a:off x="1666392" y="2029177"/>
            <a:ext cx="784708" cy="523884"/>
            <a:chOff x="-1211637" y="1580954"/>
            <a:chExt cx="1182550" cy="789493"/>
          </a:xfrm>
        </p:grpSpPr>
        <p:pic>
          <p:nvPicPr>
            <p:cNvPr id="235" name="Picture 234" descr="Icon&#10;&#10;Description automatically generated">
              <a:extLst>
                <a:ext uri="{FF2B5EF4-FFF2-40B4-BE49-F238E27FC236}">
                  <a16:creationId xmlns:a16="http://schemas.microsoft.com/office/drawing/2014/main" id="{A9F74FCC-1433-BE38-EFC5-88574CC16AA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54362" y="1580954"/>
              <a:ext cx="468000" cy="468000"/>
            </a:xfrm>
            <a:prstGeom prst="roundRect">
              <a:avLst/>
            </a:prstGeom>
          </p:spPr>
        </p:pic>
        <p:sp>
          <p:nvSpPr>
            <p:cNvPr id="236" name="Rectangle 46">
              <a:extLst>
                <a:ext uri="{FF2B5EF4-FFF2-40B4-BE49-F238E27FC236}">
                  <a16:creationId xmlns:a16="http://schemas.microsoft.com/office/drawing/2014/main" id="{D2681EBD-8DA3-D9EC-083C-5D310420F211}"/>
                </a:ext>
              </a:extLst>
            </p:cNvPr>
            <p:cNvSpPr/>
            <p:nvPr/>
          </p:nvSpPr>
          <p:spPr>
            <a:xfrm>
              <a:off x="-1211637" y="2048954"/>
              <a:ext cx="1182550" cy="321493"/>
            </a:xfrm>
            <a:prstGeom prst="roundRect">
              <a:avLst/>
            </a:prstGeom>
            <a:noFill/>
            <a:ln w="12700" cap="flat" cmpd="sng" algn="ctr">
              <a:noFill/>
              <a:prstDash val="solid"/>
              <a:miter lim="800000"/>
            </a:ln>
            <a:effectLst/>
          </p:spPr>
          <p:txBody>
            <a:bodyPr lIns="0" tIns="0" rIns="0" bIns="0" rtlCol="0" anchor="ctr"/>
            <a:lstStyle/>
            <a:p>
              <a:pPr marL="0" marR="0" lvl="1" indent="0" algn="ctr" defTabSz="914400" rtl="0" eaLnBrk="1" fontAlgn="auto" latinLnBrk="0" hangingPunct="1">
                <a:lnSpc>
                  <a:spcPct val="100000"/>
                </a:lnSpc>
                <a:spcBef>
                  <a:spcPts val="0"/>
                </a:spcBef>
                <a:spcAft>
                  <a:spcPts val="600"/>
                </a:spcAft>
                <a:buClrTx/>
                <a:buSzTx/>
                <a:buFontTx/>
                <a:buNone/>
                <a:tabLst/>
                <a:defRPr/>
              </a:pPr>
              <a:r>
                <a:rPr kumimoji="0" lang="fr-FR" sz="700" b="1" i="0" u="none" strike="noStrike" kern="0" cap="none" spc="0" normalizeH="0" baseline="0" noProof="0">
                  <a:ln>
                    <a:noFill/>
                  </a:ln>
                  <a:solidFill>
                    <a:prstClr val="black"/>
                  </a:solidFill>
                  <a:effectLst/>
                  <a:uLnTx/>
                  <a:uFillTx/>
                  <a:latin typeface="+mj-lt"/>
                  <a:ea typeface="Verdana" panose="020B0604030504040204" pitchFamily="34" charset="0"/>
                  <a:cs typeface="Verdana" panose="020B0604030504040204" pitchFamily="34" charset="0"/>
                </a:rPr>
                <a:t>Spatial</a:t>
              </a:r>
            </a:p>
          </p:txBody>
        </p:sp>
      </p:grpSp>
      <p:sp>
        <p:nvSpPr>
          <p:cNvPr id="237" name="Rectangle 9">
            <a:extLst>
              <a:ext uri="{FF2B5EF4-FFF2-40B4-BE49-F238E27FC236}">
                <a16:creationId xmlns:a16="http://schemas.microsoft.com/office/drawing/2014/main" id="{693AA1B0-C96A-AC6D-B0A9-D41F8499D158}"/>
              </a:ext>
            </a:extLst>
          </p:cNvPr>
          <p:cNvSpPr/>
          <p:nvPr/>
        </p:nvSpPr>
        <p:spPr>
          <a:xfrm>
            <a:off x="232469" y="2952446"/>
            <a:ext cx="2167437" cy="912532"/>
          </a:xfrm>
          <a:prstGeom prst="roundRect">
            <a:avLst/>
          </a:prstGeom>
          <a:solidFill>
            <a:schemeClr val="bg1">
              <a:lumMod val="85000"/>
            </a:schemeClr>
          </a:solidFill>
          <a:ln w="12700" cap="flat" cmpd="sng" algn="ctr">
            <a:noFill/>
            <a:prstDash val="solid"/>
            <a:miter lim="800000"/>
          </a:ln>
          <a:effectLst/>
        </p:spPr>
        <p:txBody>
          <a:bodyPr rtlCol="0" anchor="ctr"/>
          <a:lstStyle/>
          <a:p>
            <a:pPr marL="0" marR="0" lvl="1" indent="0" algn="ctr" defTabSz="914400" rtl="0" eaLnBrk="1" fontAlgn="auto" latinLnBrk="0" hangingPunct="1">
              <a:lnSpc>
                <a:spcPct val="100000"/>
              </a:lnSpc>
              <a:spcBef>
                <a:spcPts val="0"/>
              </a:spcBef>
              <a:spcAft>
                <a:spcPts val="600"/>
              </a:spcAft>
              <a:buClrTx/>
              <a:buSzTx/>
              <a:buFontTx/>
              <a:buNone/>
              <a:tabLst/>
              <a:defRPr/>
            </a:pPr>
            <a:endParaRPr kumimoji="0" lang="en-US" sz="1400" b="1" i="0" u="none" strike="noStrike" kern="0" cap="none" spc="0" normalizeH="0" baseline="0" noProof="0">
              <a:ln>
                <a:noFill/>
              </a:ln>
              <a:solidFill>
                <a:srgbClr val="68D1F3"/>
              </a:solidFill>
              <a:effectLst/>
              <a:uLnTx/>
              <a:uFillTx/>
              <a:latin typeface="+mj-lt"/>
              <a:ea typeface="Verdana" panose="020B0604030504040204" pitchFamily="34" charset="0"/>
              <a:cs typeface="Verdana" panose="020B0604030504040204" pitchFamily="34" charset="0"/>
            </a:endParaRPr>
          </a:p>
          <a:p>
            <a:pPr marL="0" marR="0" lvl="1" indent="0" algn="ctr" defTabSz="914400" rtl="0" eaLnBrk="1" fontAlgn="auto" latinLnBrk="0" hangingPunct="1">
              <a:lnSpc>
                <a:spcPct val="100000"/>
              </a:lnSpc>
              <a:spcBef>
                <a:spcPts val="0"/>
              </a:spcBef>
              <a:spcAft>
                <a:spcPts val="600"/>
              </a:spcAft>
              <a:buClrTx/>
              <a:buSzTx/>
              <a:buFontTx/>
              <a:buNone/>
              <a:tabLst/>
              <a:defRPr/>
            </a:pPr>
            <a:endParaRPr kumimoji="0" lang="en-US" sz="1400" b="1" i="0" u="none" strike="noStrike" kern="0" cap="none" spc="0" normalizeH="0" baseline="0" noProof="0">
              <a:ln>
                <a:noFill/>
              </a:ln>
              <a:solidFill>
                <a:srgbClr val="68D1F3"/>
              </a:solidFill>
              <a:effectLst/>
              <a:uLnTx/>
              <a:uFillTx/>
              <a:latin typeface="+mj-lt"/>
              <a:ea typeface="Verdana" panose="020B0604030504040204" pitchFamily="34" charset="0"/>
              <a:cs typeface="Verdana" panose="020B0604030504040204" pitchFamily="34" charset="0"/>
            </a:endParaRPr>
          </a:p>
          <a:p>
            <a:pPr marL="0" marR="0" lvl="1" indent="0" algn="ctr" defTabSz="914400" rtl="0" eaLnBrk="1" fontAlgn="auto" latinLnBrk="0" hangingPunct="1">
              <a:lnSpc>
                <a:spcPct val="100000"/>
              </a:lnSpc>
              <a:spcBef>
                <a:spcPts val="0"/>
              </a:spcBef>
              <a:spcAft>
                <a:spcPts val="600"/>
              </a:spcAft>
              <a:buClrTx/>
              <a:buSzTx/>
              <a:buFontTx/>
              <a:buNone/>
              <a:tabLst/>
              <a:defRPr/>
            </a:pPr>
            <a:endParaRPr kumimoji="0" lang="en-US" sz="1400" b="1" i="0" u="none" strike="noStrike" kern="0" cap="none" spc="0" normalizeH="0" baseline="0" noProof="0">
              <a:ln>
                <a:noFill/>
              </a:ln>
              <a:solidFill>
                <a:srgbClr val="68D1F3"/>
              </a:solidFill>
              <a:effectLst/>
              <a:uLnTx/>
              <a:uFillTx/>
              <a:latin typeface="+mj-lt"/>
              <a:ea typeface="Verdana" panose="020B0604030504040204" pitchFamily="34" charset="0"/>
              <a:cs typeface="Verdana" panose="020B0604030504040204" pitchFamily="34" charset="0"/>
            </a:endParaRPr>
          </a:p>
        </p:txBody>
      </p:sp>
      <p:pic>
        <p:nvPicPr>
          <p:cNvPr id="238" name="Picture 237">
            <a:extLst>
              <a:ext uri="{FF2B5EF4-FFF2-40B4-BE49-F238E27FC236}">
                <a16:creationId xmlns:a16="http://schemas.microsoft.com/office/drawing/2014/main" id="{C1867E89-045D-B592-A5AB-864D2AB38AE6}"/>
              </a:ext>
            </a:extLst>
          </p:cNvPr>
          <p:cNvPicPr>
            <a:picLocks noChangeAspect="1"/>
          </p:cNvPicPr>
          <p:nvPr/>
        </p:nvPicPr>
        <p:blipFill>
          <a:blip r:embed="rId5" cstate="email">
            <a:extLst>
              <a:ext uri="{28A0092B-C50C-407E-A947-70E740481C1C}">
                <a14:useLocalDpi xmlns:a14="http://schemas.microsoft.com/office/drawing/2010/main"/>
              </a:ext>
            </a:extLst>
          </a:blip>
          <a:srcRect/>
          <a:stretch/>
        </p:blipFill>
        <p:spPr>
          <a:xfrm>
            <a:off x="418352" y="3146769"/>
            <a:ext cx="310552" cy="310550"/>
          </a:xfrm>
          <a:prstGeom prst="roundRect">
            <a:avLst/>
          </a:prstGeom>
        </p:spPr>
      </p:pic>
      <p:sp>
        <p:nvSpPr>
          <p:cNvPr id="239" name="Rectangle 44">
            <a:extLst>
              <a:ext uri="{FF2B5EF4-FFF2-40B4-BE49-F238E27FC236}">
                <a16:creationId xmlns:a16="http://schemas.microsoft.com/office/drawing/2014/main" id="{9B441DB9-6998-DAAF-CCEC-1A79EAB912EE}"/>
              </a:ext>
            </a:extLst>
          </p:cNvPr>
          <p:cNvSpPr/>
          <p:nvPr/>
        </p:nvSpPr>
        <p:spPr>
          <a:xfrm>
            <a:off x="181274" y="3484510"/>
            <a:ext cx="784707" cy="213334"/>
          </a:xfrm>
          <a:prstGeom prst="roundRect">
            <a:avLst/>
          </a:prstGeom>
          <a:noFill/>
          <a:ln w="12700" cap="flat" cmpd="sng" algn="ctr">
            <a:noFill/>
            <a:prstDash val="solid"/>
            <a:miter lim="800000"/>
          </a:ln>
          <a:effectLst/>
        </p:spPr>
        <p:txBody>
          <a:bodyPr lIns="0" tIns="0" rIns="0" bIns="0" rtlCol="0" anchor="ctr"/>
          <a:lstStyle/>
          <a:p>
            <a:pPr marL="0" marR="0" lvl="1" indent="0" algn="ctr" defTabSz="914400" rtl="0" eaLnBrk="1" fontAlgn="auto" latinLnBrk="0" hangingPunct="1">
              <a:lnSpc>
                <a:spcPct val="100000"/>
              </a:lnSpc>
              <a:spcBef>
                <a:spcPts val="0"/>
              </a:spcBef>
              <a:spcAft>
                <a:spcPts val="600"/>
              </a:spcAft>
              <a:buClrTx/>
              <a:buSzTx/>
              <a:buFontTx/>
              <a:buNone/>
              <a:tabLst/>
              <a:defRPr/>
            </a:pPr>
            <a:r>
              <a:rPr kumimoji="0" lang="en-US" sz="700" b="1" i="0" u="none" strike="noStrike" kern="0" cap="none" spc="0" normalizeH="0" baseline="0" noProof="0" err="1">
                <a:ln>
                  <a:noFill/>
                </a:ln>
                <a:solidFill>
                  <a:prstClr val="black"/>
                </a:solidFill>
                <a:effectLst/>
                <a:uLnTx/>
                <a:uFillTx/>
                <a:latin typeface="+mj-lt"/>
                <a:ea typeface="Verdana" panose="020B0604030504040204" pitchFamily="34" charset="0"/>
                <a:cs typeface="Verdana" panose="020B0604030504040204" pitchFamily="34" charset="0"/>
              </a:rPr>
              <a:t>Agro-alimentaire</a:t>
            </a:r>
            <a:endParaRPr kumimoji="0" lang="en-US" sz="700" b="1" i="0" u="none" strike="noStrike" kern="0" cap="none" spc="0" normalizeH="0" baseline="0" noProof="0">
              <a:ln>
                <a:noFill/>
              </a:ln>
              <a:solidFill>
                <a:prstClr val="black"/>
              </a:solidFill>
              <a:effectLst/>
              <a:uLnTx/>
              <a:uFillTx/>
              <a:latin typeface="+mj-lt"/>
              <a:ea typeface="Verdana" panose="020B0604030504040204" pitchFamily="34" charset="0"/>
              <a:cs typeface="Verdana" panose="020B0604030504040204" pitchFamily="34" charset="0"/>
            </a:endParaRPr>
          </a:p>
        </p:txBody>
      </p:sp>
      <p:pic>
        <p:nvPicPr>
          <p:cNvPr id="240" name="Picture 239">
            <a:extLst>
              <a:ext uri="{FF2B5EF4-FFF2-40B4-BE49-F238E27FC236}">
                <a16:creationId xmlns:a16="http://schemas.microsoft.com/office/drawing/2014/main" id="{5F05E2E8-6596-99D6-73A3-F7403F9BA7D9}"/>
              </a:ext>
            </a:extLst>
          </p:cNvPr>
          <p:cNvPicPr>
            <a:picLocks noChangeAspect="1"/>
          </p:cNvPicPr>
          <p:nvPr/>
        </p:nvPicPr>
        <p:blipFill>
          <a:blip r:embed="rId6" cstate="email">
            <a:extLst>
              <a:ext uri="{28A0092B-C50C-407E-A947-70E740481C1C}">
                <a14:useLocalDpi xmlns:a14="http://schemas.microsoft.com/office/drawing/2010/main"/>
              </a:ext>
            </a:extLst>
          </a:blip>
          <a:srcRect/>
          <a:stretch/>
        </p:blipFill>
        <p:spPr>
          <a:xfrm>
            <a:off x="1160910" y="3146769"/>
            <a:ext cx="310552" cy="310551"/>
          </a:xfrm>
          <a:prstGeom prst="roundRect">
            <a:avLst/>
          </a:prstGeom>
        </p:spPr>
      </p:pic>
      <p:sp>
        <p:nvSpPr>
          <p:cNvPr id="241" name="Rectangle 45">
            <a:extLst>
              <a:ext uri="{FF2B5EF4-FFF2-40B4-BE49-F238E27FC236}">
                <a16:creationId xmlns:a16="http://schemas.microsoft.com/office/drawing/2014/main" id="{47B3EA9B-7B91-05FE-CDF9-5526955B5757}"/>
              </a:ext>
            </a:extLst>
          </p:cNvPr>
          <p:cNvSpPr/>
          <p:nvPr/>
        </p:nvSpPr>
        <p:spPr>
          <a:xfrm>
            <a:off x="886011" y="3463536"/>
            <a:ext cx="847817" cy="213334"/>
          </a:xfrm>
          <a:prstGeom prst="roundRect">
            <a:avLst/>
          </a:prstGeom>
          <a:noFill/>
          <a:ln w="12700" cap="flat" cmpd="sng" algn="ctr">
            <a:noFill/>
            <a:prstDash val="solid"/>
            <a:miter lim="800000"/>
          </a:ln>
          <a:effectLst/>
        </p:spPr>
        <p:txBody>
          <a:bodyPr lIns="0" tIns="0" rIns="0" bIns="0" rtlCol="0" anchor="ctr"/>
          <a:lstStyle/>
          <a:p>
            <a:pPr marL="0" marR="0" lvl="1" indent="0" algn="ctr" defTabSz="914400" rtl="0" eaLnBrk="1" fontAlgn="auto" latinLnBrk="0" hangingPunct="1">
              <a:lnSpc>
                <a:spcPct val="100000"/>
              </a:lnSpc>
              <a:spcBef>
                <a:spcPts val="0"/>
              </a:spcBef>
              <a:spcAft>
                <a:spcPts val="600"/>
              </a:spcAft>
              <a:buClrTx/>
              <a:buSzTx/>
              <a:buFontTx/>
              <a:buNone/>
              <a:tabLst/>
              <a:defRPr/>
            </a:pPr>
            <a:r>
              <a:rPr kumimoji="0" lang="fr-FR" sz="700" b="1" i="0" u="none" strike="noStrike" kern="0" cap="none" spc="0" normalizeH="0" baseline="0" noProof="0">
                <a:ln>
                  <a:noFill/>
                </a:ln>
                <a:solidFill>
                  <a:prstClr val="black"/>
                </a:solidFill>
                <a:effectLst/>
                <a:uLnTx/>
                <a:uFillTx/>
                <a:latin typeface="+mj-lt"/>
                <a:ea typeface="Verdana" panose="020B0604030504040204" pitchFamily="34" charset="0"/>
                <a:cs typeface="Verdana" panose="020B0604030504040204" pitchFamily="34" charset="0"/>
              </a:rPr>
              <a:t>Pharmaceutique</a:t>
            </a:r>
          </a:p>
        </p:txBody>
      </p:sp>
      <p:pic>
        <p:nvPicPr>
          <p:cNvPr id="242" name="Picture 241">
            <a:extLst>
              <a:ext uri="{FF2B5EF4-FFF2-40B4-BE49-F238E27FC236}">
                <a16:creationId xmlns:a16="http://schemas.microsoft.com/office/drawing/2014/main" id="{F1C7E549-EF44-F7CB-8EB9-D57879062BD8}"/>
              </a:ext>
            </a:extLst>
          </p:cNvPr>
          <p:cNvPicPr>
            <a:picLocks noChangeAspect="1"/>
          </p:cNvPicPr>
          <p:nvPr/>
        </p:nvPicPr>
        <p:blipFill>
          <a:blip r:embed="rId7" cstate="email">
            <a:extLst>
              <a:ext uri="{28A0092B-C50C-407E-A947-70E740481C1C}">
                <a14:useLocalDpi xmlns:a14="http://schemas.microsoft.com/office/drawing/2010/main"/>
              </a:ext>
            </a:extLst>
          </a:blip>
          <a:srcRect/>
          <a:stretch/>
        </p:blipFill>
        <p:spPr>
          <a:xfrm>
            <a:off x="1903471" y="3146769"/>
            <a:ext cx="310552" cy="310551"/>
          </a:xfrm>
          <a:prstGeom prst="roundRect">
            <a:avLst/>
          </a:prstGeom>
        </p:spPr>
      </p:pic>
      <p:sp>
        <p:nvSpPr>
          <p:cNvPr id="243" name="Rectangle 46">
            <a:extLst>
              <a:ext uri="{FF2B5EF4-FFF2-40B4-BE49-F238E27FC236}">
                <a16:creationId xmlns:a16="http://schemas.microsoft.com/office/drawing/2014/main" id="{9E0024CD-1E56-0285-2C34-98F2760F633D}"/>
              </a:ext>
            </a:extLst>
          </p:cNvPr>
          <p:cNvSpPr/>
          <p:nvPr/>
        </p:nvSpPr>
        <p:spPr>
          <a:xfrm>
            <a:off x="1666393" y="3455529"/>
            <a:ext cx="784707" cy="213334"/>
          </a:xfrm>
          <a:prstGeom prst="roundRect">
            <a:avLst/>
          </a:prstGeom>
          <a:noFill/>
          <a:ln w="12700" cap="flat" cmpd="sng" algn="ctr">
            <a:noFill/>
            <a:prstDash val="solid"/>
            <a:miter lim="800000"/>
          </a:ln>
          <a:effectLst/>
        </p:spPr>
        <p:txBody>
          <a:bodyPr lIns="0" tIns="0" rIns="0" bIns="0" rtlCol="0" anchor="ctr"/>
          <a:lstStyle/>
          <a:p>
            <a:pPr marL="0" marR="0" lvl="1" indent="0" algn="ctr" defTabSz="914400" rtl="0" eaLnBrk="1" fontAlgn="auto" latinLnBrk="0" hangingPunct="1">
              <a:lnSpc>
                <a:spcPct val="100000"/>
              </a:lnSpc>
              <a:spcBef>
                <a:spcPts val="0"/>
              </a:spcBef>
              <a:spcAft>
                <a:spcPts val="600"/>
              </a:spcAft>
              <a:buClrTx/>
              <a:buSzTx/>
              <a:buFontTx/>
              <a:buNone/>
              <a:tabLst/>
              <a:defRPr/>
            </a:pPr>
            <a:r>
              <a:rPr kumimoji="0" lang="fr-FR" sz="700" b="1" i="0" u="none" strike="noStrike" kern="0" cap="none" spc="0" normalizeH="0" baseline="0" noProof="0">
                <a:ln>
                  <a:noFill/>
                </a:ln>
                <a:solidFill>
                  <a:prstClr val="black"/>
                </a:solidFill>
                <a:effectLst/>
                <a:uLnTx/>
                <a:uFillTx/>
                <a:latin typeface="+mj-lt"/>
                <a:ea typeface="Verdana" panose="020B0604030504040204" pitchFamily="34" charset="0"/>
                <a:cs typeface="Verdana" panose="020B0604030504040204" pitchFamily="34" charset="0"/>
              </a:rPr>
              <a:t>Pétrole</a:t>
            </a:r>
          </a:p>
        </p:txBody>
      </p:sp>
      <p:sp>
        <p:nvSpPr>
          <p:cNvPr id="244" name="Rectangle 9">
            <a:extLst>
              <a:ext uri="{FF2B5EF4-FFF2-40B4-BE49-F238E27FC236}">
                <a16:creationId xmlns:a16="http://schemas.microsoft.com/office/drawing/2014/main" id="{4B9B82F6-82FE-21E7-880F-5E792FBAFD96}"/>
              </a:ext>
            </a:extLst>
          </p:cNvPr>
          <p:cNvSpPr/>
          <p:nvPr/>
        </p:nvSpPr>
        <p:spPr>
          <a:xfrm>
            <a:off x="232469" y="4100153"/>
            <a:ext cx="2167437" cy="912532"/>
          </a:xfrm>
          <a:prstGeom prst="roundRect">
            <a:avLst/>
          </a:prstGeom>
          <a:solidFill>
            <a:schemeClr val="bg1">
              <a:lumMod val="85000"/>
            </a:schemeClr>
          </a:solidFill>
          <a:ln w="12700" cap="flat" cmpd="sng" algn="ctr">
            <a:noFill/>
            <a:prstDash val="solid"/>
            <a:miter lim="800000"/>
          </a:ln>
          <a:effectLst/>
        </p:spPr>
        <p:txBody>
          <a:bodyPr rtlCol="0" anchor="ctr"/>
          <a:lstStyle/>
          <a:p>
            <a:pPr marL="0" marR="0" lvl="1" indent="0" algn="ctr" defTabSz="914400" rtl="0" eaLnBrk="1" fontAlgn="auto" latinLnBrk="0" hangingPunct="1">
              <a:lnSpc>
                <a:spcPct val="100000"/>
              </a:lnSpc>
              <a:spcBef>
                <a:spcPts val="0"/>
              </a:spcBef>
              <a:spcAft>
                <a:spcPts val="600"/>
              </a:spcAft>
              <a:buClrTx/>
              <a:buSzTx/>
              <a:buFontTx/>
              <a:buNone/>
              <a:tabLst/>
              <a:defRPr/>
            </a:pPr>
            <a:endParaRPr kumimoji="0" lang="en-US" sz="1400" b="1" i="0" u="none" strike="noStrike" kern="0" cap="none" spc="0" normalizeH="0" baseline="0" noProof="0">
              <a:ln>
                <a:noFill/>
              </a:ln>
              <a:solidFill>
                <a:srgbClr val="68D1F3"/>
              </a:solidFill>
              <a:effectLst/>
              <a:uLnTx/>
              <a:uFillTx/>
              <a:latin typeface="+mj-lt"/>
              <a:ea typeface="Verdana" panose="020B0604030504040204" pitchFamily="34" charset="0"/>
              <a:cs typeface="Verdana" panose="020B0604030504040204" pitchFamily="34" charset="0"/>
            </a:endParaRPr>
          </a:p>
          <a:p>
            <a:pPr marL="0" marR="0" lvl="1" indent="0" algn="ctr" defTabSz="914400" rtl="0" eaLnBrk="1" fontAlgn="auto" latinLnBrk="0" hangingPunct="1">
              <a:lnSpc>
                <a:spcPct val="100000"/>
              </a:lnSpc>
              <a:spcBef>
                <a:spcPts val="0"/>
              </a:spcBef>
              <a:spcAft>
                <a:spcPts val="600"/>
              </a:spcAft>
              <a:buClrTx/>
              <a:buSzTx/>
              <a:buFontTx/>
              <a:buNone/>
              <a:tabLst/>
              <a:defRPr/>
            </a:pPr>
            <a:endParaRPr kumimoji="0" lang="en-US" sz="1400" b="1" i="0" u="none" strike="noStrike" kern="0" cap="none" spc="0" normalizeH="0" baseline="0" noProof="0">
              <a:ln>
                <a:noFill/>
              </a:ln>
              <a:solidFill>
                <a:srgbClr val="68D1F3"/>
              </a:solidFill>
              <a:effectLst/>
              <a:uLnTx/>
              <a:uFillTx/>
              <a:latin typeface="+mj-lt"/>
              <a:ea typeface="Verdana" panose="020B0604030504040204" pitchFamily="34" charset="0"/>
              <a:cs typeface="Verdana" panose="020B0604030504040204" pitchFamily="34" charset="0"/>
            </a:endParaRPr>
          </a:p>
          <a:p>
            <a:pPr marL="0" marR="0" lvl="1" indent="0" algn="ctr" defTabSz="914400" rtl="0" eaLnBrk="1" fontAlgn="auto" latinLnBrk="0" hangingPunct="1">
              <a:lnSpc>
                <a:spcPct val="100000"/>
              </a:lnSpc>
              <a:spcBef>
                <a:spcPts val="0"/>
              </a:spcBef>
              <a:spcAft>
                <a:spcPts val="600"/>
              </a:spcAft>
              <a:buClrTx/>
              <a:buSzTx/>
              <a:buFontTx/>
              <a:buNone/>
              <a:tabLst/>
              <a:defRPr/>
            </a:pPr>
            <a:endParaRPr kumimoji="0" lang="en-US" sz="1400" b="1" i="0" u="none" strike="noStrike" kern="0" cap="none" spc="0" normalizeH="0" baseline="0" noProof="0">
              <a:ln>
                <a:noFill/>
              </a:ln>
              <a:solidFill>
                <a:srgbClr val="68D1F3"/>
              </a:solidFill>
              <a:effectLst/>
              <a:uLnTx/>
              <a:uFillTx/>
              <a:latin typeface="+mj-lt"/>
              <a:ea typeface="Verdana" panose="020B0604030504040204" pitchFamily="34" charset="0"/>
              <a:cs typeface="Verdana" panose="020B0604030504040204" pitchFamily="34" charset="0"/>
            </a:endParaRPr>
          </a:p>
        </p:txBody>
      </p:sp>
      <p:pic>
        <p:nvPicPr>
          <p:cNvPr id="245" name="Picture 244">
            <a:extLst>
              <a:ext uri="{FF2B5EF4-FFF2-40B4-BE49-F238E27FC236}">
                <a16:creationId xmlns:a16="http://schemas.microsoft.com/office/drawing/2014/main" id="{F24A20AE-E59A-EF31-9A82-3733D27A49A4}"/>
              </a:ext>
            </a:extLst>
          </p:cNvPr>
          <p:cNvPicPr>
            <a:picLocks noChangeAspect="1"/>
          </p:cNvPicPr>
          <p:nvPr/>
        </p:nvPicPr>
        <p:blipFill>
          <a:blip r:embed="rId8" cstate="email">
            <a:extLst>
              <a:ext uri="{28A0092B-C50C-407E-A947-70E740481C1C}">
                <a14:useLocalDpi xmlns:a14="http://schemas.microsoft.com/office/drawing/2010/main"/>
              </a:ext>
            </a:extLst>
          </a:blip>
          <a:srcRect/>
          <a:stretch/>
        </p:blipFill>
        <p:spPr>
          <a:xfrm>
            <a:off x="418352" y="4294477"/>
            <a:ext cx="310552" cy="310551"/>
          </a:xfrm>
          <a:prstGeom prst="roundRect">
            <a:avLst/>
          </a:prstGeom>
        </p:spPr>
      </p:pic>
      <p:sp>
        <p:nvSpPr>
          <p:cNvPr id="246" name="Rectangle 44">
            <a:extLst>
              <a:ext uri="{FF2B5EF4-FFF2-40B4-BE49-F238E27FC236}">
                <a16:creationId xmlns:a16="http://schemas.microsoft.com/office/drawing/2014/main" id="{6ECDDAD0-C05E-A397-5142-FFEB7E60ACE6}"/>
              </a:ext>
            </a:extLst>
          </p:cNvPr>
          <p:cNvSpPr/>
          <p:nvPr/>
        </p:nvSpPr>
        <p:spPr>
          <a:xfrm>
            <a:off x="181274" y="4606819"/>
            <a:ext cx="784707" cy="213334"/>
          </a:xfrm>
          <a:prstGeom prst="roundRect">
            <a:avLst/>
          </a:prstGeom>
          <a:noFill/>
          <a:ln w="12700" cap="flat" cmpd="sng" algn="ctr">
            <a:noFill/>
            <a:prstDash val="solid"/>
            <a:miter lim="800000"/>
          </a:ln>
          <a:effectLst/>
        </p:spPr>
        <p:txBody>
          <a:bodyPr lIns="0" tIns="0" rIns="0" bIns="0" rtlCol="0" anchor="ctr"/>
          <a:lstStyle/>
          <a:p>
            <a:pPr marL="0" marR="0" lvl="1" indent="0" algn="ctr" defTabSz="914400" rtl="0" eaLnBrk="1" fontAlgn="auto" latinLnBrk="0" hangingPunct="1">
              <a:lnSpc>
                <a:spcPct val="100000"/>
              </a:lnSpc>
              <a:spcBef>
                <a:spcPts val="0"/>
              </a:spcBef>
              <a:spcAft>
                <a:spcPts val="600"/>
              </a:spcAft>
              <a:buClrTx/>
              <a:buSzTx/>
              <a:buFontTx/>
              <a:buNone/>
              <a:tabLst/>
              <a:defRPr/>
            </a:pPr>
            <a:r>
              <a:rPr kumimoji="0" lang="en-US" sz="700" b="1" i="0" u="none" strike="noStrike" kern="0" cap="none" spc="0" normalizeH="0" baseline="0" noProof="0" err="1">
                <a:ln>
                  <a:noFill/>
                </a:ln>
                <a:solidFill>
                  <a:prstClr val="black"/>
                </a:solidFill>
                <a:effectLst/>
                <a:uLnTx/>
                <a:uFillTx/>
                <a:latin typeface="+mj-lt"/>
                <a:ea typeface="Verdana" panose="020B0604030504040204" pitchFamily="34" charset="0"/>
                <a:cs typeface="Verdana" panose="020B0604030504040204" pitchFamily="34" charset="0"/>
              </a:rPr>
              <a:t>Nucléaire</a:t>
            </a:r>
            <a:endParaRPr kumimoji="0" lang="en-US" sz="700" b="1" i="0" u="none" strike="noStrike" kern="0" cap="none" spc="0" normalizeH="0" baseline="0" noProof="0">
              <a:ln>
                <a:noFill/>
              </a:ln>
              <a:solidFill>
                <a:prstClr val="black"/>
              </a:solidFill>
              <a:effectLst/>
              <a:uLnTx/>
              <a:uFillTx/>
              <a:latin typeface="+mj-lt"/>
              <a:ea typeface="Verdana" panose="020B0604030504040204" pitchFamily="34" charset="0"/>
              <a:cs typeface="Verdana" panose="020B0604030504040204" pitchFamily="34" charset="0"/>
            </a:endParaRPr>
          </a:p>
        </p:txBody>
      </p:sp>
      <p:pic>
        <p:nvPicPr>
          <p:cNvPr id="247" name="Picture 246">
            <a:extLst>
              <a:ext uri="{FF2B5EF4-FFF2-40B4-BE49-F238E27FC236}">
                <a16:creationId xmlns:a16="http://schemas.microsoft.com/office/drawing/2014/main" id="{1FC271B4-98A8-6218-0281-17235F17AF17}"/>
              </a:ext>
            </a:extLst>
          </p:cNvPr>
          <p:cNvPicPr>
            <a:picLocks noChangeAspect="1"/>
          </p:cNvPicPr>
          <p:nvPr/>
        </p:nvPicPr>
        <p:blipFill>
          <a:blip r:embed="rId9" cstate="email">
            <a:extLst>
              <a:ext uri="{28A0092B-C50C-407E-A947-70E740481C1C}">
                <a14:useLocalDpi xmlns:a14="http://schemas.microsoft.com/office/drawing/2010/main"/>
              </a:ext>
            </a:extLst>
          </a:blip>
          <a:srcRect/>
          <a:stretch/>
        </p:blipFill>
        <p:spPr>
          <a:xfrm>
            <a:off x="1160910" y="4294477"/>
            <a:ext cx="310552" cy="310551"/>
          </a:xfrm>
          <a:prstGeom prst="roundRect">
            <a:avLst/>
          </a:prstGeom>
        </p:spPr>
      </p:pic>
      <p:sp>
        <p:nvSpPr>
          <p:cNvPr id="54" name="Rectangle 45">
            <a:extLst>
              <a:ext uri="{FF2B5EF4-FFF2-40B4-BE49-F238E27FC236}">
                <a16:creationId xmlns:a16="http://schemas.microsoft.com/office/drawing/2014/main" id="{73589B68-C667-6EE7-AC17-00A7DFDFE1FA}"/>
              </a:ext>
            </a:extLst>
          </p:cNvPr>
          <p:cNvSpPr/>
          <p:nvPr/>
        </p:nvSpPr>
        <p:spPr>
          <a:xfrm>
            <a:off x="886011" y="4611243"/>
            <a:ext cx="847817" cy="213334"/>
          </a:xfrm>
          <a:prstGeom prst="roundRect">
            <a:avLst/>
          </a:prstGeom>
          <a:noFill/>
          <a:ln w="12700" cap="flat" cmpd="sng" algn="ctr">
            <a:noFill/>
            <a:prstDash val="solid"/>
            <a:miter lim="800000"/>
          </a:ln>
          <a:effectLst/>
        </p:spPr>
        <p:txBody>
          <a:bodyPr lIns="0" tIns="0" rIns="0" bIns="0" rtlCol="0" anchor="ctr"/>
          <a:lstStyle/>
          <a:p>
            <a:pPr marL="0" marR="0" lvl="1" indent="0" algn="ctr" defTabSz="914400" rtl="0" eaLnBrk="1" fontAlgn="auto" latinLnBrk="0" hangingPunct="1">
              <a:lnSpc>
                <a:spcPct val="100000"/>
              </a:lnSpc>
              <a:spcBef>
                <a:spcPts val="0"/>
              </a:spcBef>
              <a:spcAft>
                <a:spcPts val="600"/>
              </a:spcAft>
              <a:buClrTx/>
              <a:buSzTx/>
              <a:buFontTx/>
              <a:buNone/>
              <a:tabLst/>
              <a:defRPr/>
            </a:pPr>
            <a:r>
              <a:rPr kumimoji="0" lang="fr-FR" sz="700" b="1" i="0" u="none" strike="noStrike" kern="0" cap="none" spc="0" normalizeH="0" baseline="0" noProof="0">
                <a:ln>
                  <a:noFill/>
                </a:ln>
                <a:solidFill>
                  <a:prstClr val="black"/>
                </a:solidFill>
                <a:effectLst/>
                <a:uLnTx/>
                <a:uFillTx/>
                <a:latin typeface="+mj-lt"/>
                <a:ea typeface="Verdana" panose="020B0604030504040204" pitchFamily="34" charset="0"/>
                <a:cs typeface="Verdana" panose="020B0604030504040204" pitchFamily="34" charset="0"/>
              </a:rPr>
              <a:t>Aéroport</a:t>
            </a:r>
          </a:p>
        </p:txBody>
      </p:sp>
      <p:pic>
        <p:nvPicPr>
          <p:cNvPr id="55" name="Picture 54">
            <a:extLst>
              <a:ext uri="{FF2B5EF4-FFF2-40B4-BE49-F238E27FC236}">
                <a16:creationId xmlns:a16="http://schemas.microsoft.com/office/drawing/2014/main" id="{2DC0262A-27EC-DF99-830F-42F78DB00953}"/>
              </a:ext>
            </a:extLst>
          </p:cNvPr>
          <p:cNvPicPr>
            <a:picLocks noChangeAspect="1"/>
          </p:cNvPicPr>
          <p:nvPr/>
        </p:nvPicPr>
        <p:blipFill>
          <a:blip r:embed="rId10" cstate="email">
            <a:extLst>
              <a:ext uri="{28A0092B-C50C-407E-A947-70E740481C1C}">
                <a14:useLocalDpi xmlns:a14="http://schemas.microsoft.com/office/drawing/2010/main"/>
              </a:ext>
            </a:extLst>
          </a:blip>
          <a:srcRect/>
          <a:stretch/>
        </p:blipFill>
        <p:spPr>
          <a:xfrm>
            <a:off x="1903471" y="4294477"/>
            <a:ext cx="310552" cy="310551"/>
          </a:xfrm>
          <a:prstGeom prst="roundRect">
            <a:avLst/>
          </a:prstGeom>
        </p:spPr>
      </p:pic>
      <p:sp>
        <p:nvSpPr>
          <p:cNvPr id="89" name="Rectangle 46">
            <a:extLst>
              <a:ext uri="{FF2B5EF4-FFF2-40B4-BE49-F238E27FC236}">
                <a16:creationId xmlns:a16="http://schemas.microsoft.com/office/drawing/2014/main" id="{5418B780-1F1C-D9D8-EBCC-D6DBF73B70C3}"/>
              </a:ext>
            </a:extLst>
          </p:cNvPr>
          <p:cNvSpPr/>
          <p:nvPr/>
        </p:nvSpPr>
        <p:spPr>
          <a:xfrm>
            <a:off x="1666393" y="4603236"/>
            <a:ext cx="784707" cy="213334"/>
          </a:xfrm>
          <a:prstGeom prst="roundRect">
            <a:avLst/>
          </a:prstGeom>
          <a:noFill/>
          <a:ln w="12700" cap="flat" cmpd="sng" algn="ctr">
            <a:noFill/>
            <a:prstDash val="solid"/>
            <a:miter lim="800000"/>
          </a:ln>
          <a:effectLst/>
        </p:spPr>
        <p:txBody>
          <a:bodyPr lIns="0" tIns="0" rIns="0" bIns="0" rtlCol="0" anchor="ctr"/>
          <a:lstStyle/>
          <a:p>
            <a:pPr marL="0" marR="0" lvl="1" indent="0" algn="ctr" defTabSz="914400" rtl="0" eaLnBrk="1" fontAlgn="auto" latinLnBrk="0" hangingPunct="1">
              <a:lnSpc>
                <a:spcPct val="100000"/>
              </a:lnSpc>
              <a:spcBef>
                <a:spcPts val="0"/>
              </a:spcBef>
              <a:spcAft>
                <a:spcPts val="600"/>
              </a:spcAft>
              <a:buClrTx/>
              <a:buSzTx/>
              <a:buFontTx/>
              <a:buNone/>
              <a:tabLst/>
              <a:defRPr/>
            </a:pPr>
            <a:r>
              <a:rPr kumimoji="0" lang="fr-FR" sz="700" b="1" i="0" u="none" strike="noStrike" kern="0" cap="none" spc="0" normalizeH="0" baseline="0" noProof="0">
                <a:ln>
                  <a:noFill/>
                </a:ln>
                <a:solidFill>
                  <a:prstClr val="black"/>
                </a:solidFill>
                <a:effectLst/>
                <a:uLnTx/>
                <a:uFillTx/>
                <a:latin typeface="+mj-lt"/>
                <a:ea typeface="Verdana" panose="020B0604030504040204" pitchFamily="34" charset="0"/>
                <a:cs typeface="Verdana" panose="020B0604030504040204" pitchFamily="34" charset="0"/>
              </a:rPr>
              <a:t>Hôpitaux</a:t>
            </a:r>
          </a:p>
        </p:txBody>
      </p:sp>
      <p:sp>
        <p:nvSpPr>
          <p:cNvPr id="90" name="Rectangle 9">
            <a:extLst>
              <a:ext uri="{FF2B5EF4-FFF2-40B4-BE49-F238E27FC236}">
                <a16:creationId xmlns:a16="http://schemas.microsoft.com/office/drawing/2014/main" id="{9248DFD5-F676-B148-5264-74114F613CB7}"/>
              </a:ext>
            </a:extLst>
          </p:cNvPr>
          <p:cNvSpPr/>
          <p:nvPr/>
        </p:nvSpPr>
        <p:spPr>
          <a:xfrm>
            <a:off x="232469" y="5270746"/>
            <a:ext cx="2167437" cy="912532"/>
          </a:xfrm>
          <a:prstGeom prst="roundRect">
            <a:avLst/>
          </a:prstGeom>
          <a:solidFill>
            <a:schemeClr val="bg1">
              <a:lumMod val="85000"/>
            </a:schemeClr>
          </a:solidFill>
          <a:ln w="12700" cap="flat" cmpd="sng" algn="ctr">
            <a:noFill/>
            <a:prstDash val="solid"/>
            <a:miter lim="800000"/>
          </a:ln>
          <a:effectLst/>
        </p:spPr>
        <p:txBody>
          <a:bodyPr rtlCol="0" anchor="ctr"/>
          <a:lstStyle/>
          <a:p>
            <a:pPr marL="0" marR="0" lvl="1" indent="0" algn="ctr" defTabSz="914400" rtl="0" eaLnBrk="1" fontAlgn="auto" latinLnBrk="0" hangingPunct="1">
              <a:lnSpc>
                <a:spcPct val="100000"/>
              </a:lnSpc>
              <a:spcBef>
                <a:spcPts val="0"/>
              </a:spcBef>
              <a:spcAft>
                <a:spcPts val="600"/>
              </a:spcAft>
              <a:buClrTx/>
              <a:buSzTx/>
              <a:buFontTx/>
              <a:buNone/>
              <a:tabLst/>
              <a:defRPr/>
            </a:pPr>
            <a:endParaRPr kumimoji="0" lang="en-US" sz="1400" b="1" i="0" u="none" strike="noStrike" kern="0" cap="none" spc="0" normalizeH="0" baseline="0" noProof="0">
              <a:ln>
                <a:noFill/>
              </a:ln>
              <a:solidFill>
                <a:srgbClr val="68D1F3"/>
              </a:solidFill>
              <a:effectLst/>
              <a:uLnTx/>
              <a:uFillTx/>
              <a:latin typeface="+mj-lt"/>
              <a:ea typeface="Verdana" panose="020B0604030504040204" pitchFamily="34" charset="0"/>
              <a:cs typeface="Verdana" panose="020B0604030504040204" pitchFamily="34" charset="0"/>
            </a:endParaRPr>
          </a:p>
          <a:p>
            <a:pPr marL="0" marR="0" lvl="1" indent="0" algn="ctr" defTabSz="914400" rtl="0" eaLnBrk="1" fontAlgn="auto" latinLnBrk="0" hangingPunct="1">
              <a:lnSpc>
                <a:spcPct val="100000"/>
              </a:lnSpc>
              <a:spcBef>
                <a:spcPts val="0"/>
              </a:spcBef>
              <a:spcAft>
                <a:spcPts val="600"/>
              </a:spcAft>
              <a:buClrTx/>
              <a:buSzTx/>
              <a:buFontTx/>
              <a:buNone/>
              <a:tabLst/>
              <a:defRPr/>
            </a:pPr>
            <a:endParaRPr kumimoji="0" lang="en-US" sz="1400" b="1" i="0" u="none" strike="noStrike" kern="0" cap="none" spc="0" normalizeH="0" baseline="0" noProof="0">
              <a:ln>
                <a:noFill/>
              </a:ln>
              <a:solidFill>
                <a:srgbClr val="68D1F3"/>
              </a:solidFill>
              <a:effectLst/>
              <a:uLnTx/>
              <a:uFillTx/>
              <a:latin typeface="+mj-lt"/>
              <a:ea typeface="Verdana" panose="020B0604030504040204" pitchFamily="34" charset="0"/>
              <a:cs typeface="Verdana" panose="020B0604030504040204" pitchFamily="34" charset="0"/>
            </a:endParaRPr>
          </a:p>
          <a:p>
            <a:pPr marL="0" marR="0" lvl="1" indent="0" algn="ctr" defTabSz="914400" rtl="0" eaLnBrk="1" fontAlgn="auto" latinLnBrk="0" hangingPunct="1">
              <a:lnSpc>
                <a:spcPct val="100000"/>
              </a:lnSpc>
              <a:spcBef>
                <a:spcPts val="0"/>
              </a:spcBef>
              <a:spcAft>
                <a:spcPts val="600"/>
              </a:spcAft>
              <a:buClrTx/>
              <a:buSzTx/>
              <a:buFontTx/>
              <a:buNone/>
              <a:tabLst/>
              <a:defRPr/>
            </a:pPr>
            <a:endParaRPr kumimoji="0" lang="en-US" sz="1400" b="1" i="0" u="none" strike="noStrike" kern="0" cap="none" spc="0" normalizeH="0" baseline="0" noProof="0">
              <a:ln>
                <a:noFill/>
              </a:ln>
              <a:solidFill>
                <a:srgbClr val="68D1F3"/>
              </a:solidFill>
              <a:effectLst/>
              <a:uLnTx/>
              <a:uFillTx/>
              <a:latin typeface="+mj-lt"/>
              <a:ea typeface="Verdana" panose="020B0604030504040204" pitchFamily="34" charset="0"/>
              <a:cs typeface="Verdana" panose="020B0604030504040204" pitchFamily="34" charset="0"/>
            </a:endParaRPr>
          </a:p>
        </p:txBody>
      </p:sp>
      <p:pic>
        <p:nvPicPr>
          <p:cNvPr id="91" name="Picture 90">
            <a:extLst>
              <a:ext uri="{FF2B5EF4-FFF2-40B4-BE49-F238E27FC236}">
                <a16:creationId xmlns:a16="http://schemas.microsoft.com/office/drawing/2014/main" id="{8D843AC9-6000-1208-97AA-40A503DFAB01}"/>
              </a:ext>
            </a:extLst>
          </p:cNvPr>
          <p:cNvPicPr>
            <a:picLocks noChangeAspect="1"/>
          </p:cNvPicPr>
          <p:nvPr/>
        </p:nvPicPr>
        <p:blipFill>
          <a:blip r:embed="rId11" cstate="email">
            <a:extLst>
              <a:ext uri="{28A0092B-C50C-407E-A947-70E740481C1C}">
                <a14:useLocalDpi xmlns:a14="http://schemas.microsoft.com/office/drawing/2010/main"/>
              </a:ext>
            </a:extLst>
          </a:blip>
          <a:srcRect/>
          <a:stretch/>
        </p:blipFill>
        <p:spPr>
          <a:xfrm>
            <a:off x="418352" y="5465069"/>
            <a:ext cx="310552" cy="310551"/>
          </a:xfrm>
          <a:prstGeom prst="roundRect">
            <a:avLst/>
          </a:prstGeom>
        </p:spPr>
      </p:pic>
      <p:sp>
        <p:nvSpPr>
          <p:cNvPr id="92" name="Rectangle 44">
            <a:extLst>
              <a:ext uri="{FF2B5EF4-FFF2-40B4-BE49-F238E27FC236}">
                <a16:creationId xmlns:a16="http://schemas.microsoft.com/office/drawing/2014/main" id="{25133C55-334C-9E50-26D2-490EE7F304D3}"/>
              </a:ext>
            </a:extLst>
          </p:cNvPr>
          <p:cNvSpPr/>
          <p:nvPr/>
        </p:nvSpPr>
        <p:spPr>
          <a:xfrm>
            <a:off x="181274" y="5777412"/>
            <a:ext cx="784707" cy="213334"/>
          </a:xfrm>
          <a:prstGeom prst="roundRect">
            <a:avLst/>
          </a:prstGeom>
          <a:noFill/>
          <a:ln w="12700" cap="flat" cmpd="sng" algn="ctr">
            <a:noFill/>
            <a:prstDash val="solid"/>
            <a:miter lim="800000"/>
          </a:ln>
          <a:effectLst/>
        </p:spPr>
        <p:txBody>
          <a:bodyPr lIns="0" tIns="0" rIns="0" bIns="0" rtlCol="0" anchor="ctr"/>
          <a:lstStyle/>
          <a:p>
            <a:pPr marL="0" marR="0" lvl="1" indent="0" algn="ctr" defTabSz="914400" rtl="0" eaLnBrk="1" fontAlgn="auto" latinLnBrk="0" hangingPunct="1">
              <a:lnSpc>
                <a:spcPct val="100000"/>
              </a:lnSpc>
              <a:spcBef>
                <a:spcPts val="0"/>
              </a:spcBef>
              <a:spcAft>
                <a:spcPts val="600"/>
              </a:spcAft>
              <a:buClrTx/>
              <a:buSzTx/>
              <a:buFontTx/>
              <a:buNone/>
              <a:tabLst/>
              <a:defRPr/>
            </a:pPr>
            <a:r>
              <a:rPr kumimoji="0" lang="en-US" sz="700" b="1" i="0" u="none" strike="noStrike" kern="0" cap="none" spc="0" normalizeH="0" baseline="0" noProof="0" err="1">
                <a:ln>
                  <a:noFill/>
                </a:ln>
                <a:solidFill>
                  <a:prstClr val="black"/>
                </a:solidFill>
                <a:effectLst/>
                <a:uLnTx/>
                <a:uFillTx/>
                <a:latin typeface="+mj-lt"/>
                <a:ea typeface="Verdana" panose="020B0604030504040204" pitchFamily="34" charset="0"/>
                <a:cs typeface="Verdana" panose="020B0604030504040204" pitchFamily="34" charset="0"/>
              </a:rPr>
              <a:t>Télécom</a:t>
            </a:r>
            <a:r>
              <a:rPr kumimoji="0" lang="en-US" sz="700" b="1" i="0" u="none" strike="noStrike" kern="0" cap="none" spc="0" normalizeH="0" baseline="0" noProof="0">
                <a:ln>
                  <a:noFill/>
                </a:ln>
                <a:solidFill>
                  <a:prstClr val="black"/>
                </a:solidFill>
                <a:effectLst/>
                <a:uLnTx/>
                <a:uFillTx/>
                <a:latin typeface="+mj-lt"/>
                <a:ea typeface="Verdana" panose="020B0604030504040204" pitchFamily="34" charset="0"/>
                <a:cs typeface="Verdana" panose="020B0604030504040204" pitchFamily="34" charset="0"/>
              </a:rPr>
              <a:t>’</a:t>
            </a:r>
          </a:p>
        </p:txBody>
      </p:sp>
      <p:pic>
        <p:nvPicPr>
          <p:cNvPr id="93" name="Picture 92">
            <a:extLst>
              <a:ext uri="{FF2B5EF4-FFF2-40B4-BE49-F238E27FC236}">
                <a16:creationId xmlns:a16="http://schemas.microsoft.com/office/drawing/2014/main" id="{BADA5282-A331-488E-B27F-58EE116C8D05}"/>
              </a:ext>
            </a:extLst>
          </p:cNvPr>
          <p:cNvPicPr>
            <a:picLocks noChangeAspect="1"/>
          </p:cNvPicPr>
          <p:nvPr/>
        </p:nvPicPr>
        <p:blipFill>
          <a:blip r:embed="rId12" cstate="email">
            <a:extLst>
              <a:ext uri="{28A0092B-C50C-407E-A947-70E740481C1C}">
                <a14:useLocalDpi xmlns:a14="http://schemas.microsoft.com/office/drawing/2010/main"/>
              </a:ext>
            </a:extLst>
          </a:blip>
          <a:srcRect/>
          <a:stretch/>
        </p:blipFill>
        <p:spPr>
          <a:xfrm>
            <a:off x="1160910" y="5465069"/>
            <a:ext cx="310552" cy="310551"/>
          </a:xfrm>
          <a:prstGeom prst="roundRect">
            <a:avLst/>
          </a:prstGeom>
        </p:spPr>
      </p:pic>
      <p:sp>
        <p:nvSpPr>
          <p:cNvPr id="94" name="Rectangle 45">
            <a:extLst>
              <a:ext uri="{FF2B5EF4-FFF2-40B4-BE49-F238E27FC236}">
                <a16:creationId xmlns:a16="http://schemas.microsoft.com/office/drawing/2014/main" id="{617ED4F4-D089-6EED-3269-180E436F9EF8}"/>
              </a:ext>
            </a:extLst>
          </p:cNvPr>
          <p:cNvSpPr/>
          <p:nvPr/>
        </p:nvSpPr>
        <p:spPr>
          <a:xfrm>
            <a:off x="886011" y="5826287"/>
            <a:ext cx="847817" cy="213334"/>
          </a:xfrm>
          <a:prstGeom prst="roundRect">
            <a:avLst/>
          </a:prstGeom>
          <a:noFill/>
          <a:ln w="12700" cap="flat" cmpd="sng" algn="ctr">
            <a:noFill/>
            <a:prstDash val="solid"/>
            <a:miter lim="800000"/>
          </a:ln>
          <a:effectLst/>
        </p:spPr>
        <p:txBody>
          <a:bodyPr lIns="0" tIns="0" rIns="0" bIns="0" rtlCol="0" anchor="ct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fr-FR" sz="700" b="1" i="0" u="none" strike="noStrike" kern="0" cap="none" spc="0" normalizeH="0" baseline="0" noProof="0">
                <a:ln>
                  <a:noFill/>
                </a:ln>
                <a:solidFill>
                  <a:prstClr val="black"/>
                </a:solidFill>
                <a:effectLst/>
                <a:uLnTx/>
                <a:uFillTx/>
                <a:latin typeface="+mj-lt"/>
                <a:ea typeface="Verdana" panose="020B0604030504040204" pitchFamily="34" charset="0"/>
                <a:cs typeface="Verdana" panose="020B0604030504040204" pitchFamily="34" charset="0"/>
              </a:rPr>
              <a:t>Service informatique</a:t>
            </a:r>
          </a:p>
        </p:txBody>
      </p:sp>
      <p:pic>
        <p:nvPicPr>
          <p:cNvPr id="95" name="Picture 94">
            <a:extLst>
              <a:ext uri="{FF2B5EF4-FFF2-40B4-BE49-F238E27FC236}">
                <a16:creationId xmlns:a16="http://schemas.microsoft.com/office/drawing/2014/main" id="{A3264259-66C3-A858-9760-E80E12D5E6A3}"/>
              </a:ext>
            </a:extLst>
          </p:cNvPr>
          <p:cNvPicPr>
            <a:picLocks noChangeAspect="1"/>
          </p:cNvPicPr>
          <p:nvPr/>
        </p:nvPicPr>
        <p:blipFill>
          <a:blip r:embed="rId13" cstate="email">
            <a:extLst>
              <a:ext uri="{28A0092B-C50C-407E-A947-70E740481C1C}">
                <a14:useLocalDpi xmlns:a14="http://schemas.microsoft.com/office/drawing/2010/main"/>
              </a:ext>
            </a:extLst>
          </a:blip>
          <a:srcRect/>
          <a:stretch/>
        </p:blipFill>
        <p:spPr>
          <a:xfrm>
            <a:off x="1903471" y="5465069"/>
            <a:ext cx="310552" cy="310550"/>
          </a:xfrm>
          <a:prstGeom prst="roundRect">
            <a:avLst/>
          </a:prstGeom>
        </p:spPr>
      </p:pic>
      <p:sp>
        <p:nvSpPr>
          <p:cNvPr id="96" name="Rectangle 46">
            <a:extLst>
              <a:ext uri="{FF2B5EF4-FFF2-40B4-BE49-F238E27FC236}">
                <a16:creationId xmlns:a16="http://schemas.microsoft.com/office/drawing/2014/main" id="{92BCA199-AAF0-9AB1-7711-D244FC98F49C}"/>
              </a:ext>
            </a:extLst>
          </p:cNvPr>
          <p:cNvSpPr/>
          <p:nvPr/>
        </p:nvSpPr>
        <p:spPr>
          <a:xfrm>
            <a:off x="1666393" y="5830978"/>
            <a:ext cx="784707" cy="213334"/>
          </a:xfrm>
          <a:prstGeom prst="roundRect">
            <a:avLst/>
          </a:prstGeom>
          <a:noFill/>
          <a:ln w="12700" cap="flat" cmpd="sng" algn="ctr">
            <a:noFill/>
            <a:prstDash val="solid"/>
            <a:miter lim="800000"/>
          </a:ln>
          <a:effectLst/>
        </p:spPr>
        <p:txBody>
          <a:bodyPr lIns="0" tIns="0" rIns="0" bIns="0" rtlCol="0" anchor="ct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fr-FR" sz="700" b="1" i="0" u="none" strike="noStrike" kern="0" cap="none" spc="0" normalizeH="0" baseline="0" noProof="0">
                <a:ln>
                  <a:noFill/>
                </a:ln>
                <a:solidFill>
                  <a:prstClr val="black"/>
                </a:solidFill>
                <a:effectLst/>
                <a:uLnTx/>
                <a:uFillTx/>
                <a:latin typeface="+mj-lt"/>
                <a:ea typeface="Verdana" panose="020B0604030504040204" pitchFamily="34" charset="0"/>
                <a:cs typeface="Verdana" panose="020B0604030504040204" pitchFamily="34" charset="0"/>
              </a:rPr>
              <a:t>Transport </a:t>
            </a:r>
          </a:p>
          <a:p>
            <a:pPr marL="0" marR="0" lvl="1" indent="0" algn="ctr" defTabSz="914400" rtl="0" eaLnBrk="1" fontAlgn="auto" latinLnBrk="0" hangingPunct="1">
              <a:lnSpc>
                <a:spcPct val="100000"/>
              </a:lnSpc>
              <a:spcBef>
                <a:spcPts val="0"/>
              </a:spcBef>
              <a:spcAft>
                <a:spcPts val="600"/>
              </a:spcAft>
              <a:buClrTx/>
              <a:buSzTx/>
              <a:buFontTx/>
              <a:buNone/>
              <a:tabLst/>
              <a:defRPr/>
            </a:pPr>
            <a:r>
              <a:rPr kumimoji="0" lang="fr-FR" sz="700" b="1" i="0" u="none" strike="noStrike" kern="0" cap="none" spc="0" normalizeH="0" baseline="0" noProof="0">
                <a:ln>
                  <a:noFill/>
                </a:ln>
                <a:solidFill>
                  <a:prstClr val="black"/>
                </a:solidFill>
                <a:effectLst/>
                <a:uLnTx/>
                <a:uFillTx/>
                <a:latin typeface="+mj-lt"/>
                <a:ea typeface="Verdana" panose="020B0604030504040204" pitchFamily="34" charset="0"/>
                <a:cs typeface="Verdana" panose="020B0604030504040204" pitchFamily="34" charset="0"/>
              </a:rPr>
              <a:t>&amp; Logistique </a:t>
            </a:r>
          </a:p>
        </p:txBody>
      </p:sp>
      <p:cxnSp>
        <p:nvCxnSpPr>
          <p:cNvPr id="97" name="Straight Connector 96">
            <a:extLst>
              <a:ext uri="{FF2B5EF4-FFF2-40B4-BE49-F238E27FC236}">
                <a16:creationId xmlns:a16="http://schemas.microsoft.com/office/drawing/2014/main" id="{A3409BDE-DB59-22D6-C837-4437B318CAAB}"/>
              </a:ext>
            </a:extLst>
          </p:cNvPr>
          <p:cNvCxnSpPr>
            <a:cxnSpLocks/>
          </p:cNvCxnSpPr>
          <p:nvPr/>
        </p:nvCxnSpPr>
        <p:spPr>
          <a:xfrm>
            <a:off x="232469" y="1606769"/>
            <a:ext cx="2167128" cy="0"/>
          </a:xfrm>
          <a:prstGeom prst="line">
            <a:avLst/>
          </a:prstGeom>
          <a:noFill/>
          <a:ln w="28575" cap="flat" cmpd="sng" algn="ctr">
            <a:solidFill>
              <a:schemeClr val="accent1">
                <a:lumMod val="20000"/>
                <a:lumOff val="80000"/>
              </a:schemeClr>
            </a:solidFill>
            <a:prstDash val="solid"/>
            <a:miter lim="800000"/>
          </a:ln>
          <a:effectLst/>
        </p:spPr>
      </p:cxnSp>
      <p:sp>
        <p:nvSpPr>
          <p:cNvPr id="98" name="Rectangle 97">
            <a:extLst>
              <a:ext uri="{FF2B5EF4-FFF2-40B4-BE49-F238E27FC236}">
                <a16:creationId xmlns:a16="http://schemas.microsoft.com/office/drawing/2014/main" id="{86C8ED8B-5F09-04E6-FE83-A9BDFA12F6E6}"/>
              </a:ext>
            </a:extLst>
          </p:cNvPr>
          <p:cNvSpPr/>
          <p:nvPr/>
        </p:nvSpPr>
        <p:spPr bwMode="auto">
          <a:xfrm>
            <a:off x="639095" y="1414064"/>
            <a:ext cx="1341647" cy="358541"/>
          </a:xfrm>
          <a:prstGeom prst="rect">
            <a:avLst/>
          </a:prstGeom>
          <a:solidFill>
            <a:schemeClr val="bg1"/>
          </a:solidFill>
          <a:ln w="6350" algn="ctr">
            <a:noFill/>
            <a:miter lim="800000"/>
            <a:headEnd/>
            <a:tailEnd/>
          </a:ln>
          <a:effectLst/>
        </p:spPr>
        <p:txBody>
          <a:bodyPr lIns="90000" tIns="90000" rIns="90000" bIns="90000" rtlCol="0" anchor="ctr"/>
          <a:lstStyle/>
          <a:p>
            <a:pPr marL="0" marR="0" lvl="0" indent="0" algn="ctr" defTabSz="914400" rtl="0" eaLnBrk="1" fontAlgn="auto" latinLnBrk="0" hangingPunct="1">
              <a:lnSpc>
                <a:spcPct val="100000"/>
              </a:lnSpc>
              <a:spcBef>
                <a:spcPts val="0"/>
              </a:spcBef>
              <a:spcAft>
                <a:spcPts val="0"/>
              </a:spcAft>
              <a:buClr>
                <a:srgbClr val="12ABDB"/>
              </a:buClr>
              <a:buSzTx/>
              <a:buFontTx/>
              <a:buNone/>
              <a:tabLst/>
              <a:defRPr/>
            </a:pPr>
            <a:r>
              <a:rPr kumimoji="0" lang="en-US" sz="1100" b="1" i="0" u="none" strike="noStrike" kern="0" cap="none" spc="0" normalizeH="0" baseline="0" noProof="0">
                <a:ln>
                  <a:noFill/>
                </a:ln>
                <a:solidFill>
                  <a:prstClr val="black"/>
                </a:solidFill>
                <a:effectLst/>
                <a:uLnTx/>
                <a:uFillTx/>
                <a:latin typeface="+mj-lt"/>
                <a:ea typeface="+mn-ea"/>
                <a:cs typeface="Calibri" pitchFamily="34" charset="0"/>
              </a:rPr>
              <a:t>EXEMPLES </a:t>
            </a:r>
          </a:p>
        </p:txBody>
      </p:sp>
    </p:spTree>
    <p:extLst>
      <p:ext uri="{BB962C8B-B14F-4D97-AF65-F5344CB8AC3E}">
        <p14:creationId xmlns:p14="http://schemas.microsoft.com/office/powerpoint/2010/main" val="153112576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82C18E46-EEBD-D6DE-E6A3-7F5A27B8BA41}"/>
              </a:ext>
            </a:extLst>
          </p:cNvPr>
          <p:cNvSpPr>
            <a:spLocks noGrp="1"/>
          </p:cNvSpPr>
          <p:nvPr>
            <p:ph type="title"/>
          </p:nvPr>
        </p:nvSpPr>
        <p:spPr/>
        <p:txBody>
          <a:bodyPr/>
          <a:lstStyle/>
          <a:p>
            <a:r>
              <a:rPr lang="en-US"/>
              <a:t>Sprint 1 – Résumé des documents à </a:t>
            </a:r>
            <a:r>
              <a:rPr lang="en-US" err="1"/>
              <a:t>votre</a:t>
            </a:r>
            <a:r>
              <a:rPr lang="en-US"/>
              <a:t> disposition</a:t>
            </a:r>
          </a:p>
        </p:txBody>
      </p:sp>
      <p:pic>
        <p:nvPicPr>
          <p:cNvPr id="4" name="Image 3">
            <a:extLst>
              <a:ext uri="{FF2B5EF4-FFF2-40B4-BE49-F238E27FC236}">
                <a16:creationId xmlns:a16="http://schemas.microsoft.com/office/drawing/2014/main" id="{895243AE-1E29-A262-C367-0CA611FCEA1C}"/>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54233" y="1353787"/>
            <a:ext cx="2876726" cy="1597644"/>
          </a:xfrm>
          <a:prstGeom prst="rect">
            <a:avLst/>
          </a:prstGeom>
        </p:spPr>
      </p:pic>
      <p:sp>
        <p:nvSpPr>
          <p:cNvPr id="5" name="ZoneTexte 4">
            <a:extLst>
              <a:ext uri="{FF2B5EF4-FFF2-40B4-BE49-F238E27FC236}">
                <a16:creationId xmlns:a16="http://schemas.microsoft.com/office/drawing/2014/main" id="{BD28F52F-29FF-ED93-C9E8-1776150C6014}"/>
              </a:ext>
            </a:extLst>
          </p:cNvPr>
          <p:cNvSpPr txBox="1"/>
          <p:nvPr/>
        </p:nvSpPr>
        <p:spPr>
          <a:xfrm>
            <a:off x="54234" y="3011389"/>
            <a:ext cx="2862040" cy="584775"/>
          </a:xfrm>
          <a:prstGeom prst="rect">
            <a:avLst/>
          </a:prstGeom>
          <a:noFill/>
        </p:spPr>
        <p:txBody>
          <a:bodyPr wrap="square" rtlCol="0">
            <a:spAutoFit/>
          </a:bodyPr>
          <a:lstStyle/>
          <a:p>
            <a:pPr algn="ctr"/>
            <a:r>
              <a:rPr lang="en-US" sz="1600" i="1">
                <a:solidFill>
                  <a:schemeClr val="bg1"/>
                </a:solidFill>
              </a:rPr>
              <a:t>Article </a:t>
            </a:r>
            <a:r>
              <a:rPr lang="en-US" sz="1600" i="1" err="1">
                <a:solidFill>
                  <a:schemeClr val="bg1"/>
                </a:solidFill>
              </a:rPr>
              <a:t>utilisation</a:t>
            </a:r>
            <a:r>
              <a:rPr lang="en-US" sz="1600" i="1">
                <a:solidFill>
                  <a:schemeClr val="bg1"/>
                </a:solidFill>
              </a:rPr>
              <a:t> </a:t>
            </a:r>
            <a:r>
              <a:rPr lang="en-US" sz="1600" i="1" err="1">
                <a:solidFill>
                  <a:schemeClr val="bg1"/>
                </a:solidFill>
              </a:rPr>
              <a:t>données</a:t>
            </a:r>
            <a:r>
              <a:rPr lang="en-US" sz="1600" i="1">
                <a:solidFill>
                  <a:schemeClr val="bg1"/>
                </a:solidFill>
              </a:rPr>
              <a:t> satellites</a:t>
            </a:r>
          </a:p>
        </p:txBody>
      </p:sp>
      <p:pic>
        <p:nvPicPr>
          <p:cNvPr id="7" name="Picture 6">
            <a:extLst>
              <a:ext uri="{FF2B5EF4-FFF2-40B4-BE49-F238E27FC236}">
                <a16:creationId xmlns:a16="http://schemas.microsoft.com/office/drawing/2014/main" id="{103CA0EA-6C92-A1B3-930C-3B11A3B54083}"/>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3119118" y="1353787"/>
            <a:ext cx="2877158" cy="1601916"/>
          </a:xfrm>
          <a:prstGeom prst="rect">
            <a:avLst/>
          </a:prstGeom>
        </p:spPr>
      </p:pic>
      <p:sp>
        <p:nvSpPr>
          <p:cNvPr id="8" name="ZoneTexte 4">
            <a:extLst>
              <a:ext uri="{FF2B5EF4-FFF2-40B4-BE49-F238E27FC236}">
                <a16:creationId xmlns:a16="http://schemas.microsoft.com/office/drawing/2014/main" id="{9CED62D4-9277-2C50-D7D6-2BB88BB05A3D}"/>
              </a:ext>
            </a:extLst>
          </p:cNvPr>
          <p:cNvSpPr txBox="1"/>
          <p:nvPr/>
        </p:nvSpPr>
        <p:spPr>
          <a:xfrm>
            <a:off x="3119118" y="3011389"/>
            <a:ext cx="2862039" cy="338555"/>
          </a:xfrm>
          <a:prstGeom prst="rect">
            <a:avLst/>
          </a:prstGeom>
          <a:noFill/>
        </p:spPr>
        <p:txBody>
          <a:bodyPr wrap="square" rtlCol="0">
            <a:spAutoFit/>
          </a:bodyPr>
          <a:lstStyle/>
          <a:p>
            <a:pPr algn="ctr"/>
            <a:r>
              <a:rPr lang="en-US" sz="1600" i="1" err="1">
                <a:solidFill>
                  <a:schemeClr val="bg1"/>
                </a:solidFill>
              </a:rPr>
              <a:t>Analyse</a:t>
            </a:r>
            <a:r>
              <a:rPr lang="en-US" sz="1600" i="1">
                <a:solidFill>
                  <a:schemeClr val="bg1"/>
                </a:solidFill>
              </a:rPr>
              <a:t> causes </a:t>
            </a:r>
            <a:r>
              <a:rPr lang="en-US" sz="1600" i="1" err="1">
                <a:solidFill>
                  <a:schemeClr val="bg1"/>
                </a:solidFill>
              </a:rPr>
              <a:t>d’accidents</a:t>
            </a:r>
            <a:endParaRPr lang="en-US" sz="1600" i="1">
              <a:solidFill>
                <a:schemeClr val="bg1"/>
              </a:solidFill>
            </a:endParaRPr>
          </a:p>
        </p:txBody>
      </p:sp>
      <p:pic>
        <p:nvPicPr>
          <p:cNvPr id="10" name="Picture 9">
            <a:extLst>
              <a:ext uri="{FF2B5EF4-FFF2-40B4-BE49-F238E27FC236}">
                <a16:creationId xmlns:a16="http://schemas.microsoft.com/office/drawing/2014/main" id="{C53E58E4-7E9F-265F-DD66-BAB4F0B97513}"/>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6184435" y="1349515"/>
            <a:ext cx="2861605" cy="1601916"/>
          </a:xfrm>
          <a:prstGeom prst="rect">
            <a:avLst/>
          </a:prstGeom>
        </p:spPr>
      </p:pic>
      <p:sp>
        <p:nvSpPr>
          <p:cNvPr id="11" name="ZoneTexte 4">
            <a:extLst>
              <a:ext uri="{FF2B5EF4-FFF2-40B4-BE49-F238E27FC236}">
                <a16:creationId xmlns:a16="http://schemas.microsoft.com/office/drawing/2014/main" id="{5BD25EEA-443D-58B9-4FE4-1AA9F3A2813A}"/>
              </a:ext>
            </a:extLst>
          </p:cNvPr>
          <p:cNvSpPr txBox="1"/>
          <p:nvPr/>
        </p:nvSpPr>
        <p:spPr>
          <a:xfrm>
            <a:off x="6169314" y="3011389"/>
            <a:ext cx="2876726" cy="338554"/>
          </a:xfrm>
          <a:prstGeom prst="rect">
            <a:avLst/>
          </a:prstGeom>
          <a:noFill/>
        </p:spPr>
        <p:txBody>
          <a:bodyPr wrap="square" rtlCol="0">
            <a:spAutoFit/>
          </a:bodyPr>
          <a:lstStyle/>
          <a:p>
            <a:pPr algn="ctr"/>
            <a:r>
              <a:rPr lang="en-US" sz="1600" i="1" err="1">
                <a:solidFill>
                  <a:schemeClr val="bg1"/>
                </a:solidFill>
              </a:rPr>
              <a:t>Présentation</a:t>
            </a:r>
            <a:r>
              <a:rPr lang="en-US" sz="1600" i="1">
                <a:solidFill>
                  <a:schemeClr val="bg1"/>
                </a:solidFill>
              </a:rPr>
              <a:t> </a:t>
            </a:r>
            <a:r>
              <a:rPr lang="en-US" sz="1600" i="1" err="1">
                <a:solidFill>
                  <a:schemeClr val="bg1"/>
                </a:solidFill>
              </a:rPr>
              <a:t>stratégie</a:t>
            </a:r>
            <a:r>
              <a:rPr lang="en-US" sz="1600" i="1">
                <a:solidFill>
                  <a:schemeClr val="bg1"/>
                </a:solidFill>
              </a:rPr>
              <a:t> SNCF</a:t>
            </a:r>
          </a:p>
        </p:txBody>
      </p:sp>
      <p:pic>
        <p:nvPicPr>
          <p:cNvPr id="14" name="Picture 13">
            <a:extLst>
              <a:ext uri="{FF2B5EF4-FFF2-40B4-BE49-F238E27FC236}">
                <a16:creationId xmlns:a16="http://schemas.microsoft.com/office/drawing/2014/main" id="{18E0062C-385B-02C9-115E-1E3269F4A850}"/>
              </a:ext>
            </a:extLst>
          </p:cNvPr>
          <p:cNvPicPr>
            <a:picLocks noChangeAspect="1"/>
          </p:cNvPicPr>
          <p:nvPr/>
        </p:nvPicPr>
        <p:blipFill>
          <a:blip r:embed="rId5" cstate="email">
            <a:extLst>
              <a:ext uri="{28A0092B-C50C-407E-A947-70E740481C1C}">
                <a14:useLocalDpi xmlns:a14="http://schemas.microsoft.com/office/drawing/2010/main"/>
              </a:ext>
            </a:extLst>
          </a:blip>
          <a:srcRect/>
          <a:stretch/>
        </p:blipFill>
        <p:spPr>
          <a:xfrm>
            <a:off x="9223046" y="3898335"/>
            <a:ext cx="2880638" cy="1597644"/>
          </a:xfrm>
          <a:prstGeom prst="rect">
            <a:avLst/>
          </a:prstGeom>
        </p:spPr>
      </p:pic>
      <p:sp>
        <p:nvSpPr>
          <p:cNvPr id="15" name="ZoneTexte 4">
            <a:extLst>
              <a:ext uri="{FF2B5EF4-FFF2-40B4-BE49-F238E27FC236}">
                <a16:creationId xmlns:a16="http://schemas.microsoft.com/office/drawing/2014/main" id="{D4B29489-EFA3-468C-76E6-AFFF7F95B5D5}"/>
              </a:ext>
            </a:extLst>
          </p:cNvPr>
          <p:cNvSpPr txBox="1"/>
          <p:nvPr/>
        </p:nvSpPr>
        <p:spPr>
          <a:xfrm>
            <a:off x="9234197" y="5550679"/>
            <a:ext cx="2841689" cy="338554"/>
          </a:xfrm>
          <a:prstGeom prst="rect">
            <a:avLst/>
          </a:prstGeom>
          <a:noFill/>
        </p:spPr>
        <p:txBody>
          <a:bodyPr wrap="square" rtlCol="0">
            <a:spAutoFit/>
          </a:bodyPr>
          <a:lstStyle/>
          <a:p>
            <a:pPr algn="ctr"/>
            <a:r>
              <a:rPr lang="en-US" sz="1600" i="1">
                <a:solidFill>
                  <a:schemeClr val="bg1"/>
                </a:solidFill>
              </a:rPr>
              <a:t>5 </a:t>
            </a:r>
            <a:r>
              <a:rPr lang="en-US" sz="1600" i="1" err="1">
                <a:solidFill>
                  <a:schemeClr val="bg1"/>
                </a:solidFill>
              </a:rPr>
              <a:t>entretiens</a:t>
            </a:r>
            <a:r>
              <a:rPr lang="en-US" sz="1600" i="1">
                <a:solidFill>
                  <a:schemeClr val="bg1"/>
                </a:solidFill>
              </a:rPr>
              <a:t> clients</a:t>
            </a:r>
          </a:p>
        </p:txBody>
      </p:sp>
      <p:pic>
        <p:nvPicPr>
          <p:cNvPr id="9" name="Image 8">
            <a:extLst>
              <a:ext uri="{FF2B5EF4-FFF2-40B4-BE49-F238E27FC236}">
                <a16:creationId xmlns:a16="http://schemas.microsoft.com/office/drawing/2014/main" id="{975EEEB6-61D3-CA7A-FCB2-E8276CB58BB2}"/>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191616" y="3909824"/>
            <a:ext cx="2840256" cy="1597644"/>
          </a:xfrm>
          <a:prstGeom prst="rect">
            <a:avLst/>
          </a:prstGeom>
          <a:ln>
            <a:solidFill>
              <a:schemeClr val="bg1"/>
            </a:solidFill>
          </a:ln>
        </p:spPr>
      </p:pic>
      <p:sp>
        <p:nvSpPr>
          <p:cNvPr id="12" name="ZoneTexte 4">
            <a:extLst>
              <a:ext uri="{FF2B5EF4-FFF2-40B4-BE49-F238E27FC236}">
                <a16:creationId xmlns:a16="http://schemas.microsoft.com/office/drawing/2014/main" id="{0D931C2D-D562-18EC-6C64-8B97A6C67329}"/>
              </a:ext>
            </a:extLst>
          </p:cNvPr>
          <p:cNvSpPr txBox="1"/>
          <p:nvPr/>
        </p:nvSpPr>
        <p:spPr>
          <a:xfrm>
            <a:off x="6189666" y="5550679"/>
            <a:ext cx="2856374" cy="584775"/>
          </a:xfrm>
          <a:prstGeom prst="rect">
            <a:avLst/>
          </a:prstGeom>
          <a:noFill/>
        </p:spPr>
        <p:txBody>
          <a:bodyPr wrap="square" rtlCol="0">
            <a:spAutoFit/>
          </a:bodyPr>
          <a:lstStyle/>
          <a:p>
            <a:pPr algn="ctr"/>
            <a:r>
              <a:rPr lang="en-US" sz="1600" i="1" err="1">
                <a:solidFill>
                  <a:schemeClr val="bg1"/>
                </a:solidFill>
              </a:rPr>
              <a:t>Processus</a:t>
            </a:r>
            <a:r>
              <a:rPr lang="en-US" sz="1600" i="1">
                <a:solidFill>
                  <a:schemeClr val="bg1"/>
                </a:solidFill>
              </a:rPr>
              <a:t> de gestion des </a:t>
            </a:r>
            <a:r>
              <a:rPr lang="en-US" sz="1600" i="1" err="1">
                <a:solidFill>
                  <a:schemeClr val="bg1"/>
                </a:solidFill>
              </a:rPr>
              <a:t>alarmes</a:t>
            </a:r>
            <a:endParaRPr lang="en-US" sz="1600" i="1">
              <a:solidFill>
                <a:schemeClr val="bg1"/>
              </a:solidFill>
            </a:endParaRPr>
          </a:p>
        </p:txBody>
      </p:sp>
      <p:sp>
        <p:nvSpPr>
          <p:cNvPr id="17" name="ZoneTexte 4">
            <a:extLst>
              <a:ext uri="{FF2B5EF4-FFF2-40B4-BE49-F238E27FC236}">
                <a16:creationId xmlns:a16="http://schemas.microsoft.com/office/drawing/2014/main" id="{98BEB00B-972B-69F9-A72E-F4623E7E8A29}"/>
              </a:ext>
            </a:extLst>
          </p:cNvPr>
          <p:cNvSpPr txBox="1"/>
          <p:nvPr/>
        </p:nvSpPr>
        <p:spPr>
          <a:xfrm>
            <a:off x="0" y="5554950"/>
            <a:ext cx="2903569" cy="338554"/>
          </a:xfrm>
          <a:prstGeom prst="rect">
            <a:avLst/>
          </a:prstGeom>
          <a:noFill/>
        </p:spPr>
        <p:txBody>
          <a:bodyPr wrap="square" rtlCol="0">
            <a:spAutoFit/>
          </a:bodyPr>
          <a:lstStyle/>
          <a:p>
            <a:pPr algn="ctr"/>
            <a:r>
              <a:rPr lang="en-US" sz="1600" i="1">
                <a:solidFill>
                  <a:schemeClr val="bg1"/>
                </a:solidFill>
              </a:rPr>
              <a:t>Article SNCF AR/VR</a:t>
            </a:r>
          </a:p>
        </p:txBody>
      </p:sp>
      <p:pic>
        <p:nvPicPr>
          <p:cNvPr id="18" name="Image 17">
            <a:extLst>
              <a:ext uri="{FF2B5EF4-FFF2-40B4-BE49-F238E27FC236}">
                <a16:creationId xmlns:a16="http://schemas.microsoft.com/office/drawing/2014/main" id="{BEA22429-E879-5676-F89C-FC0D6BD41922}"/>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9214722" y="1340293"/>
            <a:ext cx="2880638" cy="1620359"/>
          </a:xfrm>
          <a:prstGeom prst="rect">
            <a:avLst/>
          </a:prstGeom>
        </p:spPr>
      </p:pic>
      <p:sp>
        <p:nvSpPr>
          <p:cNvPr id="20" name="ZoneTexte 4">
            <a:extLst>
              <a:ext uri="{FF2B5EF4-FFF2-40B4-BE49-F238E27FC236}">
                <a16:creationId xmlns:a16="http://schemas.microsoft.com/office/drawing/2014/main" id="{2BD54916-45FE-BEE6-7AA9-135D80AA2B73}"/>
              </a:ext>
            </a:extLst>
          </p:cNvPr>
          <p:cNvSpPr txBox="1"/>
          <p:nvPr/>
        </p:nvSpPr>
        <p:spPr>
          <a:xfrm>
            <a:off x="9197645" y="3011389"/>
            <a:ext cx="2878241" cy="584775"/>
          </a:xfrm>
          <a:prstGeom prst="rect">
            <a:avLst/>
          </a:prstGeom>
          <a:noFill/>
        </p:spPr>
        <p:txBody>
          <a:bodyPr wrap="square" rtlCol="0">
            <a:spAutoFit/>
          </a:bodyPr>
          <a:lstStyle/>
          <a:p>
            <a:pPr algn="ctr"/>
            <a:r>
              <a:rPr lang="en-US" sz="1600" i="1">
                <a:solidFill>
                  <a:schemeClr val="bg1"/>
                </a:solidFill>
              </a:rPr>
              <a:t>Article maintenance </a:t>
            </a:r>
            <a:r>
              <a:rPr lang="en-US" sz="1600" i="1" err="1">
                <a:solidFill>
                  <a:schemeClr val="bg1"/>
                </a:solidFill>
              </a:rPr>
              <a:t>prédictive</a:t>
            </a:r>
            <a:endParaRPr lang="en-US" sz="1600" i="1">
              <a:solidFill>
                <a:schemeClr val="bg1"/>
              </a:solidFill>
            </a:endParaRPr>
          </a:p>
        </p:txBody>
      </p:sp>
      <p:pic>
        <p:nvPicPr>
          <p:cNvPr id="2" name="Image 1">
            <a:extLst>
              <a:ext uri="{FF2B5EF4-FFF2-40B4-BE49-F238E27FC236}">
                <a16:creationId xmlns:a16="http://schemas.microsoft.com/office/drawing/2014/main" id="{1AA15059-6900-1515-F042-61AF627E38EE}"/>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83108" y="3891832"/>
            <a:ext cx="2847851" cy="1601916"/>
          </a:xfrm>
          <a:prstGeom prst="rect">
            <a:avLst/>
          </a:prstGeom>
        </p:spPr>
      </p:pic>
      <p:pic>
        <p:nvPicPr>
          <p:cNvPr id="6" name="Image 5">
            <a:extLst>
              <a:ext uri="{FF2B5EF4-FFF2-40B4-BE49-F238E27FC236}">
                <a16:creationId xmlns:a16="http://schemas.microsoft.com/office/drawing/2014/main" id="{557947D2-7788-C009-A20A-B404CC580775}"/>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3130269" y="3906627"/>
            <a:ext cx="2845939" cy="1600841"/>
          </a:xfrm>
          <a:prstGeom prst="rect">
            <a:avLst/>
          </a:prstGeom>
        </p:spPr>
      </p:pic>
      <p:sp>
        <p:nvSpPr>
          <p:cNvPr id="13" name="ZoneTexte 4">
            <a:extLst>
              <a:ext uri="{FF2B5EF4-FFF2-40B4-BE49-F238E27FC236}">
                <a16:creationId xmlns:a16="http://schemas.microsoft.com/office/drawing/2014/main" id="{5BC15582-A698-5845-75E9-998B43643D1A}"/>
              </a:ext>
            </a:extLst>
          </p:cNvPr>
          <p:cNvSpPr txBox="1"/>
          <p:nvPr/>
        </p:nvSpPr>
        <p:spPr>
          <a:xfrm>
            <a:off x="3119119" y="5550679"/>
            <a:ext cx="2845940" cy="338554"/>
          </a:xfrm>
          <a:prstGeom prst="rect">
            <a:avLst/>
          </a:prstGeom>
          <a:noFill/>
        </p:spPr>
        <p:txBody>
          <a:bodyPr wrap="square" rtlCol="0">
            <a:spAutoFit/>
          </a:bodyPr>
          <a:lstStyle/>
          <a:p>
            <a:pPr algn="ctr"/>
            <a:r>
              <a:rPr lang="en-US" sz="1600" i="1">
                <a:solidFill>
                  <a:schemeClr val="bg1"/>
                </a:solidFill>
              </a:rPr>
              <a:t>Article digital twin</a:t>
            </a:r>
          </a:p>
        </p:txBody>
      </p:sp>
    </p:spTree>
    <p:extLst>
      <p:ext uri="{BB962C8B-B14F-4D97-AF65-F5344CB8AC3E}">
        <p14:creationId xmlns:p14="http://schemas.microsoft.com/office/powerpoint/2010/main" val="159283583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45F714E-B0DB-4AC0-A544-A6932E332BDD}"/>
              </a:ext>
            </a:extLst>
          </p:cNvPr>
          <p:cNvSpPr>
            <a:spLocks noGrp="1"/>
          </p:cNvSpPr>
          <p:nvPr>
            <p:ph type="title"/>
          </p:nvPr>
        </p:nvSpPr>
        <p:spPr/>
        <p:txBody>
          <a:bodyPr vert="horz" lIns="0" tIns="0" rIns="0" bIns="0" rtlCol="0" anchor="ctr" anchorCtr="0">
            <a:normAutofit/>
          </a:bodyPr>
          <a:lstStyle/>
          <a:p>
            <a:r>
              <a:rPr lang="fr-FR" sz="2800">
                <a:solidFill>
                  <a:schemeClr val="tx1"/>
                </a:solidFill>
              </a:rPr>
              <a:t>La chaîne de valeur usuelle</a:t>
            </a:r>
          </a:p>
        </p:txBody>
      </p:sp>
      <p:grpSp>
        <p:nvGrpSpPr>
          <p:cNvPr id="10" name="Group 9">
            <a:extLst>
              <a:ext uri="{FF2B5EF4-FFF2-40B4-BE49-F238E27FC236}">
                <a16:creationId xmlns:a16="http://schemas.microsoft.com/office/drawing/2014/main" id="{4CA5ACC4-F6CE-45F9-FD7D-A26CDF5B6EE6}"/>
              </a:ext>
            </a:extLst>
          </p:cNvPr>
          <p:cNvGrpSpPr/>
          <p:nvPr/>
        </p:nvGrpSpPr>
        <p:grpSpPr>
          <a:xfrm>
            <a:off x="660735" y="1104898"/>
            <a:ext cx="10949741" cy="3796127"/>
            <a:chOff x="302814" y="1663104"/>
            <a:chExt cx="11827655" cy="4096461"/>
          </a:xfrm>
        </p:grpSpPr>
        <p:sp>
          <p:nvSpPr>
            <p:cNvPr id="15" name="Freeform 5">
              <a:extLst>
                <a:ext uri="{FF2B5EF4-FFF2-40B4-BE49-F238E27FC236}">
                  <a16:creationId xmlns:a16="http://schemas.microsoft.com/office/drawing/2014/main" id="{53347A13-FB89-3218-8042-F68CE69A83AB}"/>
                </a:ext>
              </a:extLst>
            </p:cNvPr>
            <p:cNvSpPr>
              <a:spLocks/>
            </p:cNvSpPr>
            <p:nvPr/>
          </p:nvSpPr>
          <p:spPr bwMode="auto">
            <a:xfrm>
              <a:off x="435094" y="2419815"/>
              <a:ext cx="2248778" cy="1437454"/>
            </a:xfrm>
            <a:custGeom>
              <a:avLst/>
              <a:gdLst>
                <a:gd name="T0" fmla="*/ 580 w 580"/>
                <a:gd name="T1" fmla="*/ 369 h 369"/>
                <a:gd name="T2" fmla="*/ 326 w 580"/>
                <a:gd name="T3" fmla="*/ 369 h 369"/>
                <a:gd name="T4" fmla="*/ 298 w 580"/>
                <a:gd name="T5" fmla="*/ 341 h 369"/>
                <a:gd name="T6" fmla="*/ 298 w 580"/>
                <a:gd name="T7" fmla="*/ 321 h 369"/>
                <a:gd name="T8" fmla="*/ 320 w 580"/>
                <a:gd name="T9" fmla="*/ 293 h 369"/>
                <a:gd name="T10" fmla="*/ 429 w 580"/>
                <a:gd name="T11" fmla="*/ 158 h 369"/>
                <a:gd name="T12" fmla="*/ 385 w 580"/>
                <a:gd name="T13" fmla="*/ 56 h 369"/>
                <a:gd name="T14" fmla="*/ 280 w 580"/>
                <a:gd name="T15" fmla="*/ 19 h 369"/>
                <a:gd name="T16" fmla="*/ 151 w 580"/>
                <a:gd name="T17" fmla="*/ 149 h 369"/>
                <a:gd name="T18" fmla="*/ 260 w 580"/>
                <a:gd name="T19" fmla="*/ 293 h 369"/>
                <a:gd name="T20" fmla="*/ 282 w 580"/>
                <a:gd name="T21" fmla="*/ 321 h 369"/>
                <a:gd name="T22" fmla="*/ 282 w 580"/>
                <a:gd name="T23" fmla="*/ 341 h 369"/>
                <a:gd name="T24" fmla="*/ 254 w 580"/>
                <a:gd name="T25" fmla="*/ 369 h 369"/>
                <a:gd name="T26" fmla="*/ 0 w 580"/>
                <a:gd name="T27" fmla="*/ 369 h 369"/>
                <a:gd name="T28" fmla="*/ 0 w 580"/>
                <a:gd name="T29" fmla="*/ 353 h 369"/>
                <a:gd name="T30" fmla="*/ 254 w 580"/>
                <a:gd name="T31" fmla="*/ 353 h 369"/>
                <a:gd name="T32" fmla="*/ 266 w 580"/>
                <a:gd name="T33" fmla="*/ 341 h 369"/>
                <a:gd name="T34" fmla="*/ 266 w 580"/>
                <a:gd name="T35" fmla="*/ 321 h 369"/>
                <a:gd name="T36" fmla="*/ 256 w 580"/>
                <a:gd name="T37" fmla="*/ 309 h 369"/>
                <a:gd name="T38" fmla="*/ 135 w 580"/>
                <a:gd name="T39" fmla="*/ 148 h 369"/>
                <a:gd name="T40" fmla="*/ 279 w 580"/>
                <a:gd name="T41" fmla="*/ 3 h 369"/>
                <a:gd name="T42" fmla="*/ 396 w 580"/>
                <a:gd name="T43" fmla="*/ 44 h 369"/>
                <a:gd name="T44" fmla="*/ 445 w 580"/>
                <a:gd name="T45" fmla="*/ 158 h 369"/>
                <a:gd name="T46" fmla="*/ 324 w 580"/>
                <a:gd name="T47" fmla="*/ 309 h 369"/>
                <a:gd name="T48" fmla="*/ 314 w 580"/>
                <a:gd name="T49" fmla="*/ 321 h 369"/>
                <a:gd name="T50" fmla="*/ 314 w 580"/>
                <a:gd name="T51" fmla="*/ 341 h 369"/>
                <a:gd name="T52" fmla="*/ 326 w 580"/>
                <a:gd name="T53" fmla="*/ 353 h 369"/>
                <a:gd name="T54" fmla="*/ 580 w 580"/>
                <a:gd name="T55" fmla="*/ 353 h 369"/>
                <a:gd name="T56" fmla="*/ 580 w 580"/>
                <a:gd name="T57" fmla="*/ 36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80" h="369">
                  <a:moveTo>
                    <a:pt x="580" y="369"/>
                  </a:moveTo>
                  <a:cubicBezTo>
                    <a:pt x="326" y="369"/>
                    <a:pt x="326" y="369"/>
                    <a:pt x="326" y="369"/>
                  </a:cubicBezTo>
                  <a:cubicBezTo>
                    <a:pt x="311" y="369"/>
                    <a:pt x="298" y="356"/>
                    <a:pt x="298" y="341"/>
                  </a:cubicBezTo>
                  <a:cubicBezTo>
                    <a:pt x="298" y="321"/>
                    <a:pt x="298" y="321"/>
                    <a:pt x="298" y="321"/>
                  </a:cubicBezTo>
                  <a:cubicBezTo>
                    <a:pt x="298" y="308"/>
                    <a:pt x="307" y="296"/>
                    <a:pt x="320" y="293"/>
                  </a:cubicBezTo>
                  <a:cubicBezTo>
                    <a:pt x="383" y="279"/>
                    <a:pt x="429" y="222"/>
                    <a:pt x="429" y="158"/>
                  </a:cubicBezTo>
                  <a:cubicBezTo>
                    <a:pt x="429" y="119"/>
                    <a:pt x="413" y="82"/>
                    <a:pt x="385" y="56"/>
                  </a:cubicBezTo>
                  <a:cubicBezTo>
                    <a:pt x="356" y="29"/>
                    <a:pt x="319" y="16"/>
                    <a:pt x="280" y="19"/>
                  </a:cubicBezTo>
                  <a:cubicBezTo>
                    <a:pt x="211" y="24"/>
                    <a:pt x="155" y="80"/>
                    <a:pt x="151" y="149"/>
                  </a:cubicBezTo>
                  <a:cubicBezTo>
                    <a:pt x="147" y="218"/>
                    <a:pt x="193" y="279"/>
                    <a:pt x="260" y="293"/>
                  </a:cubicBezTo>
                  <a:cubicBezTo>
                    <a:pt x="273" y="296"/>
                    <a:pt x="282" y="308"/>
                    <a:pt x="282" y="321"/>
                  </a:cubicBezTo>
                  <a:cubicBezTo>
                    <a:pt x="282" y="341"/>
                    <a:pt x="282" y="341"/>
                    <a:pt x="282" y="341"/>
                  </a:cubicBezTo>
                  <a:cubicBezTo>
                    <a:pt x="282" y="356"/>
                    <a:pt x="269" y="369"/>
                    <a:pt x="254" y="369"/>
                  </a:cubicBezTo>
                  <a:cubicBezTo>
                    <a:pt x="0" y="369"/>
                    <a:pt x="0" y="369"/>
                    <a:pt x="0" y="369"/>
                  </a:cubicBezTo>
                  <a:cubicBezTo>
                    <a:pt x="0" y="353"/>
                    <a:pt x="0" y="353"/>
                    <a:pt x="0" y="353"/>
                  </a:cubicBezTo>
                  <a:cubicBezTo>
                    <a:pt x="254" y="353"/>
                    <a:pt x="254" y="353"/>
                    <a:pt x="254" y="353"/>
                  </a:cubicBezTo>
                  <a:cubicBezTo>
                    <a:pt x="260" y="353"/>
                    <a:pt x="266" y="348"/>
                    <a:pt x="266" y="341"/>
                  </a:cubicBezTo>
                  <a:cubicBezTo>
                    <a:pt x="266" y="321"/>
                    <a:pt x="266" y="321"/>
                    <a:pt x="266" y="321"/>
                  </a:cubicBezTo>
                  <a:cubicBezTo>
                    <a:pt x="266" y="315"/>
                    <a:pt x="262" y="310"/>
                    <a:pt x="256" y="309"/>
                  </a:cubicBezTo>
                  <a:cubicBezTo>
                    <a:pt x="182" y="292"/>
                    <a:pt x="131" y="225"/>
                    <a:pt x="135" y="148"/>
                  </a:cubicBezTo>
                  <a:cubicBezTo>
                    <a:pt x="140" y="71"/>
                    <a:pt x="202" y="8"/>
                    <a:pt x="279" y="3"/>
                  </a:cubicBezTo>
                  <a:cubicBezTo>
                    <a:pt x="323" y="0"/>
                    <a:pt x="364" y="14"/>
                    <a:pt x="396" y="44"/>
                  </a:cubicBezTo>
                  <a:cubicBezTo>
                    <a:pt x="427" y="73"/>
                    <a:pt x="445" y="115"/>
                    <a:pt x="445" y="158"/>
                  </a:cubicBezTo>
                  <a:cubicBezTo>
                    <a:pt x="445" y="230"/>
                    <a:pt x="394" y="293"/>
                    <a:pt x="324" y="309"/>
                  </a:cubicBezTo>
                  <a:cubicBezTo>
                    <a:pt x="318" y="310"/>
                    <a:pt x="314" y="315"/>
                    <a:pt x="314" y="321"/>
                  </a:cubicBezTo>
                  <a:cubicBezTo>
                    <a:pt x="314" y="341"/>
                    <a:pt x="314" y="341"/>
                    <a:pt x="314" y="341"/>
                  </a:cubicBezTo>
                  <a:cubicBezTo>
                    <a:pt x="314" y="348"/>
                    <a:pt x="320" y="353"/>
                    <a:pt x="326" y="353"/>
                  </a:cubicBezTo>
                  <a:cubicBezTo>
                    <a:pt x="580" y="353"/>
                    <a:pt x="580" y="353"/>
                    <a:pt x="580" y="353"/>
                  </a:cubicBezTo>
                  <a:lnTo>
                    <a:pt x="580" y="369"/>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Ubuntu Medium"/>
                <a:ea typeface="+mn-ea"/>
                <a:cs typeface="+mn-cs"/>
              </a:endParaRPr>
            </a:p>
          </p:txBody>
        </p:sp>
        <p:sp>
          <p:nvSpPr>
            <p:cNvPr id="16" name="Oval 17">
              <a:extLst>
                <a:ext uri="{FF2B5EF4-FFF2-40B4-BE49-F238E27FC236}">
                  <a16:creationId xmlns:a16="http://schemas.microsoft.com/office/drawing/2014/main" id="{BBB22C77-D3FA-7ADE-6321-E244E83C5B20}"/>
                </a:ext>
              </a:extLst>
            </p:cNvPr>
            <p:cNvSpPr>
              <a:spLocks noChangeArrowheads="1"/>
            </p:cNvSpPr>
            <p:nvPr/>
          </p:nvSpPr>
          <p:spPr bwMode="auto">
            <a:xfrm>
              <a:off x="302814" y="3694122"/>
              <a:ext cx="264562" cy="264562"/>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Ubuntu Medium"/>
                <a:ea typeface="+mn-ea"/>
                <a:cs typeface="+mn-cs"/>
              </a:endParaRPr>
            </a:p>
          </p:txBody>
        </p:sp>
        <p:sp>
          <p:nvSpPr>
            <p:cNvPr id="17" name="Freeform 11">
              <a:extLst>
                <a:ext uri="{FF2B5EF4-FFF2-40B4-BE49-F238E27FC236}">
                  <a16:creationId xmlns:a16="http://schemas.microsoft.com/office/drawing/2014/main" id="{2754CE84-18AD-5B41-3012-9549BC2420CE}"/>
                </a:ext>
              </a:extLst>
            </p:cNvPr>
            <p:cNvSpPr>
              <a:spLocks/>
            </p:cNvSpPr>
            <p:nvPr/>
          </p:nvSpPr>
          <p:spPr bwMode="auto">
            <a:xfrm>
              <a:off x="7177023" y="3788027"/>
              <a:ext cx="2253187" cy="1450893"/>
            </a:xfrm>
            <a:custGeom>
              <a:avLst/>
              <a:gdLst>
                <a:gd name="T0" fmla="*/ 0 w 581"/>
                <a:gd name="T1" fmla="*/ 0 h 369"/>
                <a:gd name="T2" fmla="*/ 254 w 581"/>
                <a:gd name="T3" fmla="*/ 0 h 369"/>
                <a:gd name="T4" fmla="*/ 282 w 581"/>
                <a:gd name="T5" fmla="*/ 28 h 369"/>
                <a:gd name="T6" fmla="*/ 282 w 581"/>
                <a:gd name="T7" fmla="*/ 48 h 369"/>
                <a:gd name="T8" fmla="*/ 260 w 581"/>
                <a:gd name="T9" fmla="*/ 76 h 369"/>
                <a:gd name="T10" fmla="*/ 151 w 581"/>
                <a:gd name="T11" fmla="*/ 211 h 369"/>
                <a:gd name="T12" fmla="*/ 196 w 581"/>
                <a:gd name="T13" fmla="*/ 313 h 369"/>
                <a:gd name="T14" fmla="*/ 300 w 581"/>
                <a:gd name="T15" fmla="*/ 350 h 369"/>
                <a:gd name="T16" fmla="*/ 429 w 581"/>
                <a:gd name="T17" fmla="*/ 220 h 369"/>
                <a:gd name="T18" fmla="*/ 321 w 581"/>
                <a:gd name="T19" fmla="*/ 76 h 369"/>
                <a:gd name="T20" fmla="*/ 299 w 581"/>
                <a:gd name="T21" fmla="*/ 48 h 369"/>
                <a:gd name="T22" fmla="*/ 299 w 581"/>
                <a:gd name="T23" fmla="*/ 28 h 369"/>
                <a:gd name="T24" fmla="*/ 327 w 581"/>
                <a:gd name="T25" fmla="*/ 0 h 369"/>
                <a:gd name="T26" fmla="*/ 581 w 581"/>
                <a:gd name="T27" fmla="*/ 0 h 369"/>
                <a:gd name="T28" fmla="*/ 581 w 581"/>
                <a:gd name="T29" fmla="*/ 16 h 369"/>
                <a:gd name="T30" fmla="*/ 327 w 581"/>
                <a:gd name="T31" fmla="*/ 16 h 369"/>
                <a:gd name="T32" fmla="*/ 315 w 581"/>
                <a:gd name="T33" fmla="*/ 28 h 369"/>
                <a:gd name="T34" fmla="*/ 315 w 581"/>
                <a:gd name="T35" fmla="*/ 48 h 369"/>
                <a:gd name="T36" fmla="*/ 324 w 581"/>
                <a:gd name="T37" fmla="*/ 60 h 369"/>
                <a:gd name="T38" fmla="*/ 445 w 581"/>
                <a:gd name="T39" fmla="*/ 221 h 369"/>
                <a:gd name="T40" fmla="*/ 302 w 581"/>
                <a:gd name="T41" fmla="*/ 366 h 369"/>
                <a:gd name="T42" fmla="*/ 185 w 581"/>
                <a:gd name="T43" fmla="*/ 325 h 369"/>
                <a:gd name="T44" fmla="*/ 135 w 581"/>
                <a:gd name="T45" fmla="*/ 211 h 369"/>
                <a:gd name="T46" fmla="*/ 257 w 581"/>
                <a:gd name="T47" fmla="*/ 60 h 369"/>
                <a:gd name="T48" fmla="*/ 266 w 581"/>
                <a:gd name="T49" fmla="*/ 48 h 369"/>
                <a:gd name="T50" fmla="*/ 266 w 581"/>
                <a:gd name="T51" fmla="*/ 28 h 369"/>
                <a:gd name="T52" fmla="*/ 254 w 581"/>
                <a:gd name="T53" fmla="*/ 16 h 369"/>
                <a:gd name="T54" fmla="*/ 0 w 581"/>
                <a:gd name="T55" fmla="*/ 16 h 369"/>
                <a:gd name="T56" fmla="*/ 0 w 581"/>
                <a:gd name="T57" fmla="*/ 0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81" h="369">
                  <a:moveTo>
                    <a:pt x="0" y="0"/>
                  </a:moveTo>
                  <a:cubicBezTo>
                    <a:pt x="254" y="0"/>
                    <a:pt x="254" y="0"/>
                    <a:pt x="254" y="0"/>
                  </a:cubicBezTo>
                  <a:cubicBezTo>
                    <a:pt x="270" y="0"/>
                    <a:pt x="282" y="13"/>
                    <a:pt x="282" y="28"/>
                  </a:cubicBezTo>
                  <a:cubicBezTo>
                    <a:pt x="282" y="48"/>
                    <a:pt x="282" y="48"/>
                    <a:pt x="282" y="48"/>
                  </a:cubicBezTo>
                  <a:cubicBezTo>
                    <a:pt x="282" y="61"/>
                    <a:pt x="273" y="73"/>
                    <a:pt x="260" y="76"/>
                  </a:cubicBezTo>
                  <a:cubicBezTo>
                    <a:pt x="197" y="90"/>
                    <a:pt x="151" y="147"/>
                    <a:pt x="151" y="211"/>
                  </a:cubicBezTo>
                  <a:cubicBezTo>
                    <a:pt x="151" y="250"/>
                    <a:pt x="167" y="287"/>
                    <a:pt x="196" y="313"/>
                  </a:cubicBezTo>
                  <a:cubicBezTo>
                    <a:pt x="224" y="340"/>
                    <a:pt x="261" y="353"/>
                    <a:pt x="300" y="350"/>
                  </a:cubicBezTo>
                  <a:cubicBezTo>
                    <a:pt x="370" y="345"/>
                    <a:pt x="425" y="289"/>
                    <a:pt x="429" y="220"/>
                  </a:cubicBezTo>
                  <a:cubicBezTo>
                    <a:pt x="433" y="151"/>
                    <a:pt x="388" y="90"/>
                    <a:pt x="321" y="76"/>
                  </a:cubicBezTo>
                  <a:cubicBezTo>
                    <a:pt x="308" y="73"/>
                    <a:pt x="299" y="61"/>
                    <a:pt x="299" y="48"/>
                  </a:cubicBezTo>
                  <a:cubicBezTo>
                    <a:pt x="299" y="28"/>
                    <a:pt x="299" y="28"/>
                    <a:pt x="299" y="28"/>
                  </a:cubicBezTo>
                  <a:cubicBezTo>
                    <a:pt x="299" y="13"/>
                    <a:pt x="311" y="0"/>
                    <a:pt x="327" y="0"/>
                  </a:cubicBezTo>
                  <a:cubicBezTo>
                    <a:pt x="581" y="0"/>
                    <a:pt x="581" y="0"/>
                    <a:pt x="581" y="0"/>
                  </a:cubicBezTo>
                  <a:cubicBezTo>
                    <a:pt x="581" y="16"/>
                    <a:pt x="581" y="16"/>
                    <a:pt x="581" y="16"/>
                  </a:cubicBezTo>
                  <a:cubicBezTo>
                    <a:pt x="327" y="16"/>
                    <a:pt x="327" y="16"/>
                    <a:pt x="327" y="16"/>
                  </a:cubicBezTo>
                  <a:cubicBezTo>
                    <a:pt x="320" y="16"/>
                    <a:pt x="315" y="21"/>
                    <a:pt x="315" y="28"/>
                  </a:cubicBezTo>
                  <a:cubicBezTo>
                    <a:pt x="315" y="48"/>
                    <a:pt x="315" y="48"/>
                    <a:pt x="315" y="48"/>
                  </a:cubicBezTo>
                  <a:cubicBezTo>
                    <a:pt x="315" y="54"/>
                    <a:pt x="319" y="59"/>
                    <a:pt x="324" y="60"/>
                  </a:cubicBezTo>
                  <a:cubicBezTo>
                    <a:pt x="399" y="77"/>
                    <a:pt x="450" y="144"/>
                    <a:pt x="445" y="221"/>
                  </a:cubicBezTo>
                  <a:cubicBezTo>
                    <a:pt x="441" y="298"/>
                    <a:pt x="379" y="361"/>
                    <a:pt x="302" y="366"/>
                  </a:cubicBezTo>
                  <a:cubicBezTo>
                    <a:pt x="258" y="369"/>
                    <a:pt x="216" y="355"/>
                    <a:pt x="185" y="325"/>
                  </a:cubicBezTo>
                  <a:cubicBezTo>
                    <a:pt x="153" y="296"/>
                    <a:pt x="135" y="254"/>
                    <a:pt x="135" y="211"/>
                  </a:cubicBezTo>
                  <a:cubicBezTo>
                    <a:pt x="135" y="139"/>
                    <a:pt x="186" y="76"/>
                    <a:pt x="257" y="60"/>
                  </a:cubicBezTo>
                  <a:cubicBezTo>
                    <a:pt x="262" y="59"/>
                    <a:pt x="266" y="54"/>
                    <a:pt x="266" y="48"/>
                  </a:cubicBezTo>
                  <a:cubicBezTo>
                    <a:pt x="266" y="28"/>
                    <a:pt x="266" y="28"/>
                    <a:pt x="266" y="28"/>
                  </a:cubicBezTo>
                  <a:cubicBezTo>
                    <a:pt x="266" y="21"/>
                    <a:pt x="261" y="16"/>
                    <a:pt x="254" y="16"/>
                  </a:cubicBezTo>
                  <a:cubicBezTo>
                    <a:pt x="0" y="16"/>
                    <a:pt x="0" y="16"/>
                    <a:pt x="0" y="16"/>
                  </a:cubicBezTo>
                  <a:lnTo>
                    <a:pt x="0" y="0"/>
                  </a:lnTo>
                  <a:close/>
                </a:path>
              </a:pathLst>
            </a:custGeom>
            <a:solidFill>
              <a:srgbClr val="95E616"/>
            </a:soli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Ubuntu Medium"/>
                <a:ea typeface="+mn-ea"/>
                <a:cs typeface="+mn-cs"/>
              </a:endParaRPr>
            </a:p>
          </p:txBody>
        </p:sp>
        <p:sp>
          <p:nvSpPr>
            <p:cNvPr id="21" name="Freeform 11">
              <a:extLst>
                <a:ext uri="{FF2B5EF4-FFF2-40B4-BE49-F238E27FC236}">
                  <a16:creationId xmlns:a16="http://schemas.microsoft.com/office/drawing/2014/main" id="{AE6AA849-B3E8-5E3D-7054-C63A946E3D72}"/>
                </a:ext>
              </a:extLst>
            </p:cNvPr>
            <p:cNvSpPr>
              <a:spLocks/>
            </p:cNvSpPr>
            <p:nvPr/>
          </p:nvSpPr>
          <p:spPr bwMode="auto">
            <a:xfrm>
              <a:off x="2677261" y="3788027"/>
              <a:ext cx="2253187" cy="1450893"/>
            </a:xfrm>
            <a:custGeom>
              <a:avLst/>
              <a:gdLst>
                <a:gd name="T0" fmla="*/ 0 w 581"/>
                <a:gd name="T1" fmla="*/ 0 h 369"/>
                <a:gd name="T2" fmla="*/ 254 w 581"/>
                <a:gd name="T3" fmla="*/ 0 h 369"/>
                <a:gd name="T4" fmla="*/ 282 w 581"/>
                <a:gd name="T5" fmla="*/ 28 h 369"/>
                <a:gd name="T6" fmla="*/ 282 w 581"/>
                <a:gd name="T7" fmla="*/ 48 h 369"/>
                <a:gd name="T8" fmla="*/ 260 w 581"/>
                <a:gd name="T9" fmla="*/ 76 h 369"/>
                <a:gd name="T10" fmla="*/ 151 w 581"/>
                <a:gd name="T11" fmla="*/ 211 h 369"/>
                <a:gd name="T12" fmla="*/ 196 w 581"/>
                <a:gd name="T13" fmla="*/ 313 h 369"/>
                <a:gd name="T14" fmla="*/ 300 w 581"/>
                <a:gd name="T15" fmla="*/ 350 h 369"/>
                <a:gd name="T16" fmla="*/ 429 w 581"/>
                <a:gd name="T17" fmla="*/ 220 h 369"/>
                <a:gd name="T18" fmla="*/ 321 w 581"/>
                <a:gd name="T19" fmla="*/ 76 h 369"/>
                <a:gd name="T20" fmla="*/ 299 w 581"/>
                <a:gd name="T21" fmla="*/ 48 h 369"/>
                <a:gd name="T22" fmla="*/ 299 w 581"/>
                <a:gd name="T23" fmla="*/ 28 h 369"/>
                <a:gd name="T24" fmla="*/ 327 w 581"/>
                <a:gd name="T25" fmla="*/ 0 h 369"/>
                <a:gd name="T26" fmla="*/ 581 w 581"/>
                <a:gd name="T27" fmla="*/ 0 h 369"/>
                <a:gd name="T28" fmla="*/ 581 w 581"/>
                <a:gd name="T29" fmla="*/ 16 h 369"/>
                <a:gd name="T30" fmla="*/ 327 w 581"/>
                <a:gd name="T31" fmla="*/ 16 h 369"/>
                <a:gd name="T32" fmla="*/ 315 w 581"/>
                <a:gd name="T33" fmla="*/ 28 h 369"/>
                <a:gd name="T34" fmla="*/ 315 w 581"/>
                <a:gd name="T35" fmla="*/ 48 h 369"/>
                <a:gd name="T36" fmla="*/ 324 w 581"/>
                <a:gd name="T37" fmla="*/ 60 h 369"/>
                <a:gd name="T38" fmla="*/ 445 w 581"/>
                <a:gd name="T39" fmla="*/ 221 h 369"/>
                <a:gd name="T40" fmla="*/ 302 w 581"/>
                <a:gd name="T41" fmla="*/ 366 h 369"/>
                <a:gd name="T42" fmla="*/ 185 w 581"/>
                <a:gd name="T43" fmla="*/ 325 h 369"/>
                <a:gd name="T44" fmla="*/ 135 w 581"/>
                <a:gd name="T45" fmla="*/ 211 h 369"/>
                <a:gd name="T46" fmla="*/ 257 w 581"/>
                <a:gd name="T47" fmla="*/ 60 h 369"/>
                <a:gd name="T48" fmla="*/ 266 w 581"/>
                <a:gd name="T49" fmla="*/ 48 h 369"/>
                <a:gd name="T50" fmla="*/ 266 w 581"/>
                <a:gd name="T51" fmla="*/ 28 h 369"/>
                <a:gd name="T52" fmla="*/ 254 w 581"/>
                <a:gd name="T53" fmla="*/ 16 h 369"/>
                <a:gd name="T54" fmla="*/ 0 w 581"/>
                <a:gd name="T55" fmla="*/ 16 h 369"/>
                <a:gd name="T56" fmla="*/ 0 w 581"/>
                <a:gd name="T57" fmla="*/ 0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81" h="369">
                  <a:moveTo>
                    <a:pt x="0" y="0"/>
                  </a:moveTo>
                  <a:cubicBezTo>
                    <a:pt x="254" y="0"/>
                    <a:pt x="254" y="0"/>
                    <a:pt x="254" y="0"/>
                  </a:cubicBezTo>
                  <a:cubicBezTo>
                    <a:pt x="270" y="0"/>
                    <a:pt x="282" y="13"/>
                    <a:pt x="282" y="28"/>
                  </a:cubicBezTo>
                  <a:cubicBezTo>
                    <a:pt x="282" y="48"/>
                    <a:pt x="282" y="48"/>
                    <a:pt x="282" y="48"/>
                  </a:cubicBezTo>
                  <a:cubicBezTo>
                    <a:pt x="282" y="61"/>
                    <a:pt x="273" y="73"/>
                    <a:pt x="260" y="76"/>
                  </a:cubicBezTo>
                  <a:cubicBezTo>
                    <a:pt x="197" y="90"/>
                    <a:pt x="151" y="147"/>
                    <a:pt x="151" y="211"/>
                  </a:cubicBezTo>
                  <a:cubicBezTo>
                    <a:pt x="151" y="250"/>
                    <a:pt x="167" y="287"/>
                    <a:pt x="196" y="313"/>
                  </a:cubicBezTo>
                  <a:cubicBezTo>
                    <a:pt x="224" y="340"/>
                    <a:pt x="261" y="353"/>
                    <a:pt x="300" y="350"/>
                  </a:cubicBezTo>
                  <a:cubicBezTo>
                    <a:pt x="370" y="345"/>
                    <a:pt x="425" y="289"/>
                    <a:pt x="429" y="220"/>
                  </a:cubicBezTo>
                  <a:cubicBezTo>
                    <a:pt x="433" y="151"/>
                    <a:pt x="388" y="90"/>
                    <a:pt x="321" y="76"/>
                  </a:cubicBezTo>
                  <a:cubicBezTo>
                    <a:pt x="308" y="73"/>
                    <a:pt x="299" y="61"/>
                    <a:pt x="299" y="48"/>
                  </a:cubicBezTo>
                  <a:cubicBezTo>
                    <a:pt x="299" y="28"/>
                    <a:pt x="299" y="28"/>
                    <a:pt x="299" y="28"/>
                  </a:cubicBezTo>
                  <a:cubicBezTo>
                    <a:pt x="299" y="13"/>
                    <a:pt x="311" y="0"/>
                    <a:pt x="327" y="0"/>
                  </a:cubicBezTo>
                  <a:cubicBezTo>
                    <a:pt x="581" y="0"/>
                    <a:pt x="581" y="0"/>
                    <a:pt x="581" y="0"/>
                  </a:cubicBezTo>
                  <a:cubicBezTo>
                    <a:pt x="581" y="16"/>
                    <a:pt x="581" y="16"/>
                    <a:pt x="581" y="16"/>
                  </a:cubicBezTo>
                  <a:cubicBezTo>
                    <a:pt x="327" y="16"/>
                    <a:pt x="327" y="16"/>
                    <a:pt x="327" y="16"/>
                  </a:cubicBezTo>
                  <a:cubicBezTo>
                    <a:pt x="320" y="16"/>
                    <a:pt x="315" y="21"/>
                    <a:pt x="315" y="28"/>
                  </a:cubicBezTo>
                  <a:cubicBezTo>
                    <a:pt x="315" y="48"/>
                    <a:pt x="315" y="48"/>
                    <a:pt x="315" y="48"/>
                  </a:cubicBezTo>
                  <a:cubicBezTo>
                    <a:pt x="315" y="54"/>
                    <a:pt x="319" y="59"/>
                    <a:pt x="324" y="60"/>
                  </a:cubicBezTo>
                  <a:cubicBezTo>
                    <a:pt x="399" y="77"/>
                    <a:pt x="450" y="144"/>
                    <a:pt x="445" y="221"/>
                  </a:cubicBezTo>
                  <a:cubicBezTo>
                    <a:pt x="441" y="298"/>
                    <a:pt x="379" y="361"/>
                    <a:pt x="302" y="366"/>
                  </a:cubicBezTo>
                  <a:cubicBezTo>
                    <a:pt x="258" y="369"/>
                    <a:pt x="216" y="355"/>
                    <a:pt x="185" y="325"/>
                  </a:cubicBezTo>
                  <a:cubicBezTo>
                    <a:pt x="153" y="296"/>
                    <a:pt x="135" y="254"/>
                    <a:pt x="135" y="211"/>
                  </a:cubicBezTo>
                  <a:cubicBezTo>
                    <a:pt x="135" y="139"/>
                    <a:pt x="186" y="76"/>
                    <a:pt x="257" y="60"/>
                  </a:cubicBezTo>
                  <a:cubicBezTo>
                    <a:pt x="262" y="59"/>
                    <a:pt x="266" y="54"/>
                    <a:pt x="266" y="48"/>
                  </a:cubicBezTo>
                  <a:cubicBezTo>
                    <a:pt x="266" y="28"/>
                    <a:pt x="266" y="28"/>
                    <a:pt x="266" y="28"/>
                  </a:cubicBezTo>
                  <a:cubicBezTo>
                    <a:pt x="266" y="21"/>
                    <a:pt x="261" y="16"/>
                    <a:pt x="254" y="16"/>
                  </a:cubicBezTo>
                  <a:cubicBezTo>
                    <a:pt x="0" y="16"/>
                    <a:pt x="0" y="16"/>
                    <a:pt x="0" y="16"/>
                  </a:cubicBezTo>
                  <a:lnTo>
                    <a:pt x="0" y="0"/>
                  </a:lnTo>
                  <a:close/>
                </a:path>
              </a:pathLst>
            </a:custGeom>
            <a:solidFill>
              <a:srgbClr val="0070AD"/>
            </a:soli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Ubuntu Medium"/>
                <a:ea typeface="+mn-ea"/>
                <a:cs typeface="+mn-cs"/>
              </a:endParaRPr>
            </a:p>
          </p:txBody>
        </p:sp>
        <p:sp>
          <p:nvSpPr>
            <p:cNvPr id="22" name="Freeform 5">
              <a:extLst>
                <a:ext uri="{FF2B5EF4-FFF2-40B4-BE49-F238E27FC236}">
                  <a16:creationId xmlns:a16="http://schemas.microsoft.com/office/drawing/2014/main" id="{596DFF29-B0B7-2AEC-20E2-73989406EBD9}"/>
                </a:ext>
              </a:extLst>
            </p:cNvPr>
            <p:cNvSpPr>
              <a:spLocks/>
            </p:cNvSpPr>
            <p:nvPr/>
          </p:nvSpPr>
          <p:spPr bwMode="auto">
            <a:xfrm>
              <a:off x="4930447" y="2419815"/>
              <a:ext cx="2248778" cy="1437454"/>
            </a:xfrm>
            <a:custGeom>
              <a:avLst/>
              <a:gdLst>
                <a:gd name="T0" fmla="*/ 580 w 580"/>
                <a:gd name="T1" fmla="*/ 369 h 369"/>
                <a:gd name="T2" fmla="*/ 326 w 580"/>
                <a:gd name="T3" fmla="*/ 369 h 369"/>
                <a:gd name="T4" fmla="*/ 298 w 580"/>
                <a:gd name="T5" fmla="*/ 341 h 369"/>
                <a:gd name="T6" fmla="*/ 298 w 580"/>
                <a:gd name="T7" fmla="*/ 321 h 369"/>
                <a:gd name="T8" fmla="*/ 320 w 580"/>
                <a:gd name="T9" fmla="*/ 293 h 369"/>
                <a:gd name="T10" fmla="*/ 429 w 580"/>
                <a:gd name="T11" fmla="*/ 158 h 369"/>
                <a:gd name="T12" fmla="*/ 385 w 580"/>
                <a:gd name="T13" fmla="*/ 56 h 369"/>
                <a:gd name="T14" fmla="*/ 280 w 580"/>
                <a:gd name="T15" fmla="*/ 19 h 369"/>
                <a:gd name="T16" fmla="*/ 151 w 580"/>
                <a:gd name="T17" fmla="*/ 149 h 369"/>
                <a:gd name="T18" fmla="*/ 260 w 580"/>
                <a:gd name="T19" fmla="*/ 293 h 369"/>
                <a:gd name="T20" fmla="*/ 282 w 580"/>
                <a:gd name="T21" fmla="*/ 321 h 369"/>
                <a:gd name="T22" fmla="*/ 282 w 580"/>
                <a:gd name="T23" fmla="*/ 341 h 369"/>
                <a:gd name="T24" fmla="*/ 254 w 580"/>
                <a:gd name="T25" fmla="*/ 369 h 369"/>
                <a:gd name="T26" fmla="*/ 0 w 580"/>
                <a:gd name="T27" fmla="*/ 369 h 369"/>
                <a:gd name="T28" fmla="*/ 0 w 580"/>
                <a:gd name="T29" fmla="*/ 353 h 369"/>
                <a:gd name="T30" fmla="*/ 254 w 580"/>
                <a:gd name="T31" fmla="*/ 353 h 369"/>
                <a:gd name="T32" fmla="*/ 266 w 580"/>
                <a:gd name="T33" fmla="*/ 341 h 369"/>
                <a:gd name="T34" fmla="*/ 266 w 580"/>
                <a:gd name="T35" fmla="*/ 321 h 369"/>
                <a:gd name="T36" fmla="*/ 256 w 580"/>
                <a:gd name="T37" fmla="*/ 309 h 369"/>
                <a:gd name="T38" fmla="*/ 135 w 580"/>
                <a:gd name="T39" fmla="*/ 148 h 369"/>
                <a:gd name="T40" fmla="*/ 279 w 580"/>
                <a:gd name="T41" fmla="*/ 3 h 369"/>
                <a:gd name="T42" fmla="*/ 396 w 580"/>
                <a:gd name="T43" fmla="*/ 44 h 369"/>
                <a:gd name="T44" fmla="*/ 445 w 580"/>
                <a:gd name="T45" fmla="*/ 158 h 369"/>
                <a:gd name="T46" fmla="*/ 324 w 580"/>
                <a:gd name="T47" fmla="*/ 309 h 369"/>
                <a:gd name="T48" fmla="*/ 314 w 580"/>
                <a:gd name="T49" fmla="*/ 321 h 369"/>
                <a:gd name="T50" fmla="*/ 314 w 580"/>
                <a:gd name="T51" fmla="*/ 341 h 369"/>
                <a:gd name="T52" fmla="*/ 326 w 580"/>
                <a:gd name="T53" fmla="*/ 353 h 369"/>
                <a:gd name="T54" fmla="*/ 580 w 580"/>
                <a:gd name="T55" fmla="*/ 353 h 369"/>
                <a:gd name="T56" fmla="*/ 580 w 580"/>
                <a:gd name="T57" fmla="*/ 36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80" h="369">
                  <a:moveTo>
                    <a:pt x="580" y="369"/>
                  </a:moveTo>
                  <a:cubicBezTo>
                    <a:pt x="326" y="369"/>
                    <a:pt x="326" y="369"/>
                    <a:pt x="326" y="369"/>
                  </a:cubicBezTo>
                  <a:cubicBezTo>
                    <a:pt x="311" y="369"/>
                    <a:pt x="298" y="356"/>
                    <a:pt x="298" y="341"/>
                  </a:cubicBezTo>
                  <a:cubicBezTo>
                    <a:pt x="298" y="321"/>
                    <a:pt x="298" y="321"/>
                    <a:pt x="298" y="321"/>
                  </a:cubicBezTo>
                  <a:cubicBezTo>
                    <a:pt x="298" y="308"/>
                    <a:pt x="307" y="296"/>
                    <a:pt x="320" y="293"/>
                  </a:cubicBezTo>
                  <a:cubicBezTo>
                    <a:pt x="383" y="279"/>
                    <a:pt x="429" y="222"/>
                    <a:pt x="429" y="158"/>
                  </a:cubicBezTo>
                  <a:cubicBezTo>
                    <a:pt x="429" y="119"/>
                    <a:pt x="413" y="82"/>
                    <a:pt x="385" y="56"/>
                  </a:cubicBezTo>
                  <a:cubicBezTo>
                    <a:pt x="356" y="29"/>
                    <a:pt x="319" y="16"/>
                    <a:pt x="280" y="19"/>
                  </a:cubicBezTo>
                  <a:cubicBezTo>
                    <a:pt x="211" y="24"/>
                    <a:pt x="155" y="80"/>
                    <a:pt x="151" y="149"/>
                  </a:cubicBezTo>
                  <a:cubicBezTo>
                    <a:pt x="147" y="218"/>
                    <a:pt x="193" y="279"/>
                    <a:pt x="260" y="293"/>
                  </a:cubicBezTo>
                  <a:cubicBezTo>
                    <a:pt x="273" y="296"/>
                    <a:pt x="282" y="308"/>
                    <a:pt x="282" y="321"/>
                  </a:cubicBezTo>
                  <a:cubicBezTo>
                    <a:pt x="282" y="341"/>
                    <a:pt x="282" y="341"/>
                    <a:pt x="282" y="341"/>
                  </a:cubicBezTo>
                  <a:cubicBezTo>
                    <a:pt x="282" y="356"/>
                    <a:pt x="269" y="369"/>
                    <a:pt x="254" y="369"/>
                  </a:cubicBezTo>
                  <a:cubicBezTo>
                    <a:pt x="0" y="369"/>
                    <a:pt x="0" y="369"/>
                    <a:pt x="0" y="369"/>
                  </a:cubicBezTo>
                  <a:cubicBezTo>
                    <a:pt x="0" y="353"/>
                    <a:pt x="0" y="353"/>
                    <a:pt x="0" y="353"/>
                  </a:cubicBezTo>
                  <a:cubicBezTo>
                    <a:pt x="254" y="353"/>
                    <a:pt x="254" y="353"/>
                    <a:pt x="254" y="353"/>
                  </a:cubicBezTo>
                  <a:cubicBezTo>
                    <a:pt x="260" y="353"/>
                    <a:pt x="266" y="348"/>
                    <a:pt x="266" y="341"/>
                  </a:cubicBezTo>
                  <a:cubicBezTo>
                    <a:pt x="266" y="321"/>
                    <a:pt x="266" y="321"/>
                    <a:pt x="266" y="321"/>
                  </a:cubicBezTo>
                  <a:cubicBezTo>
                    <a:pt x="266" y="315"/>
                    <a:pt x="262" y="310"/>
                    <a:pt x="256" y="309"/>
                  </a:cubicBezTo>
                  <a:cubicBezTo>
                    <a:pt x="182" y="292"/>
                    <a:pt x="131" y="225"/>
                    <a:pt x="135" y="148"/>
                  </a:cubicBezTo>
                  <a:cubicBezTo>
                    <a:pt x="140" y="71"/>
                    <a:pt x="202" y="8"/>
                    <a:pt x="279" y="3"/>
                  </a:cubicBezTo>
                  <a:cubicBezTo>
                    <a:pt x="323" y="0"/>
                    <a:pt x="364" y="14"/>
                    <a:pt x="396" y="44"/>
                  </a:cubicBezTo>
                  <a:cubicBezTo>
                    <a:pt x="427" y="73"/>
                    <a:pt x="445" y="115"/>
                    <a:pt x="445" y="158"/>
                  </a:cubicBezTo>
                  <a:cubicBezTo>
                    <a:pt x="445" y="230"/>
                    <a:pt x="394" y="293"/>
                    <a:pt x="324" y="309"/>
                  </a:cubicBezTo>
                  <a:cubicBezTo>
                    <a:pt x="318" y="310"/>
                    <a:pt x="314" y="315"/>
                    <a:pt x="314" y="321"/>
                  </a:cubicBezTo>
                  <a:cubicBezTo>
                    <a:pt x="314" y="341"/>
                    <a:pt x="314" y="341"/>
                    <a:pt x="314" y="341"/>
                  </a:cubicBezTo>
                  <a:cubicBezTo>
                    <a:pt x="314" y="348"/>
                    <a:pt x="320" y="353"/>
                    <a:pt x="326" y="353"/>
                  </a:cubicBezTo>
                  <a:cubicBezTo>
                    <a:pt x="580" y="353"/>
                    <a:pt x="580" y="353"/>
                    <a:pt x="580" y="353"/>
                  </a:cubicBezTo>
                  <a:lnTo>
                    <a:pt x="580" y="369"/>
                  </a:ln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Ubuntu Medium"/>
                <a:ea typeface="+mn-ea"/>
                <a:cs typeface="+mn-cs"/>
              </a:endParaRPr>
            </a:p>
          </p:txBody>
        </p:sp>
        <p:sp>
          <p:nvSpPr>
            <p:cNvPr id="23" name="Freeform 5">
              <a:extLst>
                <a:ext uri="{FF2B5EF4-FFF2-40B4-BE49-F238E27FC236}">
                  <a16:creationId xmlns:a16="http://schemas.microsoft.com/office/drawing/2014/main" id="{0E4FEC45-C56C-380D-A2CC-C46B1DD3E538}"/>
                </a:ext>
              </a:extLst>
            </p:cNvPr>
            <p:cNvSpPr>
              <a:spLocks/>
            </p:cNvSpPr>
            <p:nvPr/>
          </p:nvSpPr>
          <p:spPr bwMode="auto">
            <a:xfrm>
              <a:off x="9428007" y="2419815"/>
              <a:ext cx="2248778" cy="1437454"/>
            </a:xfrm>
            <a:custGeom>
              <a:avLst/>
              <a:gdLst>
                <a:gd name="T0" fmla="*/ 580 w 580"/>
                <a:gd name="T1" fmla="*/ 369 h 369"/>
                <a:gd name="T2" fmla="*/ 326 w 580"/>
                <a:gd name="T3" fmla="*/ 369 h 369"/>
                <a:gd name="T4" fmla="*/ 298 w 580"/>
                <a:gd name="T5" fmla="*/ 341 h 369"/>
                <a:gd name="T6" fmla="*/ 298 w 580"/>
                <a:gd name="T7" fmla="*/ 321 h 369"/>
                <a:gd name="T8" fmla="*/ 320 w 580"/>
                <a:gd name="T9" fmla="*/ 293 h 369"/>
                <a:gd name="T10" fmla="*/ 429 w 580"/>
                <a:gd name="T11" fmla="*/ 158 h 369"/>
                <a:gd name="T12" fmla="*/ 385 w 580"/>
                <a:gd name="T13" fmla="*/ 56 h 369"/>
                <a:gd name="T14" fmla="*/ 280 w 580"/>
                <a:gd name="T15" fmla="*/ 19 h 369"/>
                <a:gd name="T16" fmla="*/ 151 w 580"/>
                <a:gd name="T17" fmla="*/ 149 h 369"/>
                <a:gd name="T18" fmla="*/ 260 w 580"/>
                <a:gd name="T19" fmla="*/ 293 h 369"/>
                <a:gd name="T20" fmla="*/ 282 w 580"/>
                <a:gd name="T21" fmla="*/ 321 h 369"/>
                <a:gd name="T22" fmla="*/ 282 w 580"/>
                <a:gd name="T23" fmla="*/ 341 h 369"/>
                <a:gd name="T24" fmla="*/ 254 w 580"/>
                <a:gd name="T25" fmla="*/ 369 h 369"/>
                <a:gd name="T26" fmla="*/ 0 w 580"/>
                <a:gd name="T27" fmla="*/ 369 h 369"/>
                <a:gd name="T28" fmla="*/ 0 w 580"/>
                <a:gd name="T29" fmla="*/ 353 h 369"/>
                <a:gd name="T30" fmla="*/ 254 w 580"/>
                <a:gd name="T31" fmla="*/ 353 h 369"/>
                <a:gd name="T32" fmla="*/ 266 w 580"/>
                <a:gd name="T33" fmla="*/ 341 h 369"/>
                <a:gd name="T34" fmla="*/ 266 w 580"/>
                <a:gd name="T35" fmla="*/ 321 h 369"/>
                <a:gd name="T36" fmla="*/ 256 w 580"/>
                <a:gd name="T37" fmla="*/ 309 h 369"/>
                <a:gd name="T38" fmla="*/ 135 w 580"/>
                <a:gd name="T39" fmla="*/ 148 h 369"/>
                <a:gd name="T40" fmla="*/ 279 w 580"/>
                <a:gd name="T41" fmla="*/ 3 h 369"/>
                <a:gd name="T42" fmla="*/ 396 w 580"/>
                <a:gd name="T43" fmla="*/ 44 h 369"/>
                <a:gd name="T44" fmla="*/ 445 w 580"/>
                <a:gd name="T45" fmla="*/ 158 h 369"/>
                <a:gd name="T46" fmla="*/ 324 w 580"/>
                <a:gd name="T47" fmla="*/ 309 h 369"/>
                <a:gd name="T48" fmla="*/ 314 w 580"/>
                <a:gd name="T49" fmla="*/ 321 h 369"/>
                <a:gd name="T50" fmla="*/ 314 w 580"/>
                <a:gd name="T51" fmla="*/ 341 h 369"/>
                <a:gd name="T52" fmla="*/ 326 w 580"/>
                <a:gd name="T53" fmla="*/ 353 h 369"/>
                <a:gd name="T54" fmla="*/ 580 w 580"/>
                <a:gd name="T55" fmla="*/ 353 h 369"/>
                <a:gd name="T56" fmla="*/ 580 w 580"/>
                <a:gd name="T57" fmla="*/ 36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80" h="369">
                  <a:moveTo>
                    <a:pt x="580" y="369"/>
                  </a:moveTo>
                  <a:cubicBezTo>
                    <a:pt x="326" y="369"/>
                    <a:pt x="326" y="369"/>
                    <a:pt x="326" y="369"/>
                  </a:cubicBezTo>
                  <a:cubicBezTo>
                    <a:pt x="311" y="369"/>
                    <a:pt x="298" y="356"/>
                    <a:pt x="298" y="341"/>
                  </a:cubicBezTo>
                  <a:cubicBezTo>
                    <a:pt x="298" y="321"/>
                    <a:pt x="298" y="321"/>
                    <a:pt x="298" y="321"/>
                  </a:cubicBezTo>
                  <a:cubicBezTo>
                    <a:pt x="298" y="308"/>
                    <a:pt x="307" y="296"/>
                    <a:pt x="320" y="293"/>
                  </a:cubicBezTo>
                  <a:cubicBezTo>
                    <a:pt x="383" y="279"/>
                    <a:pt x="429" y="222"/>
                    <a:pt x="429" y="158"/>
                  </a:cubicBezTo>
                  <a:cubicBezTo>
                    <a:pt x="429" y="119"/>
                    <a:pt x="413" y="82"/>
                    <a:pt x="385" y="56"/>
                  </a:cubicBezTo>
                  <a:cubicBezTo>
                    <a:pt x="356" y="29"/>
                    <a:pt x="319" y="16"/>
                    <a:pt x="280" y="19"/>
                  </a:cubicBezTo>
                  <a:cubicBezTo>
                    <a:pt x="211" y="24"/>
                    <a:pt x="155" y="80"/>
                    <a:pt x="151" y="149"/>
                  </a:cubicBezTo>
                  <a:cubicBezTo>
                    <a:pt x="147" y="218"/>
                    <a:pt x="193" y="279"/>
                    <a:pt x="260" y="293"/>
                  </a:cubicBezTo>
                  <a:cubicBezTo>
                    <a:pt x="273" y="296"/>
                    <a:pt x="282" y="308"/>
                    <a:pt x="282" y="321"/>
                  </a:cubicBezTo>
                  <a:cubicBezTo>
                    <a:pt x="282" y="341"/>
                    <a:pt x="282" y="341"/>
                    <a:pt x="282" y="341"/>
                  </a:cubicBezTo>
                  <a:cubicBezTo>
                    <a:pt x="282" y="356"/>
                    <a:pt x="269" y="369"/>
                    <a:pt x="254" y="369"/>
                  </a:cubicBezTo>
                  <a:cubicBezTo>
                    <a:pt x="0" y="369"/>
                    <a:pt x="0" y="369"/>
                    <a:pt x="0" y="369"/>
                  </a:cubicBezTo>
                  <a:cubicBezTo>
                    <a:pt x="0" y="353"/>
                    <a:pt x="0" y="353"/>
                    <a:pt x="0" y="353"/>
                  </a:cubicBezTo>
                  <a:cubicBezTo>
                    <a:pt x="254" y="353"/>
                    <a:pt x="254" y="353"/>
                    <a:pt x="254" y="353"/>
                  </a:cubicBezTo>
                  <a:cubicBezTo>
                    <a:pt x="260" y="353"/>
                    <a:pt x="266" y="348"/>
                    <a:pt x="266" y="341"/>
                  </a:cubicBezTo>
                  <a:cubicBezTo>
                    <a:pt x="266" y="321"/>
                    <a:pt x="266" y="321"/>
                    <a:pt x="266" y="321"/>
                  </a:cubicBezTo>
                  <a:cubicBezTo>
                    <a:pt x="266" y="315"/>
                    <a:pt x="262" y="310"/>
                    <a:pt x="256" y="309"/>
                  </a:cubicBezTo>
                  <a:cubicBezTo>
                    <a:pt x="182" y="292"/>
                    <a:pt x="131" y="225"/>
                    <a:pt x="135" y="148"/>
                  </a:cubicBezTo>
                  <a:cubicBezTo>
                    <a:pt x="140" y="71"/>
                    <a:pt x="202" y="8"/>
                    <a:pt x="279" y="3"/>
                  </a:cubicBezTo>
                  <a:cubicBezTo>
                    <a:pt x="323" y="0"/>
                    <a:pt x="364" y="14"/>
                    <a:pt x="396" y="44"/>
                  </a:cubicBezTo>
                  <a:cubicBezTo>
                    <a:pt x="427" y="73"/>
                    <a:pt x="445" y="115"/>
                    <a:pt x="445" y="158"/>
                  </a:cubicBezTo>
                  <a:cubicBezTo>
                    <a:pt x="445" y="230"/>
                    <a:pt x="394" y="293"/>
                    <a:pt x="324" y="309"/>
                  </a:cubicBezTo>
                  <a:cubicBezTo>
                    <a:pt x="318" y="310"/>
                    <a:pt x="314" y="315"/>
                    <a:pt x="314" y="321"/>
                  </a:cubicBezTo>
                  <a:cubicBezTo>
                    <a:pt x="314" y="341"/>
                    <a:pt x="314" y="341"/>
                    <a:pt x="314" y="341"/>
                  </a:cubicBezTo>
                  <a:cubicBezTo>
                    <a:pt x="314" y="348"/>
                    <a:pt x="320" y="353"/>
                    <a:pt x="326" y="353"/>
                  </a:cubicBezTo>
                  <a:cubicBezTo>
                    <a:pt x="580" y="353"/>
                    <a:pt x="580" y="353"/>
                    <a:pt x="580" y="353"/>
                  </a:cubicBezTo>
                  <a:lnTo>
                    <a:pt x="580" y="369"/>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Ubuntu Medium"/>
                <a:ea typeface="+mn-ea"/>
                <a:cs typeface="+mn-cs"/>
              </a:endParaRPr>
            </a:p>
          </p:txBody>
        </p:sp>
        <p:sp>
          <p:nvSpPr>
            <p:cNvPr id="24" name="Oval 17">
              <a:extLst>
                <a:ext uri="{FF2B5EF4-FFF2-40B4-BE49-F238E27FC236}">
                  <a16:creationId xmlns:a16="http://schemas.microsoft.com/office/drawing/2014/main" id="{8BB4A7DC-A33D-A425-AE4F-AB7FD07CFE97}"/>
                </a:ext>
              </a:extLst>
            </p:cNvPr>
            <p:cNvSpPr>
              <a:spLocks noChangeArrowheads="1"/>
            </p:cNvSpPr>
            <p:nvPr/>
          </p:nvSpPr>
          <p:spPr bwMode="auto">
            <a:xfrm>
              <a:off x="11544504" y="3694122"/>
              <a:ext cx="264562" cy="264562"/>
            </a:xfrm>
            <a:prstGeom prst="ellipse">
              <a:avLst/>
            </a:prstGeom>
            <a:solidFill>
              <a:schemeClr val="tx2">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Ubuntu Medium"/>
                <a:ea typeface="+mn-ea"/>
                <a:cs typeface="+mn-cs"/>
              </a:endParaRPr>
            </a:p>
          </p:txBody>
        </p:sp>
        <p:sp>
          <p:nvSpPr>
            <p:cNvPr id="25" name="TextBox 24">
              <a:extLst>
                <a:ext uri="{FF2B5EF4-FFF2-40B4-BE49-F238E27FC236}">
                  <a16:creationId xmlns:a16="http://schemas.microsoft.com/office/drawing/2014/main" id="{99243AEC-230C-D17E-8B6B-0325CE3AD689}"/>
                </a:ext>
              </a:extLst>
            </p:cNvPr>
            <p:cNvSpPr txBox="1"/>
            <p:nvPr/>
          </p:nvSpPr>
          <p:spPr>
            <a:xfrm>
              <a:off x="553136" y="1663104"/>
              <a:ext cx="2012694" cy="765294"/>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small" spc="0" normalizeH="0" baseline="0" noProof="0">
                  <a:ln>
                    <a:noFill/>
                  </a:ln>
                  <a:solidFill>
                    <a:prstClr val="black"/>
                  </a:solidFill>
                  <a:effectLst/>
                  <a:uLnTx/>
                  <a:uFillTx/>
                  <a:latin typeface="Ubuntu Medium"/>
                  <a:ea typeface="+mn-ea"/>
                  <a:cs typeface="+mn-cs"/>
                </a:rPr>
                <a:t>R&amp;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small" spc="0" normalizeH="0" baseline="0" noProof="0">
                  <a:ln>
                    <a:noFill/>
                  </a:ln>
                  <a:solidFill>
                    <a:prstClr val="black"/>
                  </a:solidFill>
                  <a:effectLst/>
                  <a:uLnTx/>
                  <a:uFillTx/>
                  <a:latin typeface="Ubuntu Medium"/>
                  <a:ea typeface="+mn-ea"/>
                  <a:cs typeface="+mn-cs"/>
                </a:rPr>
                <a:t>INGÉNIÉRIE</a:t>
              </a:r>
            </a:p>
          </p:txBody>
        </p:sp>
        <p:sp>
          <p:nvSpPr>
            <p:cNvPr id="26" name="TextBox 25">
              <a:extLst>
                <a:ext uri="{FF2B5EF4-FFF2-40B4-BE49-F238E27FC236}">
                  <a16:creationId xmlns:a16="http://schemas.microsoft.com/office/drawing/2014/main" id="{B54689DE-ACD3-A707-CAEA-0D7578CB1446}"/>
                </a:ext>
              </a:extLst>
            </p:cNvPr>
            <p:cNvSpPr txBox="1"/>
            <p:nvPr/>
          </p:nvSpPr>
          <p:spPr>
            <a:xfrm>
              <a:off x="2867312" y="5309391"/>
              <a:ext cx="1873080" cy="450174"/>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small" spc="0" normalizeH="0" baseline="0" noProof="0">
                  <a:ln>
                    <a:noFill/>
                  </a:ln>
                  <a:solidFill>
                    <a:prstClr val="black"/>
                  </a:solidFill>
                  <a:effectLst/>
                  <a:uLnTx/>
                  <a:uFillTx/>
                  <a:latin typeface="Ubuntu Medium"/>
                  <a:ea typeface="+mn-ea"/>
                  <a:cs typeface="+mn-cs"/>
                </a:rPr>
                <a:t>ACHATS</a:t>
              </a:r>
            </a:p>
          </p:txBody>
        </p:sp>
        <p:sp>
          <p:nvSpPr>
            <p:cNvPr id="27" name="TextBox 26">
              <a:extLst>
                <a:ext uri="{FF2B5EF4-FFF2-40B4-BE49-F238E27FC236}">
                  <a16:creationId xmlns:a16="http://schemas.microsoft.com/office/drawing/2014/main" id="{C7B8BCA6-4DBC-1424-C488-337C6443D74A}"/>
                </a:ext>
              </a:extLst>
            </p:cNvPr>
            <p:cNvSpPr txBox="1"/>
            <p:nvPr/>
          </p:nvSpPr>
          <p:spPr>
            <a:xfrm>
              <a:off x="4808301" y="1663107"/>
              <a:ext cx="2493070" cy="765295"/>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small" spc="0" normalizeH="0" baseline="0" noProof="0">
                  <a:ln>
                    <a:noFill/>
                  </a:ln>
                  <a:solidFill>
                    <a:prstClr val="black"/>
                  </a:solidFill>
                  <a:effectLst/>
                  <a:uLnTx/>
                  <a:uFillTx/>
                  <a:latin typeface="Ubuntu Medium"/>
                  <a:ea typeface="+mn-ea"/>
                  <a:cs typeface="+mn-cs"/>
                </a:rPr>
                <a:t>PRODUC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small" spc="0" normalizeH="0" baseline="0" noProof="0">
                  <a:ln>
                    <a:noFill/>
                  </a:ln>
                  <a:solidFill>
                    <a:prstClr val="black"/>
                  </a:solidFill>
                  <a:effectLst/>
                  <a:uLnTx/>
                  <a:uFillTx/>
                  <a:latin typeface="Ubuntu Medium"/>
                  <a:ea typeface="+mn-ea"/>
                  <a:cs typeface="+mn-cs"/>
                </a:rPr>
                <a:t>ASSEMBLAGE</a:t>
              </a:r>
            </a:p>
          </p:txBody>
        </p:sp>
        <p:sp>
          <p:nvSpPr>
            <p:cNvPr id="28" name="TextBox 27">
              <a:extLst>
                <a:ext uri="{FF2B5EF4-FFF2-40B4-BE49-F238E27FC236}">
                  <a16:creationId xmlns:a16="http://schemas.microsoft.com/office/drawing/2014/main" id="{805E7EBF-A09A-E8F7-3850-347333D2CDEB}"/>
                </a:ext>
              </a:extLst>
            </p:cNvPr>
            <p:cNvSpPr txBox="1"/>
            <p:nvPr/>
          </p:nvSpPr>
          <p:spPr>
            <a:xfrm>
              <a:off x="7367075" y="5187936"/>
              <a:ext cx="1873080" cy="450174"/>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small" spc="0" normalizeH="0" baseline="0" noProof="0">
                  <a:ln>
                    <a:noFill/>
                  </a:ln>
                  <a:solidFill>
                    <a:prstClr val="black"/>
                  </a:solidFill>
                  <a:effectLst/>
                  <a:uLnTx/>
                  <a:uFillTx/>
                  <a:latin typeface="Ubuntu Medium"/>
                  <a:ea typeface="+mn-ea"/>
                  <a:cs typeface="+mn-cs"/>
                </a:rPr>
                <a:t>LOGISTIQUE</a:t>
              </a:r>
            </a:p>
          </p:txBody>
        </p:sp>
        <p:sp>
          <p:nvSpPr>
            <p:cNvPr id="29" name="TextBox 28">
              <a:extLst>
                <a:ext uri="{FF2B5EF4-FFF2-40B4-BE49-F238E27FC236}">
                  <a16:creationId xmlns:a16="http://schemas.microsoft.com/office/drawing/2014/main" id="{F188AADA-90BC-5F5E-C2C6-9C1D85B3CD95}"/>
                </a:ext>
              </a:extLst>
            </p:cNvPr>
            <p:cNvSpPr txBox="1"/>
            <p:nvPr/>
          </p:nvSpPr>
          <p:spPr>
            <a:xfrm>
              <a:off x="9321569" y="1663107"/>
              <a:ext cx="2493070" cy="765295"/>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small" spc="0" normalizeH="0" baseline="0" noProof="0">
                  <a:ln>
                    <a:noFill/>
                  </a:ln>
                  <a:solidFill>
                    <a:prstClr val="black"/>
                  </a:solidFill>
                  <a:effectLst/>
                  <a:uLnTx/>
                  <a:uFillTx/>
                  <a:latin typeface="Ubuntu Medium"/>
                  <a:ea typeface="+mn-ea"/>
                  <a:cs typeface="+mn-cs"/>
                </a:rPr>
                <a:t>SUPPORT AUX OPÉRATIONS</a:t>
              </a:r>
            </a:p>
          </p:txBody>
        </p:sp>
        <p:pic>
          <p:nvPicPr>
            <p:cNvPr id="30" name="Picture 6" descr="RÃ©sultat de recherche d'images pour &quot;icon buy&quot;">
              <a:extLst>
                <a:ext uri="{FF2B5EF4-FFF2-40B4-BE49-F238E27FC236}">
                  <a16:creationId xmlns:a16="http://schemas.microsoft.com/office/drawing/2014/main" id="{DEE27D09-C0DA-0F51-5E6C-989C86190B74}"/>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3533139" y="4364929"/>
              <a:ext cx="539885" cy="539885"/>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8" descr="RÃ©sultat de recherche d'images pour &quot;icon production&quot;">
              <a:extLst>
                <a:ext uri="{FF2B5EF4-FFF2-40B4-BE49-F238E27FC236}">
                  <a16:creationId xmlns:a16="http://schemas.microsoft.com/office/drawing/2014/main" id="{C91F0262-F54C-0BCA-E19A-77BCA1519F9C}"/>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749510" y="2707901"/>
              <a:ext cx="608450" cy="608450"/>
            </a:xfrm>
            <a:prstGeom prst="rect">
              <a:avLst/>
            </a:prstGeom>
            <a:noFill/>
            <a:extLst>
              <a:ext uri="{909E8E84-426E-40DD-AFC4-6F175D3DCCD1}">
                <a14:hiddenFill xmlns:a14="http://schemas.microsoft.com/office/drawing/2010/main">
                  <a:solidFill>
                    <a:srgbClr val="FFFFFF"/>
                  </a:solidFill>
                </a14:hiddenFill>
              </a:ext>
            </a:extLst>
          </p:spPr>
        </p:pic>
        <p:pic>
          <p:nvPicPr>
            <p:cNvPr id="248" name="Picture 10" descr="RÃ©sultat de recherche d'images pour &quot;icon warehouse&quot;">
              <a:extLst>
                <a:ext uri="{FF2B5EF4-FFF2-40B4-BE49-F238E27FC236}">
                  <a16:creationId xmlns:a16="http://schemas.microsoft.com/office/drawing/2014/main" id="{ADB5BAF5-3698-6971-6DA6-261ACF38A484}"/>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8060556" y="4364929"/>
              <a:ext cx="533202" cy="533202"/>
            </a:xfrm>
            <a:prstGeom prst="rect">
              <a:avLst/>
            </a:prstGeom>
            <a:noFill/>
            <a:extLst>
              <a:ext uri="{909E8E84-426E-40DD-AFC4-6F175D3DCCD1}">
                <a14:hiddenFill xmlns:a14="http://schemas.microsoft.com/office/drawing/2010/main">
                  <a:solidFill>
                    <a:srgbClr val="FFFFFF"/>
                  </a:solidFill>
                </a14:hiddenFill>
              </a:ext>
            </a:extLst>
          </p:spPr>
        </p:pic>
        <p:sp>
          <p:nvSpPr>
            <p:cNvPr id="249" name="Rectangle 248">
              <a:extLst>
                <a:ext uri="{FF2B5EF4-FFF2-40B4-BE49-F238E27FC236}">
                  <a16:creationId xmlns:a16="http://schemas.microsoft.com/office/drawing/2014/main" id="{6E2493A8-470A-E0A2-49DB-27D6688D86DD}"/>
                </a:ext>
              </a:extLst>
            </p:cNvPr>
            <p:cNvSpPr/>
            <p:nvPr/>
          </p:nvSpPr>
          <p:spPr>
            <a:xfrm>
              <a:off x="4712025" y="3958685"/>
              <a:ext cx="2683420" cy="1080416"/>
            </a:xfrm>
            <a:prstGeom prst="rect">
              <a:avLst/>
            </a:prstGeom>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fr-FR" sz="1050" b="0" i="0" u="none" strike="noStrike" kern="1200" cap="none" spc="0" normalizeH="0" baseline="0" noProof="0">
                  <a:ln>
                    <a:noFill/>
                  </a:ln>
                  <a:solidFill>
                    <a:prstClr val="black"/>
                  </a:solidFill>
                  <a:effectLst/>
                  <a:uLnTx/>
                  <a:uFillTx/>
                  <a:latin typeface="Ubuntu Medium"/>
                  <a:ea typeface="+mn-ea"/>
                  <a:cs typeface="+mn-cs"/>
                </a:rPr>
                <a:t>Fabriquer et assembler les produits</a:t>
              </a:r>
              <a:endParaRPr kumimoji="0" lang="fr-FR" sz="1050" b="0" i="0" u="none" strike="noStrike" kern="1200" cap="none" spc="0" normalizeH="0" baseline="0" noProof="0">
                <a:ln>
                  <a:noFill/>
                </a:ln>
                <a:solidFill>
                  <a:prstClr val="black"/>
                </a:solidFill>
                <a:effectLst/>
                <a:uLnTx/>
                <a:uFillTx/>
                <a:latin typeface="Ubuntu Medium"/>
                <a:ea typeface="Verdana" panose="020B0604030504040204" pitchFamily="34" charset="0"/>
                <a:cs typeface="Verdana" panose="020B060403050404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fr-FR" sz="1050" b="0" i="0" u="none" strike="noStrike" kern="1200" cap="none" spc="0" normalizeH="0" baseline="0" noProof="0">
                  <a:ln>
                    <a:noFill/>
                  </a:ln>
                  <a:solidFill>
                    <a:prstClr val="black"/>
                  </a:solidFill>
                  <a:effectLst/>
                  <a:uLnTx/>
                  <a:uFillTx/>
                  <a:latin typeface="Ubuntu Medium"/>
                  <a:ea typeface="Verdana" panose="020B0604030504040204" pitchFamily="34" charset="0"/>
                  <a:cs typeface="Verdana" panose="020B0604030504040204" pitchFamily="34" charset="0"/>
                </a:rPr>
                <a:t>Garantir les Qualité / Coûts / Délais</a:t>
              </a:r>
              <a:endParaRPr kumimoji="0" lang="fr-FR" sz="1050" b="0" i="0" u="none" strike="noStrike" kern="1200" cap="none" spc="0" normalizeH="0" baseline="0" noProof="0">
                <a:ln>
                  <a:noFill/>
                </a:ln>
                <a:solidFill>
                  <a:prstClr val="black"/>
                </a:solidFill>
                <a:effectLst/>
                <a:uLnTx/>
                <a:uFillTx/>
                <a:latin typeface="Ubuntu Medium"/>
                <a:ea typeface="+mn-ea"/>
                <a:cs typeface="+mn-cs"/>
              </a:endParaRPr>
            </a:p>
          </p:txBody>
        </p:sp>
        <p:sp>
          <p:nvSpPr>
            <p:cNvPr id="250" name="Rectangle 249">
              <a:extLst>
                <a:ext uri="{FF2B5EF4-FFF2-40B4-BE49-F238E27FC236}">
                  <a16:creationId xmlns:a16="http://schemas.microsoft.com/office/drawing/2014/main" id="{D29AB7A9-BCF4-BFF3-26B9-23464C6C3AFB}"/>
                </a:ext>
              </a:extLst>
            </p:cNvPr>
            <p:cNvSpPr/>
            <p:nvPr/>
          </p:nvSpPr>
          <p:spPr>
            <a:xfrm>
              <a:off x="6992491" y="2386182"/>
              <a:ext cx="2669333" cy="1553098"/>
            </a:xfrm>
            <a:prstGeom prst="rect">
              <a:avLst/>
            </a:prstGeom>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fr-FR" sz="1050" b="0" i="0" u="none" strike="noStrike" kern="1200" cap="none" spc="0" normalizeH="0" baseline="0" noProof="0">
                  <a:ln>
                    <a:noFill/>
                  </a:ln>
                  <a:solidFill>
                    <a:prstClr val="black"/>
                  </a:solidFill>
                  <a:effectLst/>
                  <a:uLnTx/>
                  <a:uFillTx/>
                  <a:latin typeface="Ubuntu Medium"/>
                  <a:ea typeface="+mn-ea"/>
                  <a:cs typeface="+mn-cs"/>
                </a:rPr>
                <a:t>Gérer les réseaux logistiques</a:t>
              </a:r>
            </a:p>
            <a:p>
              <a:pPr marL="171450" marR="0" lvl="0"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fr-FR" sz="1050" b="0" i="0" u="none" strike="noStrike" kern="1200" cap="none" spc="0" normalizeH="0" baseline="0" noProof="0">
                  <a:ln>
                    <a:noFill/>
                  </a:ln>
                  <a:solidFill>
                    <a:prstClr val="black"/>
                  </a:solidFill>
                  <a:effectLst/>
                  <a:uLnTx/>
                  <a:uFillTx/>
                  <a:latin typeface="Ubuntu Medium"/>
                  <a:ea typeface="+mn-ea"/>
                  <a:cs typeface="+mn-cs"/>
                </a:rPr>
                <a:t>Assurer le stockage et la distribution des produits</a:t>
              </a:r>
            </a:p>
            <a:p>
              <a:pPr marL="171450" marR="0" lvl="0"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endParaRPr kumimoji="0" lang="fr-FR" sz="1050" b="0" i="0" u="none" strike="noStrike" kern="1200" cap="none" spc="0" normalizeH="0" baseline="0" noProof="0">
                <a:ln>
                  <a:noFill/>
                </a:ln>
                <a:solidFill>
                  <a:srgbClr val="FFFFFF"/>
                </a:solidFill>
                <a:effectLst/>
                <a:uLnTx/>
                <a:uFillTx/>
                <a:latin typeface="Ubuntu Medium"/>
                <a:ea typeface="+mn-ea"/>
                <a:cs typeface="+mn-cs"/>
              </a:endParaRPr>
            </a:p>
          </p:txBody>
        </p:sp>
        <p:sp>
          <p:nvSpPr>
            <p:cNvPr id="251" name="Rectangle 250">
              <a:extLst>
                <a:ext uri="{FF2B5EF4-FFF2-40B4-BE49-F238E27FC236}">
                  <a16:creationId xmlns:a16="http://schemas.microsoft.com/office/drawing/2014/main" id="{719AF224-3A60-05B6-CCA3-E0B73C5A15D9}"/>
                </a:ext>
              </a:extLst>
            </p:cNvPr>
            <p:cNvSpPr/>
            <p:nvPr/>
          </p:nvSpPr>
          <p:spPr>
            <a:xfrm>
              <a:off x="2400463" y="2551969"/>
              <a:ext cx="2756912" cy="1080416"/>
            </a:xfrm>
            <a:prstGeom prst="rect">
              <a:avLst/>
            </a:prstGeom>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fr-FR" sz="1050" b="0" i="0" u="none" strike="noStrike" kern="1200" cap="none" spc="0" normalizeH="0" baseline="0" noProof="0">
                  <a:ln>
                    <a:noFill/>
                  </a:ln>
                  <a:solidFill>
                    <a:prstClr val="black"/>
                  </a:solidFill>
                  <a:effectLst/>
                  <a:uLnTx/>
                  <a:uFillTx/>
                  <a:latin typeface="Ubuntu Medium"/>
                  <a:ea typeface="+mn-ea"/>
                  <a:cs typeface="+mn-cs"/>
                </a:rPr>
                <a:t>Gérer les processus Achats</a:t>
              </a:r>
            </a:p>
            <a:p>
              <a:pPr marL="285750" marR="0" lvl="0"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fr-FR" sz="1050" b="0" i="0" u="none" strike="noStrike" kern="1200" cap="none" spc="0" normalizeH="0" baseline="0" noProof="0">
                  <a:ln>
                    <a:noFill/>
                  </a:ln>
                  <a:solidFill>
                    <a:prstClr val="black"/>
                  </a:solidFill>
                  <a:effectLst/>
                  <a:uLnTx/>
                  <a:uFillTx/>
                  <a:latin typeface="Ubuntu Medium"/>
                  <a:ea typeface="+mn-ea"/>
                  <a:cs typeface="+mn-cs"/>
                </a:rPr>
                <a:t>Gérer les fournisseurs et les sous-traitants</a:t>
              </a:r>
            </a:p>
          </p:txBody>
        </p:sp>
        <p:sp>
          <p:nvSpPr>
            <p:cNvPr id="252" name="Rectangle 251">
              <a:extLst>
                <a:ext uri="{FF2B5EF4-FFF2-40B4-BE49-F238E27FC236}">
                  <a16:creationId xmlns:a16="http://schemas.microsoft.com/office/drawing/2014/main" id="{8841D7F0-AE98-B749-CFA2-477CBEAB706C}"/>
                </a:ext>
              </a:extLst>
            </p:cNvPr>
            <p:cNvSpPr/>
            <p:nvPr/>
          </p:nvSpPr>
          <p:spPr>
            <a:xfrm>
              <a:off x="9428004" y="3958685"/>
              <a:ext cx="2702465" cy="1316756"/>
            </a:xfrm>
            <a:prstGeom prst="rect">
              <a:avLst/>
            </a:prstGeom>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fr-FR" sz="1050" b="0" i="0" u="none" strike="noStrike" kern="1200" cap="none" spc="0" normalizeH="0" baseline="0" noProof="0">
                  <a:ln>
                    <a:noFill/>
                  </a:ln>
                  <a:solidFill>
                    <a:prstClr val="black"/>
                  </a:solidFill>
                  <a:effectLst/>
                  <a:uLnTx/>
                  <a:uFillTx/>
                  <a:latin typeface="Ubuntu Medium"/>
                  <a:ea typeface="+mn-ea"/>
                  <a:cs typeface="+mn-cs"/>
                </a:rPr>
                <a:t>Garantir le bon déroulé des opérations</a:t>
              </a:r>
            </a:p>
            <a:p>
              <a:pPr marL="171450" marR="0" lvl="0"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fr-FR" sz="1050" b="0" i="0" u="none" strike="noStrike" kern="1200" cap="none" spc="0" normalizeH="0" baseline="0" noProof="0">
                  <a:ln>
                    <a:noFill/>
                  </a:ln>
                  <a:solidFill>
                    <a:prstClr val="black"/>
                  </a:solidFill>
                  <a:effectLst/>
                  <a:uLnTx/>
                  <a:uFillTx/>
                  <a:latin typeface="Ubuntu Medium"/>
                  <a:ea typeface="+mn-ea"/>
                  <a:cs typeface="+mn-cs"/>
                </a:rPr>
                <a:t>Assurer les opérations n’étant pas en lien direct avec le produit</a:t>
              </a:r>
            </a:p>
          </p:txBody>
        </p:sp>
        <p:sp>
          <p:nvSpPr>
            <p:cNvPr id="253" name="Rectangle 252">
              <a:extLst>
                <a:ext uri="{FF2B5EF4-FFF2-40B4-BE49-F238E27FC236}">
                  <a16:creationId xmlns:a16="http://schemas.microsoft.com/office/drawing/2014/main" id="{4E8B7B5E-7F29-CE2E-BE77-1F24610A3762}"/>
                </a:ext>
              </a:extLst>
            </p:cNvPr>
            <p:cNvSpPr/>
            <p:nvPr/>
          </p:nvSpPr>
          <p:spPr>
            <a:xfrm>
              <a:off x="357794" y="3958685"/>
              <a:ext cx="2403998" cy="1316756"/>
            </a:xfrm>
            <a:prstGeom prst="rect">
              <a:avLst/>
            </a:prstGeom>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fr-FR" sz="1050" b="0" i="0" u="none" strike="noStrike" kern="1200" cap="none" spc="0" normalizeH="0" baseline="0" noProof="0">
                  <a:ln>
                    <a:noFill/>
                  </a:ln>
                  <a:solidFill>
                    <a:prstClr val="black"/>
                  </a:solidFill>
                  <a:effectLst/>
                  <a:uLnTx/>
                  <a:uFillTx/>
                  <a:latin typeface="Ubuntu Medium"/>
                  <a:ea typeface="Verdana" panose="020B0604030504040204" pitchFamily="34" charset="0"/>
                  <a:cs typeface="Verdana" panose="020B0604030504040204" pitchFamily="34" charset="0"/>
                </a:rPr>
                <a:t>Développer de nouveaux produits</a:t>
              </a:r>
            </a:p>
            <a:p>
              <a:pPr marL="285750" marR="0" lvl="0"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fr-FR" sz="1050" b="0" i="0" u="none" strike="noStrike" kern="1200" cap="none" spc="0" normalizeH="0" baseline="0" noProof="0">
                  <a:ln>
                    <a:noFill/>
                  </a:ln>
                  <a:solidFill>
                    <a:prstClr val="black"/>
                  </a:solidFill>
                  <a:effectLst/>
                  <a:uLnTx/>
                  <a:uFillTx/>
                  <a:latin typeface="Ubuntu Medium"/>
                  <a:ea typeface="Verdana" panose="020B0604030504040204" pitchFamily="34" charset="0"/>
                  <a:cs typeface="Verdana" panose="020B0604030504040204" pitchFamily="34" charset="0"/>
                </a:rPr>
                <a:t>Concevoir et optimiser le cycle de vie des produits</a:t>
              </a:r>
              <a:endParaRPr kumimoji="0" lang="fr-FR" sz="1050" b="1" i="0" u="none" strike="noStrike" kern="1200" cap="all" spc="0" normalizeH="0" baseline="0" noProof="0">
                <a:ln>
                  <a:noFill/>
                </a:ln>
                <a:solidFill>
                  <a:prstClr val="black"/>
                </a:solidFill>
                <a:effectLst/>
                <a:uLnTx/>
                <a:uFillTx/>
                <a:latin typeface="Ubuntu Medium"/>
                <a:ea typeface="Verdana" panose="020B0604030504040204" pitchFamily="34" charset="0"/>
                <a:cs typeface="Verdana" panose="020B0604030504040204" pitchFamily="34" charset="0"/>
              </a:endParaRPr>
            </a:p>
          </p:txBody>
        </p:sp>
        <p:pic>
          <p:nvPicPr>
            <p:cNvPr id="254" name="Picture 253" descr="A close up of a logo&#10;&#10;Description automatically generated">
              <a:extLst>
                <a:ext uri="{FF2B5EF4-FFF2-40B4-BE49-F238E27FC236}">
                  <a16:creationId xmlns:a16="http://schemas.microsoft.com/office/drawing/2014/main" id="{6BDA9876-18EB-056B-9A1A-8D5F33D57DA1}"/>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160835" y="2607452"/>
              <a:ext cx="797296" cy="797296"/>
            </a:xfrm>
            <a:prstGeom prst="rect">
              <a:avLst/>
            </a:prstGeom>
          </p:spPr>
        </p:pic>
        <p:pic>
          <p:nvPicPr>
            <p:cNvPr id="255" name="Picture 254">
              <a:extLst>
                <a:ext uri="{FF2B5EF4-FFF2-40B4-BE49-F238E27FC236}">
                  <a16:creationId xmlns:a16="http://schemas.microsoft.com/office/drawing/2014/main" id="{6AF73844-4829-5366-87B5-9E95F761A270}"/>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0200456" y="2643692"/>
              <a:ext cx="724815" cy="724815"/>
            </a:xfrm>
            <a:prstGeom prst="rect">
              <a:avLst/>
            </a:prstGeom>
          </p:spPr>
        </p:pic>
      </p:grpSp>
      <p:sp>
        <p:nvSpPr>
          <p:cNvPr id="32" name="TextBox 31">
            <a:extLst>
              <a:ext uri="{FF2B5EF4-FFF2-40B4-BE49-F238E27FC236}">
                <a16:creationId xmlns:a16="http://schemas.microsoft.com/office/drawing/2014/main" id="{A155236A-C8D8-3F34-161F-7380E116E34B}"/>
              </a:ext>
            </a:extLst>
          </p:cNvPr>
          <p:cNvSpPr txBox="1"/>
          <p:nvPr/>
        </p:nvSpPr>
        <p:spPr>
          <a:xfrm>
            <a:off x="0" y="5305838"/>
            <a:ext cx="12192000" cy="1163974"/>
          </a:xfrm>
          <a:prstGeom prst="rect">
            <a:avLst/>
          </a:prstGeom>
          <a:solidFill>
            <a:schemeClr val="accent2">
              <a:lumMod val="50000"/>
            </a:schemeClr>
          </a:solidFill>
        </p:spPr>
        <p:txBody>
          <a:bodyPr wrap="square" lIns="0" r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b="1" i="0" u="none" strike="noStrike" kern="1200" cap="none" spc="0" normalizeH="0" baseline="0" noProof="0">
                <a:ln>
                  <a:noFill/>
                </a:ln>
                <a:solidFill>
                  <a:srgbClr val="FFFFFF"/>
                </a:solidFill>
                <a:effectLst/>
                <a:uLnTx/>
                <a:uFillTx/>
                <a:latin typeface="Ubuntu Medium"/>
                <a:ea typeface="+mn-ea"/>
                <a:cs typeface="+mn-cs"/>
              </a:rPr>
              <a:t>De la conception à la livraison en passant par l’édition des fiches de pai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b="1" i="0" u="none" strike="noStrike" kern="1200" cap="none" spc="0" normalizeH="0" baseline="0" noProof="0">
              <a:ln>
                <a:noFill/>
              </a:ln>
              <a:solidFill>
                <a:srgbClr val="FFFFFF"/>
              </a:solidFill>
              <a:effectLst/>
              <a:uLnTx/>
              <a:uFillTx/>
              <a:latin typeface="Ubuntu Medium"/>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b="1" i="0" u="none" strike="noStrike" kern="1200" cap="none" spc="0" normalizeH="0" baseline="0" noProof="0">
                <a:ln>
                  <a:noFill/>
                </a:ln>
                <a:solidFill>
                  <a:srgbClr val="FFFFFF"/>
                </a:solidFill>
                <a:effectLst/>
                <a:uLnTx/>
                <a:uFillTx/>
                <a:latin typeface="Ubuntu Medium"/>
                <a:ea typeface="+mn-ea"/>
                <a:cs typeface="+mn-cs"/>
              </a:rPr>
              <a:t>…différents métiers assurent les activités de la chaîne de valeur d’une industrie</a:t>
            </a:r>
          </a:p>
        </p:txBody>
      </p:sp>
    </p:spTree>
    <p:extLst>
      <p:ext uri="{BB962C8B-B14F-4D97-AF65-F5344CB8AC3E}">
        <p14:creationId xmlns:p14="http://schemas.microsoft.com/office/powerpoint/2010/main" val="287275110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AFD6551-D384-435C-9060-7DAE459857C1}"/>
              </a:ext>
            </a:extLst>
          </p:cNvPr>
          <p:cNvSpPr/>
          <p:nvPr/>
        </p:nvSpPr>
        <p:spPr>
          <a:xfrm>
            <a:off x="0" y="1232440"/>
            <a:ext cx="12192000" cy="44242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73050" marR="0" lvl="0" indent="-273050" algn="l" defTabSz="914400" rtl="0" eaLnBrk="1" fontAlgn="base" latinLnBrk="0" hangingPunct="1">
              <a:lnSpc>
                <a:spcPct val="100000"/>
              </a:lnSpc>
              <a:spcBef>
                <a:spcPts val="600"/>
              </a:spcBef>
              <a:spcAft>
                <a:spcPct val="0"/>
              </a:spcAft>
              <a:buClr>
                <a:srgbClr val="0070AD"/>
              </a:buClr>
              <a:buSzTx/>
              <a:buFont typeface="Wingdings" panose="05000000000000000000" pitchFamily="2" charset="2"/>
              <a:buChar char="§"/>
              <a:tabLst/>
              <a:defRPr/>
            </a:pPr>
            <a:endParaRPr kumimoji="0" lang="fr-FR" sz="1600" b="0" i="0" u="none" strike="noStrike" kern="1200" cap="none" spc="0" normalizeH="0" baseline="0" noProof="0">
              <a:ln>
                <a:noFill/>
              </a:ln>
              <a:solidFill>
                <a:prstClr val="black"/>
              </a:solidFill>
              <a:effectLst/>
              <a:uLnTx/>
              <a:uFillTx/>
              <a:latin typeface="+mj-lt"/>
              <a:ea typeface="+mn-ea"/>
              <a:cs typeface="+mn-cs"/>
            </a:endParaRPr>
          </a:p>
        </p:txBody>
      </p:sp>
      <p:sp>
        <p:nvSpPr>
          <p:cNvPr id="2" name="Title 1">
            <a:extLst>
              <a:ext uri="{FF2B5EF4-FFF2-40B4-BE49-F238E27FC236}">
                <a16:creationId xmlns:a16="http://schemas.microsoft.com/office/drawing/2014/main" id="{2FFF98E1-27E7-4C87-ACFA-F6B772233047}"/>
              </a:ext>
            </a:extLst>
          </p:cNvPr>
          <p:cNvSpPr>
            <a:spLocks noGrp="1"/>
          </p:cNvSpPr>
          <p:nvPr>
            <p:ph type="title"/>
          </p:nvPr>
        </p:nvSpPr>
        <p:spPr/>
        <p:txBody>
          <a:bodyPr/>
          <a:lstStyle/>
          <a:p>
            <a:pPr>
              <a:lnSpc>
                <a:spcPct val="90000"/>
              </a:lnSpc>
            </a:pPr>
            <a:r>
              <a:rPr lang="fr-FR" altLang="fr-FR" spc="0">
                <a:solidFill>
                  <a:schemeClr val="tx1"/>
                </a:solidFill>
              </a:rPr>
              <a:t>L’optimisation des processus vise l’élimination de toutes les tâches </a:t>
            </a:r>
            <a:r>
              <a:rPr lang="fr-FR" altLang="fr-FR" spc="0" err="1">
                <a:solidFill>
                  <a:schemeClr val="tx1"/>
                </a:solidFill>
              </a:rPr>
              <a:t>n’apportAnt</a:t>
            </a:r>
            <a:r>
              <a:rPr lang="fr-FR" altLang="fr-FR" spc="0">
                <a:solidFill>
                  <a:schemeClr val="tx1"/>
                </a:solidFill>
              </a:rPr>
              <a:t> pas de la valeur ajoutée du point de vue du client</a:t>
            </a:r>
            <a:endParaRPr lang="fr-FR" spc="0">
              <a:solidFill>
                <a:schemeClr val="tx1"/>
              </a:solidFill>
            </a:endParaRPr>
          </a:p>
        </p:txBody>
      </p:sp>
      <p:sp>
        <p:nvSpPr>
          <p:cNvPr id="4" name="Rectangle 3">
            <a:extLst>
              <a:ext uri="{FF2B5EF4-FFF2-40B4-BE49-F238E27FC236}">
                <a16:creationId xmlns:a16="http://schemas.microsoft.com/office/drawing/2014/main" id="{EF4CFF39-29D1-42BA-9546-01499FEF9C07}"/>
              </a:ext>
            </a:extLst>
          </p:cNvPr>
          <p:cNvSpPr/>
          <p:nvPr/>
        </p:nvSpPr>
        <p:spPr bwMode="auto">
          <a:xfrm>
            <a:off x="866312" y="2161176"/>
            <a:ext cx="5029999" cy="4104229"/>
          </a:xfrm>
          <a:prstGeom prst="rect">
            <a:avLst/>
          </a:prstGeom>
          <a:noFill/>
          <a:ln w="28575">
            <a:noFill/>
          </a:ln>
          <a:effectLst/>
        </p:spPr>
        <p:style>
          <a:lnRef idx="2">
            <a:schemeClr val="accent1"/>
          </a:lnRef>
          <a:fillRef idx="1">
            <a:schemeClr val="lt1"/>
          </a:fillRef>
          <a:effectRef idx="0">
            <a:schemeClr val="accent1"/>
          </a:effectRef>
          <a:fontRef idx="minor">
            <a:schemeClr val="dk1"/>
          </a:fontRef>
        </p:style>
        <p:txBody>
          <a:bodyPr lIns="74769" tIns="31646" rIns="74769" bIns="31646" anchor="t"/>
          <a:lstStyle/>
          <a:p>
            <a:pPr marL="0" marR="0" lvl="0" indent="0" algn="just" defTabSz="709803" rtl="0" eaLnBrk="1" fontAlgn="auto" latinLnBrk="0" hangingPunct="1">
              <a:lnSpc>
                <a:spcPct val="100000"/>
              </a:lnSpc>
              <a:spcBef>
                <a:spcPts val="0"/>
              </a:spcBef>
              <a:spcAft>
                <a:spcPts val="600"/>
              </a:spcAft>
              <a:buClrTx/>
              <a:buSzTx/>
              <a:buFontTx/>
              <a:buNone/>
              <a:tabLst/>
              <a:defRPr/>
            </a:pPr>
            <a:r>
              <a:rPr kumimoji="0" lang="fr-FR" sz="1000" b="1" i="0" u="none" strike="noStrike" kern="1200" cap="none" spc="0" normalizeH="0" baseline="0" noProof="0">
                <a:ln>
                  <a:noFill/>
                </a:ln>
                <a:solidFill>
                  <a:prstClr val="black">
                    <a:lumMod val="85000"/>
                    <a:lumOff val="15000"/>
                  </a:prstClr>
                </a:solidFill>
                <a:effectLst/>
                <a:uLnTx/>
                <a:uFillTx/>
                <a:latin typeface="+mj-lt"/>
                <a:ea typeface="+mn-ea"/>
                <a:cs typeface="Arial" pitchFamily="34" charset="0"/>
              </a:rPr>
              <a:t>Valeur Ajoutée (VA) - Activité à valeur ajoutée</a:t>
            </a:r>
            <a:r>
              <a:rPr kumimoji="0" lang="fr-FR" sz="1000" b="0" i="0" u="none" strike="noStrike" kern="1200" cap="none" spc="0" normalizeH="0" baseline="0" noProof="0">
                <a:ln>
                  <a:noFill/>
                </a:ln>
                <a:solidFill>
                  <a:prstClr val="black">
                    <a:lumMod val="85000"/>
                    <a:lumOff val="15000"/>
                  </a:prstClr>
                </a:solidFill>
                <a:effectLst/>
                <a:uLnTx/>
                <a:uFillTx/>
                <a:latin typeface="+mj-lt"/>
                <a:ea typeface="+mn-ea"/>
                <a:cs typeface="Arial" pitchFamily="34" charset="0"/>
              </a:rPr>
              <a:t>, étape essentielle :</a:t>
            </a:r>
          </a:p>
          <a:p>
            <a:pPr marL="250587" marR="0" lvl="0" indent="-130790" algn="just" defTabSz="709803" rtl="0" eaLnBrk="1" fontAlgn="auto" latinLnBrk="0" hangingPunct="1">
              <a:lnSpc>
                <a:spcPct val="100000"/>
              </a:lnSpc>
              <a:spcBef>
                <a:spcPts val="0"/>
              </a:spcBef>
              <a:spcAft>
                <a:spcPts val="600"/>
              </a:spcAft>
              <a:buClr>
                <a:srgbClr val="1F497D"/>
              </a:buClr>
              <a:buSzTx/>
              <a:buFont typeface="Wingdings" pitchFamily="2" charset="2"/>
              <a:buChar char="§"/>
              <a:tabLst/>
              <a:defRPr/>
            </a:pPr>
            <a:r>
              <a:rPr kumimoji="0" lang="fr-FR" sz="1000" b="1" i="0" u="none" strike="noStrike" kern="1200" cap="none" spc="0" normalizeH="0" baseline="0" noProof="0">
                <a:ln>
                  <a:noFill/>
                </a:ln>
                <a:solidFill>
                  <a:prstClr val="black"/>
                </a:solidFill>
                <a:effectLst/>
                <a:uLnTx/>
                <a:uFillTx/>
                <a:latin typeface="+mj-lt"/>
                <a:ea typeface="+mn-ea"/>
                <a:cs typeface="Arial" pitchFamily="34" charset="0"/>
              </a:rPr>
              <a:t>Activité perçue par le client final comme contribuant à la création de la valeur qu’il recherche et pour laquelle il est prêt à payer</a:t>
            </a:r>
          </a:p>
          <a:p>
            <a:pPr marL="250587" marR="0" lvl="0" indent="-130790" algn="just" defTabSz="709803" rtl="0" eaLnBrk="1" fontAlgn="auto" latinLnBrk="0" hangingPunct="1">
              <a:lnSpc>
                <a:spcPct val="100000"/>
              </a:lnSpc>
              <a:spcBef>
                <a:spcPts val="0"/>
              </a:spcBef>
              <a:spcAft>
                <a:spcPts val="600"/>
              </a:spcAft>
              <a:buClr>
                <a:srgbClr val="1F497D"/>
              </a:buClr>
              <a:buSzTx/>
              <a:buFont typeface="Wingdings" pitchFamily="2" charset="2"/>
              <a:buChar char="§"/>
              <a:tabLst/>
              <a:defRPr/>
            </a:pPr>
            <a:r>
              <a:rPr kumimoji="0" lang="fr-FR" sz="1000" b="0" i="0" u="none" strike="noStrike" kern="1200" cap="none" spc="0" normalizeH="0" baseline="0" noProof="0">
                <a:ln>
                  <a:noFill/>
                </a:ln>
                <a:solidFill>
                  <a:prstClr val="black">
                    <a:lumMod val="85000"/>
                    <a:lumOff val="15000"/>
                  </a:prstClr>
                </a:solidFill>
                <a:effectLst/>
                <a:uLnTx/>
                <a:uFillTx/>
                <a:latin typeface="+mj-lt"/>
                <a:ea typeface="+mn-ea"/>
                <a:cs typeface="Arial" pitchFamily="34" charset="0"/>
              </a:rPr>
              <a:t>Transformation physique d’un produit ou d’un service pour le rendre meilleur</a:t>
            </a:r>
          </a:p>
          <a:p>
            <a:pPr marL="250587" marR="0" lvl="0" indent="-130790" algn="just" defTabSz="709803" rtl="0" eaLnBrk="1" fontAlgn="auto" latinLnBrk="0" hangingPunct="1">
              <a:lnSpc>
                <a:spcPct val="100000"/>
              </a:lnSpc>
              <a:spcBef>
                <a:spcPts val="0"/>
              </a:spcBef>
              <a:spcAft>
                <a:spcPts val="1200"/>
              </a:spcAft>
              <a:buClr>
                <a:srgbClr val="1F497D"/>
              </a:buClr>
              <a:buSzTx/>
              <a:buFont typeface="Wingdings" pitchFamily="2" charset="2"/>
              <a:buChar char="§"/>
              <a:tabLst/>
              <a:defRPr/>
            </a:pPr>
            <a:r>
              <a:rPr kumimoji="0" lang="fr-FR" sz="1000" b="0" i="0" u="none" strike="noStrike" kern="1200" cap="none" spc="0" normalizeH="0" baseline="0" noProof="0">
                <a:ln>
                  <a:noFill/>
                </a:ln>
                <a:solidFill>
                  <a:prstClr val="black">
                    <a:lumMod val="85000"/>
                    <a:lumOff val="15000"/>
                  </a:prstClr>
                </a:solidFill>
                <a:effectLst/>
                <a:uLnTx/>
                <a:uFillTx/>
                <a:latin typeface="+mj-lt"/>
                <a:ea typeface="+mn-ea"/>
                <a:cs typeface="Arial" pitchFamily="34" charset="0"/>
              </a:rPr>
              <a:t>Activité réalisée au bon moment du processus</a:t>
            </a:r>
          </a:p>
          <a:p>
            <a:pPr marL="0" marR="0" lvl="0" indent="0" algn="just" defTabSz="709803" rtl="0" eaLnBrk="1" fontAlgn="auto" latinLnBrk="0" hangingPunct="1">
              <a:lnSpc>
                <a:spcPct val="100000"/>
              </a:lnSpc>
              <a:spcBef>
                <a:spcPts val="0"/>
              </a:spcBef>
              <a:spcAft>
                <a:spcPts val="600"/>
              </a:spcAft>
              <a:buClrTx/>
              <a:buSzTx/>
              <a:buFontTx/>
              <a:buNone/>
              <a:tabLst/>
              <a:defRPr/>
            </a:pPr>
            <a:r>
              <a:rPr kumimoji="0" lang="fr-FR" sz="1000" b="1" i="0" u="none" strike="noStrike" kern="1200" cap="none" spc="0" normalizeH="0" baseline="0" noProof="0">
                <a:ln>
                  <a:noFill/>
                </a:ln>
                <a:solidFill>
                  <a:prstClr val="black">
                    <a:lumMod val="85000"/>
                    <a:lumOff val="15000"/>
                  </a:prstClr>
                </a:solidFill>
                <a:effectLst/>
                <a:uLnTx/>
                <a:uFillTx/>
                <a:latin typeface="+mj-lt"/>
                <a:ea typeface="+mn-ea"/>
                <a:cs typeface="Arial" pitchFamily="34" charset="0"/>
              </a:rPr>
              <a:t>Non-Valeur Ajoutée (NVA) – Gaspillage / Muda</a:t>
            </a:r>
            <a:r>
              <a:rPr kumimoji="0" lang="fr-FR" sz="1000" b="0" i="0" u="none" strike="noStrike" kern="1200" cap="none" spc="0" normalizeH="0" baseline="0" noProof="0">
                <a:ln>
                  <a:noFill/>
                </a:ln>
                <a:solidFill>
                  <a:prstClr val="black">
                    <a:lumMod val="85000"/>
                    <a:lumOff val="15000"/>
                  </a:prstClr>
                </a:solidFill>
                <a:effectLst/>
                <a:uLnTx/>
                <a:uFillTx/>
                <a:latin typeface="+mj-lt"/>
                <a:ea typeface="+mn-ea"/>
                <a:cs typeface="Arial" pitchFamily="34" charset="0"/>
              </a:rPr>
              <a:t> :</a:t>
            </a:r>
          </a:p>
          <a:p>
            <a:pPr marL="250587" marR="0" lvl="0" indent="-130790" algn="just" defTabSz="709803" rtl="0" eaLnBrk="1" fontAlgn="auto" latinLnBrk="0" hangingPunct="1">
              <a:lnSpc>
                <a:spcPct val="100000"/>
              </a:lnSpc>
              <a:spcBef>
                <a:spcPts val="0"/>
              </a:spcBef>
              <a:spcAft>
                <a:spcPts val="600"/>
              </a:spcAft>
              <a:buClr>
                <a:srgbClr val="1F497D"/>
              </a:buClr>
              <a:buSzTx/>
              <a:buFont typeface="Wingdings" pitchFamily="2" charset="2"/>
              <a:buChar char="§"/>
              <a:tabLst/>
              <a:defRPr/>
            </a:pPr>
            <a:r>
              <a:rPr kumimoji="0" lang="fr-FR" sz="1000" b="0" i="0" u="none" strike="noStrike" kern="1200" cap="none" spc="0" normalizeH="0" baseline="0" noProof="0">
                <a:ln>
                  <a:noFill/>
                </a:ln>
                <a:solidFill>
                  <a:prstClr val="black">
                    <a:lumMod val="85000"/>
                    <a:lumOff val="15000"/>
                  </a:prstClr>
                </a:solidFill>
                <a:effectLst/>
                <a:uLnTx/>
                <a:uFillTx/>
                <a:latin typeface="+mj-lt"/>
                <a:ea typeface="+mn-ea"/>
                <a:cs typeface="Arial" pitchFamily="34" charset="0"/>
              </a:rPr>
              <a:t>Activité réalisée au mauvais moment du processus</a:t>
            </a:r>
          </a:p>
          <a:p>
            <a:pPr marL="250587" marR="0" lvl="0" indent="-130790" algn="just" defTabSz="709803" rtl="0" eaLnBrk="1" fontAlgn="auto" latinLnBrk="0" hangingPunct="1">
              <a:lnSpc>
                <a:spcPct val="100000"/>
              </a:lnSpc>
              <a:spcBef>
                <a:spcPts val="0"/>
              </a:spcBef>
              <a:spcAft>
                <a:spcPts val="1200"/>
              </a:spcAft>
              <a:buClr>
                <a:srgbClr val="1F497D"/>
              </a:buClr>
              <a:buSzTx/>
              <a:buFont typeface="Wingdings" pitchFamily="2" charset="2"/>
              <a:buChar char="§"/>
              <a:tabLst/>
              <a:defRPr/>
            </a:pPr>
            <a:r>
              <a:rPr kumimoji="0" lang="fr-FR" sz="1000" b="0" i="0" u="none" strike="noStrike" kern="1200" cap="none" spc="0" normalizeH="0" baseline="0" noProof="0">
                <a:ln>
                  <a:noFill/>
                </a:ln>
                <a:solidFill>
                  <a:prstClr val="black">
                    <a:lumMod val="85000"/>
                    <a:lumOff val="15000"/>
                  </a:prstClr>
                </a:solidFill>
                <a:effectLst/>
                <a:uLnTx/>
                <a:uFillTx/>
                <a:latin typeface="+mj-lt"/>
                <a:ea typeface="+mn-ea"/>
                <a:cs typeface="Arial" pitchFamily="34" charset="0"/>
              </a:rPr>
              <a:t>Le client final n’est pas prêt à payer pour cette étape car elle n’est pas considérée comme participant à la valeur finale du produit ou service</a:t>
            </a:r>
          </a:p>
          <a:p>
            <a:pPr marL="0" marR="0" lvl="0" indent="0" algn="just" defTabSz="709803" rtl="0" eaLnBrk="1" fontAlgn="auto" latinLnBrk="0" hangingPunct="1">
              <a:lnSpc>
                <a:spcPct val="100000"/>
              </a:lnSpc>
              <a:spcBef>
                <a:spcPts val="0"/>
              </a:spcBef>
              <a:spcAft>
                <a:spcPts val="600"/>
              </a:spcAft>
              <a:buClrTx/>
              <a:buSzTx/>
              <a:buFontTx/>
              <a:buNone/>
              <a:tabLst/>
              <a:defRPr/>
            </a:pPr>
            <a:r>
              <a:rPr kumimoji="0" lang="fr-FR" sz="1000" b="1" i="0" u="none" strike="noStrike" kern="1200" cap="none" spc="0" normalizeH="0" baseline="0" noProof="0">
                <a:ln>
                  <a:noFill/>
                </a:ln>
                <a:solidFill>
                  <a:prstClr val="black">
                    <a:lumMod val="85000"/>
                    <a:lumOff val="15000"/>
                  </a:prstClr>
                </a:solidFill>
                <a:effectLst/>
                <a:uLnTx/>
                <a:uFillTx/>
                <a:latin typeface="+mj-lt"/>
                <a:ea typeface="+mn-ea"/>
                <a:cs typeface="Arial" pitchFamily="34" charset="0"/>
              </a:rPr>
              <a:t>Non-Valeur Ajoutée Nécessaire (NVAN) - Activité nécessaire, mais non créatrice de valeur</a:t>
            </a:r>
            <a:r>
              <a:rPr kumimoji="0" lang="fr-FR" sz="1000" b="0" i="0" u="none" strike="noStrike" kern="1200" cap="none" spc="0" normalizeH="0" baseline="0" noProof="0">
                <a:ln>
                  <a:noFill/>
                </a:ln>
                <a:solidFill>
                  <a:prstClr val="black">
                    <a:lumMod val="85000"/>
                    <a:lumOff val="15000"/>
                  </a:prstClr>
                </a:solidFill>
                <a:effectLst/>
                <a:uLnTx/>
                <a:uFillTx/>
                <a:latin typeface="+mj-lt"/>
                <a:ea typeface="+mn-ea"/>
                <a:cs typeface="Arial" pitchFamily="34" charset="0"/>
              </a:rPr>
              <a:t> :</a:t>
            </a:r>
          </a:p>
          <a:p>
            <a:pPr marL="250587" marR="0" lvl="0" indent="-130790" algn="just" defTabSz="709803" rtl="0" eaLnBrk="1" fontAlgn="auto" latinLnBrk="0" hangingPunct="1">
              <a:lnSpc>
                <a:spcPct val="100000"/>
              </a:lnSpc>
              <a:spcBef>
                <a:spcPts val="0"/>
              </a:spcBef>
              <a:spcAft>
                <a:spcPts val="600"/>
              </a:spcAft>
              <a:buClr>
                <a:srgbClr val="1F497D"/>
              </a:buClr>
              <a:buSzTx/>
              <a:buFont typeface="Wingdings" pitchFamily="2" charset="2"/>
              <a:buChar char="§"/>
              <a:tabLst/>
              <a:defRPr/>
            </a:pPr>
            <a:r>
              <a:rPr kumimoji="0" lang="fr-FR" sz="1000" b="0" i="0" u="none" strike="noStrike" kern="1200" cap="none" spc="0" normalizeH="0" baseline="0" noProof="0">
                <a:ln>
                  <a:noFill/>
                </a:ln>
                <a:solidFill>
                  <a:prstClr val="black">
                    <a:lumMod val="85000"/>
                    <a:lumOff val="15000"/>
                  </a:prstClr>
                </a:solidFill>
                <a:effectLst/>
                <a:uLnTx/>
                <a:uFillTx/>
                <a:latin typeface="+mj-lt"/>
                <a:ea typeface="+mn-ea"/>
                <a:cs typeface="Arial" pitchFamily="34" charset="0"/>
              </a:rPr>
              <a:t>Mise en conformité avec des réglementations</a:t>
            </a:r>
          </a:p>
          <a:p>
            <a:pPr marL="250587" marR="0" lvl="0" indent="-130790" algn="just" defTabSz="709803" rtl="0" eaLnBrk="1" fontAlgn="auto" latinLnBrk="0" hangingPunct="1">
              <a:lnSpc>
                <a:spcPct val="100000"/>
              </a:lnSpc>
              <a:spcBef>
                <a:spcPts val="0"/>
              </a:spcBef>
              <a:spcAft>
                <a:spcPts val="600"/>
              </a:spcAft>
              <a:buClr>
                <a:srgbClr val="1F497D"/>
              </a:buClr>
              <a:buSzTx/>
              <a:buFont typeface="Wingdings" pitchFamily="2" charset="2"/>
              <a:buChar char="§"/>
              <a:tabLst/>
              <a:defRPr/>
            </a:pPr>
            <a:r>
              <a:rPr kumimoji="0" lang="fr-FR" sz="1000" b="0" i="0" u="none" strike="noStrike" kern="1200" cap="none" spc="0" normalizeH="0" baseline="0" noProof="0">
                <a:ln>
                  <a:noFill/>
                </a:ln>
                <a:solidFill>
                  <a:prstClr val="black">
                    <a:lumMod val="85000"/>
                    <a:lumOff val="15000"/>
                  </a:prstClr>
                </a:solidFill>
                <a:effectLst/>
                <a:uLnTx/>
                <a:uFillTx/>
                <a:latin typeface="+mj-lt"/>
                <a:ea typeface="+mn-ea"/>
                <a:cs typeface="Arial" pitchFamily="34" charset="0"/>
              </a:rPr>
              <a:t>Outil de mesures de performance </a:t>
            </a:r>
          </a:p>
          <a:p>
            <a:pPr marL="250587" marR="0" lvl="0" indent="-130790" algn="just" defTabSz="709803" rtl="0" eaLnBrk="1" fontAlgn="auto" latinLnBrk="0" hangingPunct="1">
              <a:lnSpc>
                <a:spcPct val="100000"/>
              </a:lnSpc>
              <a:spcBef>
                <a:spcPts val="0"/>
              </a:spcBef>
              <a:spcAft>
                <a:spcPts val="600"/>
              </a:spcAft>
              <a:buClr>
                <a:srgbClr val="1F497D"/>
              </a:buClr>
              <a:buSzTx/>
              <a:buFont typeface="Wingdings" pitchFamily="2" charset="2"/>
              <a:buChar char="§"/>
              <a:tabLst/>
              <a:defRPr/>
            </a:pPr>
            <a:r>
              <a:rPr kumimoji="0" lang="fr-FR" sz="1000" b="0" i="0" u="none" strike="noStrike" kern="1200" cap="none" spc="0" normalizeH="0" baseline="0" noProof="0">
                <a:ln>
                  <a:noFill/>
                </a:ln>
                <a:solidFill>
                  <a:prstClr val="black">
                    <a:lumMod val="85000"/>
                    <a:lumOff val="15000"/>
                  </a:prstClr>
                </a:solidFill>
                <a:effectLst/>
                <a:uLnTx/>
                <a:uFillTx/>
                <a:latin typeface="+mj-lt"/>
                <a:ea typeface="+mn-ea"/>
                <a:cs typeface="Arial" pitchFamily="34" charset="0"/>
              </a:rPr>
              <a:t>Outils de réduction des risques, défauts, coûts …</a:t>
            </a:r>
          </a:p>
        </p:txBody>
      </p:sp>
      <p:pic>
        <p:nvPicPr>
          <p:cNvPr id="20" name="Picture 35">
            <a:extLst>
              <a:ext uri="{FF2B5EF4-FFF2-40B4-BE49-F238E27FC236}">
                <a16:creationId xmlns:a16="http://schemas.microsoft.com/office/drawing/2014/main" id="{37132FF1-691D-4167-B734-00D118D43981}"/>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b="12704"/>
          <a:stretch/>
        </p:blipFill>
        <p:spPr bwMode="auto">
          <a:xfrm>
            <a:off x="493538" y="2146727"/>
            <a:ext cx="394376" cy="2949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36">
            <a:extLst>
              <a:ext uri="{FF2B5EF4-FFF2-40B4-BE49-F238E27FC236}">
                <a16:creationId xmlns:a16="http://schemas.microsoft.com/office/drawing/2014/main" id="{57DEC9BE-5596-43BC-881D-0D7F9A4003DE}"/>
              </a:ext>
            </a:extLst>
          </p:cNvPr>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b="16742"/>
          <a:stretch/>
        </p:blipFill>
        <p:spPr bwMode="auto">
          <a:xfrm>
            <a:off x="494195" y="3537147"/>
            <a:ext cx="393062" cy="353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37">
            <a:extLst>
              <a:ext uri="{FF2B5EF4-FFF2-40B4-BE49-F238E27FC236}">
                <a16:creationId xmlns:a16="http://schemas.microsoft.com/office/drawing/2014/main" id="{6BC10D09-31E1-4923-9293-C240CA5087D2}"/>
              </a:ext>
            </a:extLst>
          </p:cNvPr>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t="1" b="12967"/>
          <a:stretch/>
        </p:blipFill>
        <p:spPr bwMode="auto">
          <a:xfrm>
            <a:off x="494195" y="4480998"/>
            <a:ext cx="393062" cy="382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89" name="Group 88">
            <a:extLst>
              <a:ext uri="{FF2B5EF4-FFF2-40B4-BE49-F238E27FC236}">
                <a16:creationId xmlns:a16="http://schemas.microsoft.com/office/drawing/2014/main" id="{B58C8FB2-6941-4E1E-A296-A3A78F5FF1EE}"/>
              </a:ext>
            </a:extLst>
          </p:cNvPr>
          <p:cNvGrpSpPr/>
          <p:nvPr/>
        </p:nvGrpSpPr>
        <p:grpSpPr>
          <a:xfrm>
            <a:off x="6738808" y="2020313"/>
            <a:ext cx="5057399" cy="3416280"/>
            <a:chOff x="7278411" y="1780554"/>
            <a:chExt cx="4398853" cy="2971432"/>
          </a:xfrm>
        </p:grpSpPr>
        <p:sp>
          <p:nvSpPr>
            <p:cNvPr id="5" name="Rectangle 4">
              <a:extLst>
                <a:ext uri="{FF2B5EF4-FFF2-40B4-BE49-F238E27FC236}">
                  <a16:creationId xmlns:a16="http://schemas.microsoft.com/office/drawing/2014/main" id="{3CAD3081-E0A3-4FE8-B410-F27D80BBC94C}"/>
                </a:ext>
              </a:extLst>
            </p:cNvPr>
            <p:cNvSpPr/>
            <p:nvPr/>
          </p:nvSpPr>
          <p:spPr bwMode="auto">
            <a:xfrm>
              <a:off x="7677982" y="1817827"/>
              <a:ext cx="2775095" cy="2934159"/>
            </a:xfrm>
            <a:prstGeom prst="rect">
              <a:avLst/>
            </a:prstGeom>
            <a:no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lIns="24922" tIns="24922" rIns="24922" bIns="24922" anchor="ctr"/>
            <a:lstStyle/>
            <a:p>
              <a:pPr marL="0" marR="0" lvl="0" indent="0" algn="ctr" defTabSz="633035" rtl="0" eaLnBrk="1" fontAlgn="auto" latinLnBrk="0" hangingPunct="1">
                <a:lnSpc>
                  <a:spcPct val="100000"/>
                </a:lnSpc>
                <a:spcBef>
                  <a:spcPct val="50000"/>
                </a:spcBef>
                <a:spcAft>
                  <a:spcPts val="0"/>
                </a:spcAft>
                <a:buClrTx/>
                <a:buSzTx/>
                <a:buFontTx/>
                <a:buNone/>
                <a:tabLst/>
                <a:defRPr/>
              </a:pPr>
              <a:endParaRPr kumimoji="0" lang="fr-FR" sz="800" b="0" i="0" u="none" strike="noStrike" kern="1200" cap="none" spc="0" normalizeH="0" baseline="0" noProof="1">
                <a:ln>
                  <a:noFill/>
                </a:ln>
                <a:solidFill>
                  <a:prstClr val="white"/>
                </a:solidFill>
                <a:effectLst/>
                <a:uLnTx/>
                <a:uFillTx/>
                <a:latin typeface="+mj-lt"/>
                <a:ea typeface="ヒラギノ角ゴ Pro W3" pitchFamily="20" charset="-128"/>
                <a:cs typeface="Arial" charset="0"/>
              </a:endParaRPr>
            </a:p>
          </p:txBody>
        </p:sp>
        <p:cxnSp>
          <p:nvCxnSpPr>
            <p:cNvPr id="26" name="Straight Arrow Connector 685">
              <a:extLst>
                <a:ext uri="{FF2B5EF4-FFF2-40B4-BE49-F238E27FC236}">
                  <a16:creationId xmlns:a16="http://schemas.microsoft.com/office/drawing/2014/main" id="{477AABB5-CCE8-4278-A031-10F075918300}"/>
                </a:ext>
              </a:extLst>
            </p:cNvPr>
            <p:cNvCxnSpPr>
              <a:cxnSpLocks noChangeShapeType="1"/>
            </p:cNvCxnSpPr>
            <p:nvPr/>
          </p:nvCxnSpPr>
          <p:spPr bwMode="auto">
            <a:xfrm>
              <a:off x="9828571" y="3479469"/>
              <a:ext cx="570722" cy="0"/>
            </a:xfrm>
            <a:prstGeom prst="straightConnector1">
              <a:avLst/>
            </a:prstGeom>
            <a:noFill/>
            <a:ln w="31750" algn="ctr">
              <a:solidFill>
                <a:srgbClr val="FFC000"/>
              </a:solidFill>
              <a:round/>
              <a:headEnd/>
              <a:tailEnd type="triangle" w="med" len="med"/>
            </a:ln>
            <a:extLst>
              <a:ext uri="{909E8E84-426E-40DD-AFC4-6F175D3DCCD1}">
                <a14:hiddenFill xmlns:a14="http://schemas.microsoft.com/office/drawing/2010/main">
                  <a:noFill/>
                </a14:hiddenFill>
              </a:ext>
            </a:extLst>
          </p:spPr>
        </p:cxnSp>
        <p:cxnSp>
          <p:nvCxnSpPr>
            <p:cNvPr id="27" name="Straight Arrow Connector 686">
              <a:extLst>
                <a:ext uri="{FF2B5EF4-FFF2-40B4-BE49-F238E27FC236}">
                  <a16:creationId xmlns:a16="http://schemas.microsoft.com/office/drawing/2014/main" id="{98145A0E-D089-4371-B6F1-EA42A01B1E34}"/>
                </a:ext>
              </a:extLst>
            </p:cNvPr>
            <p:cNvCxnSpPr>
              <a:cxnSpLocks noChangeShapeType="1"/>
            </p:cNvCxnSpPr>
            <p:nvPr/>
          </p:nvCxnSpPr>
          <p:spPr bwMode="auto">
            <a:xfrm flipV="1">
              <a:off x="9668474" y="3181072"/>
              <a:ext cx="730821" cy="0"/>
            </a:xfrm>
            <a:prstGeom prst="straightConnector1">
              <a:avLst/>
            </a:prstGeom>
            <a:noFill/>
            <a:ln w="31750" algn="ctr">
              <a:solidFill>
                <a:srgbClr val="FFC000"/>
              </a:solidFill>
              <a:round/>
              <a:headEnd/>
              <a:tailEnd type="triangle" w="med" len="med"/>
            </a:ln>
            <a:extLst>
              <a:ext uri="{909E8E84-426E-40DD-AFC4-6F175D3DCCD1}">
                <a14:hiddenFill xmlns:a14="http://schemas.microsoft.com/office/drawing/2010/main">
                  <a:noFill/>
                </a14:hiddenFill>
              </a:ext>
            </a:extLst>
          </p:spPr>
        </p:cxnSp>
        <p:cxnSp>
          <p:nvCxnSpPr>
            <p:cNvPr id="28" name="Straight Arrow Connector 694">
              <a:extLst>
                <a:ext uri="{FF2B5EF4-FFF2-40B4-BE49-F238E27FC236}">
                  <a16:creationId xmlns:a16="http://schemas.microsoft.com/office/drawing/2014/main" id="{651B664B-F879-43DB-9504-8309F9A97537}"/>
                </a:ext>
              </a:extLst>
            </p:cNvPr>
            <p:cNvCxnSpPr>
              <a:cxnSpLocks noChangeShapeType="1"/>
            </p:cNvCxnSpPr>
            <p:nvPr/>
          </p:nvCxnSpPr>
          <p:spPr bwMode="auto">
            <a:xfrm>
              <a:off x="9976812" y="3943985"/>
              <a:ext cx="422483" cy="0"/>
            </a:xfrm>
            <a:prstGeom prst="straightConnector1">
              <a:avLst/>
            </a:prstGeom>
            <a:noFill/>
            <a:ln w="31750" algn="ctr">
              <a:solidFill>
                <a:srgbClr val="FFC000"/>
              </a:solidFill>
              <a:round/>
              <a:headEnd/>
              <a:tailEnd type="triangle" w="med" len="med"/>
            </a:ln>
            <a:extLst>
              <a:ext uri="{909E8E84-426E-40DD-AFC4-6F175D3DCCD1}">
                <a14:hiddenFill xmlns:a14="http://schemas.microsoft.com/office/drawing/2010/main">
                  <a:noFill/>
                </a14:hiddenFill>
              </a:ext>
            </a:extLst>
          </p:spPr>
        </p:cxnSp>
        <p:cxnSp>
          <p:nvCxnSpPr>
            <p:cNvPr id="29" name="Straight Arrow Connector 697">
              <a:extLst>
                <a:ext uri="{FF2B5EF4-FFF2-40B4-BE49-F238E27FC236}">
                  <a16:creationId xmlns:a16="http://schemas.microsoft.com/office/drawing/2014/main" id="{CA84AC4D-1F9B-4B0F-9D5A-6A7B57E5DBA3}"/>
                </a:ext>
              </a:extLst>
            </p:cNvPr>
            <p:cNvCxnSpPr>
              <a:cxnSpLocks noChangeShapeType="1"/>
            </p:cNvCxnSpPr>
            <p:nvPr/>
          </p:nvCxnSpPr>
          <p:spPr bwMode="auto">
            <a:xfrm>
              <a:off x="9472797" y="4440802"/>
              <a:ext cx="926497" cy="0"/>
            </a:xfrm>
            <a:prstGeom prst="straightConnector1">
              <a:avLst/>
            </a:prstGeom>
            <a:noFill/>
            <a:ln w="31750" algn="ctr">
              <a:solidFill>
                <a:srgbClr val="FFC000"/>
              </a:solidFill>
              <a:round/>
              <a:headEnd/>
              <a:tailEnd type="triangle" w="med" len="med"/>
            </a:ln>
            <a:extLst>
              <a:ext uri="{909E8E84-426E-40DD-AFC4-6F175D3DCCD1}">
                <a14:hiddenFill xmlns:a14="http://schemas.microsoft.com/office/drawing/2010/main">
                  <a:noFill/>
                </a14:hiddenFill>
              </a:ext>
            </a:extLst>
          </p:spPr>
        </p:cxnSp>
        <p:grpSp>
          <p:nvGrpSpPr>
            <p:cNvPr id="30" name="Group 656">
              <a:extLst>
                <a:ext uri="{FF2B5EF4-FFF2-40B4-BE49-F238E27FC236}">
                  <a16:creationId xmlns:a16="http://schemas.microsoft.com/office/drawing/2014/main" id="{08718877-FEBD-4C92-862F-77D1C10C5875}"/>
                </a:ext>
              </a:extLst>
            </p:cNvPr>
            <p:cNvGrpSpPr>
              <a:grpSpLocks/>
            </p:cNvGrpSpPr>
            <p:nvPr/>
          </p:nvGrpSpPr>
          <p:grpSpPr bwMode="auto">
            <a:xfrm rot="2245808">
              <a:off x="9580132" y="2367599"/>
              <a:ext cx="424810" cy="696300"/>
              <a:chOff x="4341" y="1448"/>
              <a:chExt cx="457" cy="654"/>
            </a:xfrm>
            <a:solidFill>
              <a:srgbClr val="FFC000"/>
            </a:solidFill>
          </p:grpSpPr>
          <p:sp>
            <p:nvSpPr>
              <p:cNvPr id="61" name="Freeform 654">
                <a:extLst>
                  <a:ext uri="{FF2B5EF4-FFF2-40B4-BE49-F238E27FC236}">
                    <a16:creationId xmlns:a16="http://schemas.microsoft.com/office/drawing/2014/main" id="{061C2EE9-5155-4170-B679-9C00CDF89314}"/>
                  </a:ext>
                </a:extLst>
              </p:cNvPr>
              <p:cNvSpPr>
                <a:spLocks noEditPoints="1"/>
              </p:cNvSpPr>
              <p:nvPr/>
            </p:nvSpPr>
            <p:spPr bwMode="auto">
              <a:xfrm>
                <a:off x="4345" y="1459"/>
                <a:ext cx="453" cy="643"/>
              </a:xfrm>
              <a:custGeom>
                <a:avLst/>
                <a:gdLst/>
                <a:ahLst/>
                <a:cxnLst>
                  <a:cxn ang="0">
                    <a:pos x="141" y="0"/>
                  </a:cxn>
                  <a:cxn ang="0">
                    <a:pos x="421" y="8"/>
                  </a:cxn>
                  <a:cxn ang="0">
                    <a:pos x="700" y="32"/>
                  </a:cxn>
                  <a:cxn ang="0">
                    <a:pos x="974" y="73"/>
                  </a:cxn>
                  <a:cxn ang="0">
                    <a:pos x="1244" y="129"/>
                  </a:cxn>
                  <a:cxn ang="0">
                    <a:pos x="1509" y="201"/>
                  </a:cxn>
                  <a:cxn ang="0">
                    <a:pos x="1769" y="287"/>
                  </a:cxn>
                  <a:cxn ang="0">
                    <a:pos x="2023" y="387"/>
                  </a:cxn>
                  <a:cxn ang="0">
                    <a:pos x="2272" y="502"/>
                  </a:cxn>
                  <a:cxn ang="0">
                    <a:pos x="2514" y="629"/>
                  </a:cxn>
                  <a:cxn ang="0">
                    <a:pos x="2750" y="771"/>
                  </a:cxn>
                  <a:cxn ang="0">
                    <a:pos x="2978" y="924"/>
                  </a:cxn>
                  <a:cxn ang="0">
                    <a:pos x="3200" y="1090"/>
                  </a:cxn>
                  <a:cxn ang="0">
                    <a:pos x="3619" y="1456"/>
                  </a:cxn>
                  <a:cxn ang="0">
                    <a:pos x="4006" y="1866"/>
                  </a:cxn>
                  <a:cxn ang="0">
                    <a:pos x="4357" y="2318"/>
                  </a:cxn>
                  <a:cxn ang="0">
                    <a:pos x="4670" y="2807"/>
                  </a:cxn>
                  <a:cxn ang="0">
                    <a:pos x="4943" y="3331"/>
                  </a:cxn>
                  <a:cxn ang="0">
                    <a:pos x="5171" y="3885"/>
                  </a:cxn>
                  <a:cxn ang="0">
                    <a:pos x="5354" y="4468"/>
                  </a:cxn>
                  <a:cxn ang="0">
                    <a:pos x="5427" y="4770"/>
                  </a:cxn>
                  <a:cxn ang="0">
                    <a:pos x="5488" y="5077"/>
                  </a:cxn>
                  <a:cxn ang="0">
                    <a:pos x="5535" y="5389"/>
                  </a:cxn>
                  <a:cxn ang="0">
                    <a:pos x="5570" y="5706"/>
                  </a:cxn>
                  <a:cxn ang="0">
                    <a:pos x="5591" y="6028"/>
                  </a:cxn>
                  <a:cxn ang="0">
                    <a:pos x="5597" y="6354"/>
                  </a:cxn>
                  <a:cxn ang="0">
                    <a:pos x="5586" y="6811"/>
                  </a:cxn>
                  <a:cxn ang="0">
                    <a:pos x="5543" y="7264"/>
                  </a:cxn>
                  <a:cxn ang="0">
                    <a:pos x="5380" y="7471"/>
                  </a:cxn>
                  <a:cxn ang="0">
                    <a:pos x="5278" y="7235"/>
                  </a:cxn>
                  <a:cxn ang="0">
                    <a:pos x="5319" y="6798"/>
                  </a:cxn>
                  <a:cxn ang="0">
                    <a:pos x="5331" y="6356"/>
                  </a:cxn>
                  <a:cxn ang="0">
                    <a:pos x="5324" y="6042"/>
                  </a:cxn>
                  <a:cxn ang="0">
                    <a:pos x="5304" y="5732"/>
                  </a:cxn>
                  <a:cxn ang="0">
                    <a:pos x="5271" y="5426"/>
                  </a:cxn>
                  <a:cxn ang="0">
                    <a:pos x="5225" y="5125"/>
                  </a:cxn>
                  <a:cxn ang="0">
                    <a:pos x="5168" y="4830"/>
                  </a:cxn>
                  <a:cxn ang="0">
                    <a:pos x="5098" y="4542"/>
                  </a:cxn>
                  <a:cxn ang="0">
                    <a:pos x="4923" y="3981"/>
                  </a:cxn>
                  <a:cxn ang="0">
                    <a:pos x="4703" y="3448"/>
                  </a:cxn>
                  <a:cxn ang="0">
                    <a:pos x="4443" y="2946"/>
                  </a:cxn>
                  <a:cxn ang="0">
                    <a:pos x="4143" y="2477"/>
                  </a:cxn>
                  <a:cxn ang="0">
                    <a:pos x="3807" y="2045"/>
                  </a:cxn>
                  <a:cxn ang="0">
                    <a:pos x="3438" y="1652"/>
                  </a:cxn>
                  <a:cxn ang="0">
                    <a:pos x="3037" y="1301"/>
                  </a:cxn>
                  <a:cxn ang="0">
                    <a:pos x="2827" y="1144"/>
                  </a:cxn>
                  <a:cxn ang="0">
                    <a:pos x="2609" y="997"/>
                  </a:cxn>
                  <a:cxn ang="0">
                    <a:pos x="2386" y="863"/>
                  </a:cxn>
                  <a:cxn ang="0">
                    <a:pos x="2156" y="742"/>
                  </a:cxn>
                  <a:cxn ang="0">
                    <a:pos x="1922" y="634"/>
                  </a:cxn>
                  <a:cxn ang="0">
                    <a:pos x="1681" y="539"/>
                  </a:cxn>
                  <a:cxn ang="0">
                    <a:pos x="1436" y="457"/>
                  </a:cxn>
                  <a:cxn ang="0">
                    <a:pos x="1185" y="390"/>
                  </a:cxn>
                  <a:cxn ang="0">
                    <a:pos x="931" y="336"/>
                  </a:cxn>
                  <a:cxn ang="0">
                    <a:pos x="672" y="298"/>
                  </a:cxn>
                  <a:cxn ang="0">
                    <a:pos x="410" y="274"/>
                  </a:cxn>
                  <a:cxn ang="0">
                    <a:pos x="141" y="266"/>
                  </a:cxn>
                  <a:cxn ang="0">
                    <a:pos x="0" y="133"/>
                  </a:cxn>
                  <a:cxn ang="0">
                    <a:pos x="5398" y="7339"/>
                  </a:cxn>
                  <a:cxn ang="0">
                    <a:pos x="5247" y="8124"/>
                  </a:cxn>
                  <a:cxn ang="0">
                    <a:pos x="5398" y="7339"/>
                  </a:cxn>
                </a:cxnLst>
                <a:rect l="0" t="0" r="r" b="b"/>
                <a:pathLst>
                  <a:path w="5892" h="8124">
                    <a:moveTo>
                      <a:pt x="133" y="0"/>
                    </a:moveTo>
                    <a:lnTo>
                      <a:pt x="141" y="0"/>
                    </a:lnTo>
                    <a:lnTo>
                      <a:pt x="281" y="2"/>
                    </a:lnTo>
                    <a:lnTo>
                      <a:pt x="421" y="8"/>
                    </a:lnTo>
                    <a:lnTo>
                      <a:pt x="561" y="18"/>
                    </a:lnTo>
                    <a:lnTo>
                      <a:pt x="700" y="32"/>
                    </a:lnTo>
                    <a:lnTo>
                      <a:pt x="837" y="51"/>
                    </a:lnTo>
                    <a:lnTo>
                      <a:pt x="974" y="73"/>
                    </a:lnTo>
                    <a:lnTo>
                      <a:pt x="1109" y="99"/>
                    </a:lnTo>
                    <a:lnTo>
                      <a:pt x="1244" y="129"/>
                    </a:lnTo>
                    <a:lnTo>
                      <a:pt x="1377" y="163"/>
                    </a:lnTo>
                    <a:lnTo>
                      <a:pt x="1509" y="201"/>
                    </a:lnTo>
                    <a:lnTo>
                      <a:pt x="1640" y="242"/>
                    </a:lnTo>
                    <a:lnTo>
                      <a:pt x="1769" y="287"/>
                    </a:lnTo>
                    <a:lnTo>
                      <a:pt x="1897" y="335"/>
                    </a:lnTo>
                    <a:lnTo>
                      <a:pt x="2023" y="387"/>
                    </a:lnTo>
                    <a:lnTo>
                      <a:pt x="2148" y="443"/>
                    </a:lnTo>
                    <a:lnTo>
                      <a:pt x="2272" y="502"/>
                    </a:lnTo>
                    <a:lnTo>
                      <a:pt x="2393" y="564"/>
                    </a:lnTo>
                    <a:lnTo>
                      <a:pt x="2514" y="629"/>
                    </a:lnTo>
                    <a:lnTo>
                      <a:pt x="2632" y="698"/>
                    </a:lnTo>
                    <a:lnTo>
                      <a:pt x="2750" y="771"/>
                    </a:lnTo>
                    <a:lnTo>
                      <a:pt x="2865" y="846"/>
                    </a:lnTo>
                    <a:lnTo>
                      <a:pt x="2978" y="924"/>
                    </a:lnTo>
                    <a:lnTo>
                      <a:pt x="3090" y="1006"/>
                    </a:lnTo>
                    <a:lnTo>
                      <a:pt x="3200" y="1090"/>
                    </a:lnTo>
                    <a:lnTo>
                      <a:pt x="3413" y="1266"/>
                    </a:lnTo>
                    <a:lnTo>
                      <a:pt x="3619" y="1456"/>
                    </a:lnTo>
                    <a:lnTo>
                      <a:pt x="3816" y="1656"/>
                    </a:lnTo>
                    <a:lnTo>
                      <a:pt x="4006" y="1866"/>
                    </a:lnTo>
                    <a:lnTo>
                      <a:pt x="4186" y="2087"/>
                    </a:lnTo>
                    <a:lnTo>
                      <a:pt x="4357" y="2318"/>
                    </a:lnTo>
                    <a:lnTo>
                      <a:pt x="4519" y="2558"/>
                    </a:lnTo>
                    <a:lnTo>
                      <a:pt x="4670" y="2807"/>
                    </a:lnTo>
                    <a:lnTo>
                      <a:pt x="4812" y="3065"/>
                    </a:lnTo>
                    <a:lnTo>
                      <a:pt x="4943" y="3331"/>
                    </a:lnTo>
                    <a:lnTo>
                      <a:pt x="5063" y="3604"/>
                    </a:lnTo>
                    <a:lnTo>
                      <a:pt x="5171" y="3885"/>
                    </a:lnTo>
                    <a:lnTo>
                      <a:pt x="5269" y="4173"/>
                    </a:lnTo>
                    <a:lnTo>
                      <a:pt x="5354" y="4468"/>
                    </a:lnTo>
                    <a:lnTo>
                      <a:pt x="5392" y="4619"/>
                    </a:lnTo>
                    <a:lnTo>
                      <a:pt x="5427" y="4770"/>
                    </a:lnTo>
                    <a:lnTo>
                      <a:pt x="5459" y="4923"/>
                    </a:lnTo>
                    <a:lnTo>
                      <a:pt x="5488" y="5077"/>
                    </a:lnTo>
                    <a:lnTo>
                      <a:pt x="5513" y="5232"/>
                    </a:lnTo>
                    <a:lnTo>
                      <a:pt x="5535" y="5389"/>
                    </a:lnTo>
                    <a:lnTo>
                      <a:pt x="5554" y="5547"/>
                    </a:lnTo>
                    <a:lnTo>
                      <a:pt x="5570" y="5706"/>
                    </a:lnTo>
                    <a:lnTo>
                      <a:pt x="5582" y="5866"/>
                    </a:lnTo>
                    <a:lnTo>
                      <a:pt x="5591" y="6028"/>
                    </a:lnTo>
                    <a:lnTo>
                      <a:pt x="5596" y="6190"/>
                    </a:lnTo>
                    <a:lnTo>
                      <a:pt x="5597" y="6354"/>
                    </a:lnTo>
                    <a:lnTo>
                      <a:pt x="5596" y="6581"/>
                    </a:lnTo>
                    <a:lnTo>
                      <a:pt x="5586" y="6811"/>
                    </a:lnTo>
                    <a:lnTo>
                      <a:pt x="5568" y="7038"/>
                    </a:lnTo>
                    <a:lnTo>
                      <a:pt x="5543" y="7264"/>
                    </a:lnTo>
                    <a:lnTo>
                      <a:pt x="5530" y="7357"/>
                    </a:lnTo>
                    <a:cubicBezTo>
                      <a:pt x="5520" y="7430"/>
                      <a:pt x="5453" y="7481"/>
                      <a:pt x="5380" y="7471"/>
                    </a:cubicBezTo>
                    <a:cubicBezTo>
                      <a:pt x="5307" y="7461"/>
                      <a:pt x="5256" y="7393"/>
                      <a:pt x="5266" y="7320"/>
                    </a:cubicBezTo>
                    <a:lnTo>
                      <a:pt x="5278" y="7235"/>
                    </a:lnTo>
                    <a:lnTo>
                      <a:pt x="5303" y="7017"/>
                    </a:lnTo>
                    <a:lnTo>
                      <a:pt x="5319" y="6798"/>
                    </a:lnTo>
                    <a:lnTo>
                      <a:pt x="5330" y="6580"/>
                    </a:lnTo>
                    <a:lnTo>
                      <a:pt x="5331" y="6356"/>
                    </a:lnTo>
                    <a:lnTo>
                      <a:pt x="5329" y="6199"/>
                    </a:lnTo>
                    <a:lnTo>
                      <a:pt x="5324" y="6042"/>
                    </a:lnTo>
                    <a:lnTo>
                      <a:pt x="5316" y="5887"/>
                    </a:lnTo>
                    <a:lnTo>
                      <a:pt x="5304" y="5732"/>
                    </a:lnTo>
                    <a:lnTo>
                      <a:pt x="5290" y="5578"/>
                    </a:lnTo>
                    <a:lnTo>
                      <a:pt x="5271" y="5426"/>
                    </a:lnTo>
                    <a:lnTo>
                      <a:pt x="5250" y="5275"/>
                    </a:lnTo>
                    <a:lnTo>
                      <a:pt x="5225" y="5125"/>
                    </a:lnTo>
                    <a:lnTo>
                      <a:pt x="5198" y="4977"/>
                    </a:lnTo>
                    <a:lnTo>
                      <a:pt x="5168" y="4830"/>
                    </a:lnTo>
                    <a:lnTo>
                      <a:pt x="5134" y="4685"/>
                    </a:lnTo>
                    <a:lnTo>
                      <a:pt x="5098" y="4542"/>
                    </a:lnTo>
                    <a:lnTo>
                      <a:pt x="5016" y="4259"/>
                    </a:lnTo>
                    <a:lnTo>
                      <a:pt x="4923" y="3981"/>
                    </a:lnTo>
                    <a:lnTo>
                      <a:pt x="4818" y="3711"/>
                    </a:lnTo>
                    <a:lnTo>
                      <a:pt x="4703" y="3448"/>
                    </a:lnTo>
                    <a:lnTo>
                      <a:pt x="4578" y="3193"/>
                    </a:lnTo>
                    <a:lnTo>
                      <a:pt x="4443" y="2946"/>
                    </a:lnTo>
                    <a:lnTo>
                      <a:pt x="4297" y="2707"/>
                    </a:lnTo>
                    <a:lnTo>
                      <a:pt x="4143" y="2477"/>
                    </a:lnTo>
                    <a:lnTo>
                      <a:pt x="3980" y="2256"/>
                    </a:lnTo>
                    <a:lnTo>
                      <a:pt x="3807" y="2045"/>
                    </a:lnTo>
                    <a:lnTo>
                      <a:pt x="3627" y="1843"/>
                    </a:lnTo>
                    <a:lnTo>
                      <a:pt x="3438" y="1652"/>
                    </a:lnTo>
                    <a:lnTo>
                      <a:pt x="3242" y="1472"/>
                    </a:lnTo>
                    <a:lnTo>
                      <a:pt x="3037" y="1301"/>
                    </a:lnTo>
                    <a:lnTo>
                      <a:pt x="2933" y="1221"/>
                    </a:lnTo>
                    <a:lnTo>
                      <a:pt x="2827" y="1144"/>
                    </a:lnTo>
                    <a:lnTo>
                      <a:pt x="2719" y="1069"/>
                    </a:lnTo>
                    <a:lnTo>
                      <a:pt x="2609" y="997"/>
                    </a:lnTo>
                    <a:lnTo>
                      <a:pt x="2499" y="929"/>
                    </a:lnTo>
                    <a:lnTo>
                      <a:pt x="2386" y="863"/>
                    </a:lnTo>
                    <a:lnTo>
                      <a:pt x="2273" y="801"/>
                    </a:lnTo>
                    <a:lnTo>
                      <a:pt x="2156" y="742"/>
                    </a:lnTo>
                    <a:lnTo>
                      <a:pt x="2040" y="686"/>
                    </a:lnTo>
                    <a:lnTo>
                      <a:pt x="1922" y="634"/>
                    </a:lnTo>
                    <a:lnTo>
                      <a:pt x="1802" y="585"/>
                    </a:lnTo>
                    <a:lnTo>
                      <a:pt x="1681" y="539"/>
                    </a:lnTo>
                    <a:lnTo>
                      <a:pt x="1559" y="496"/>
                    </a:lnTo>
                    <a:lnTo>
                      <a:pt x="1436" y="457"/>
                    </a:lnTo>
                    <a:lnTo>
                      <a:pt x="1311" y="422"/>
                    </a:lnTo>
                    <a:lnTo>
                      <a:pt x="1185" y="390"/>
                    </a:lnTo>
                    <a:lnTo>
                      <a:pt x="1059" y="361"/>
                    </a:lnTo>
                    <a:lnTo>
                      <a:pt x="931" y="336"/>
                    </a:lnTo>
                    <a:lnTo>
                      <a:pt x="802" y="315"/>
                    </a:lnTo>
                    <a:lnTo>
                      <a:pt x="672" y="298"/>
                    </a:lnTo>
                    <a:lnTo>
                      <a:pt x="541" y="284"/>
                    </a:lnTo>
                    <a:lnTo>
                      <a:pt x="410" y="274"/>
                    </a:lnTo>
                    <a:lnTo>
                      <a:pt x="277" y="268"/>
                    </a:lnTo>
                    <a:lnTo>
                      <a:pt x="141" y="266"/>
                    </a:lnTo>
                    <a:lnTo>
                      <a:pt x="133" y="266"/>
                    </a:lnTo>
                    <a:cubicBezTo>
                      <a:pt x="59" y="266"/>
                      <a:pt x="0" y="207"/>
                      <a:pt x="0" y="133"/>
                    </a:cubicBezTo>
                    <a:cubicBezTo>
                      <a:pt x="0" y="59"/>
                      <a:pt x="59" y="0"/>
                      <a:pt x="133" y="0"/>
                    </a:cubicBezTo>
                    <a:close/>
                    <a:moveTo>
                      <a:pt x="5398" y="7339"/>
                    </a:moveTo>
                    <a:lnTo>
                      <a:pt x="5892" y="6891"/>
                    </a:lnTo>
                    <a:lnTo>
                      <a:pt x="5247" y="8124"/>
                    </a:lnTo>
                    <a:lnTo>
                      <a:pt x="5107" y="6740"/>
                    </a:lnTo>
                    <a:lnTo>
                      <a:pt x="5398" y="7339"/>
                    </a:lnTo>
                    <a:close/>
                  </a:path>
                </a:pathLst>
              </a:custGeom>
              <a:grpFill/>
              <a:ln w="1" cap="flat">
                <a:solidFill>
                  <a:srgbClr val="FFC000"/>
                </a:solidFill>
                <a:prstDash val="solid"/>
                <a:bevel/>
                <a:headEnd/>
                <a:tailEnd/>
              </a:ln>
            </p:spPr>
            <p:txBody>
              <a:bodyPr/>
              <a:lstStyle/>
              <a:p>
                <a:pPr marL="0" marR="0" lvl="0" indent="0" algn="l" defTabSz="709803" rtl="0" eaLnBrk="1" fontAlgn="auto" latinLnBrk="0" hangingPunct="1">
                  <a:lnSpc>
                    <a:spcPct val="100000"/>
                  </a:lnSpc>
                  <a:spcBef>
                    <a:spcPts val="0"/>
                  </a:spcBef>
                  <a:spcAft>
                    <a:spcPts val="0"/>
                  </a:spcAft>
                  <a:buClrTx/>
                  <a:buSzTx/>
                  <a:buFontTx/>
                  <a:buNone/>
                  <a:tabLst/>
                  <a:defRPr/>
                </a:pPr>
                <a:endParaRPr kumimoji="0" lang="fr-FR" sz="700" b="0" i="0" u="none" strike="noStrike" kern="1200" cap="none" spc="0" normalizeH="0" baseline="0" noProof="0">
                  <a:ln>
                    <a:noFill/>
                  </a:ln>
                  <a:solidFill>
                    <a:prstClr val="black">
                      <a:lumMod val="65000"/>
                      <a:lumOff val="35000"/>
                    </a:prstClr>
                  </a:solidFill>
                  <a:effectLst/>
                  <a:uLnTx/>
                  <a:uFillTx/>
                  <a:latin typeface="+mj-lt"/>
                  <a:ea typeface="+mn-ea"/>
                  <a:cs typeface="Arial" charset="0"/>
                </a:endParaRPr>
              </a:p>
            </p:txBody>
          </p:sp>
          <p:sp>
            <p:nvSpPr>
              <p:cNvPr id="62" name="Freeform 655">
                <a:extLst>
                  <a:ext uri="{FF2B5EF4-FFF2-40B4-BE49-F238E27FC236}">
                    <a16:creationId xmlns:a16="http://schemas.microsoft.com/office/drawing/2014/main" id="{898DF485-8FA9-4EBB-B5F3-0385B474ED76}"/>
                  </a:ext>
                </a:extLst>
              </p:cNvPr>
              <p:cNvSpPr>
                <a:spLocks noEditPoints="1"/>
              </p:cNvSpPr>
              <p:nvPr/>
            </p:nvSpPr>
            <p:spPr bwMode="auto">
              <a:xfrm>
                <a:off x="4341" y="1448"/>
                <a:ext cx="453" cy="641"/>
              </a:xfrm>
              <a:custGeom>
                <a:avLst/>
                <a:gdLst/>
                <a:ahLst/>
                <a:cxnLst>
                  <a:cxn ang="0">
                    <a:pos x="142" y="0"/>
                  </a:cxn>
                  <a:cxn ang="0">
                    <a:pos x="422" y="8"/>
                  </a:cxn>
                  <a:cxn ang="0">
                    <a:pos x="701" y="33"/>
                  </a:cxn>
                  <a:cxn ang="0">
                    <a:pos x="975" y="73"/>
                  </a:cxn>
                  <a:cxn ang="0">
                    <a:pos x="1245" y="130"/>
                  </a:cxn>
                  <a:cxn ang="0">
                    <a:pos x="1510" y="201"/>
                  </a:cxn>
                  <a:cxn ang="0">
                    <a:pos x="1770" y="288"/>
                  </a:cxn>
                  <a:cxn ang="0">
                    <a:pos x="2024" y="388"/>
                  </a:cxn>
                  <a:cxn ang="0">
                    <a:pos x="2273" y="502"/>
                  </a:cxn>
                  <a:cxn ang="0">
                    <a:pos x="2515" y="630"/>
                  </a:cxn>
                  <a:cxn ang="0">
                    <a:pos x="2751" y="771"/>
                  </a:cxn>
                  <a:cxn ang="0">
                    <a:pos x="2979" y="925"/>
                  </a:cxn>
                  <a:cxn ang="0">
                    <a:pos x="3200" y="1090"/>
                  </a:cxn>
                  <a:cxn ang="0">
                    <a:pos x="3619" y="1456"/>
                  </a:cxn>
                  <a:cxn ang="0">
                    <a:pos x="4006" y="1867"/>
                  </a:cxn>
                  <a:cxn ang="0">
                    <a:pos x="4358" y="2319"/>
                  </a:cxn>
                  <a:cxn ang="0">
                    <a:pos x="4671" y="2808"/>
                  </a:cxn>
                  <a:cxn ang="0">
                    <a:pos x="4943" y="3331"/>
                  </a:cxn>
                  <a:cxn ang="0">
                    <a:pos x="5172" y="3885"/>
                  </a:cxn>
                  <a:cxn ang="0">
                    <a:pos x="5355" y="4468"/>
                  </a:cxn>
                  <a:cxn ang="0">
                    <a:pos x="5428" y="4770"/>
                  </a:cxn>
                  <a:cxn ang="0">
                    <a:pos x="5489" y="5077"/>
                  </a:cxn>
                  <a:cxn ang="0">
                    <a:pos x="5536" y="5389"/>
                  </a:cxn>
                  <a:cxn ang="0">
                    <a:pos x="5571" y="5707"/>
                  </a:cxn>
                  <a:cxn ang="0">
                    <a:pos x="5592" y="6028"/>
                  </a:cxn>
                  <a:cxn ang="0">
                    <a:pos x="5598" y="6354"/>
                  </a:cxn>
                  <a:cxn ang="0">
                    <a:pos x="5586" y="6811"/>
                  </a:cxn>
                  <a:cxn ang="0">
                    <a:pos x="5545" y="7264"/>
                  </a:cxn>
                  <a:cxn ang="0">
                    <a:pos x="5381" y="7472"/>
                  </a:cxn>
                  <a:cxn ang="0">
                    <a:pos x="5279" y="7236"/>
                  </a:cxn>
                  <a:cxn ang="0">
                    <a:pos x="5320" y="6799"/>
                  </a:cxn>
                  <a:cxn ang="0">
                    <a:pos x="5332" y="6357"/>
                  </a:cxn>
                  <a:cxn ang="0">
                    <a:pos x="5325" y="6043"/>
                  </a:cxn>
                  <a:cxn ang="0">
                    <a:pos x="5305" y="5732"/>
                  </a:cxn>
                  <a:cxn ang="0">
                    <a:pos x="5272" y="5427"/>
                  </a:cxn>
                  <a:cxn ang="0">
                    <a:pos x="5226" y="5126"/>
                  </a:cxn>
                  <a:cxn ang="0">
                    <a:pos x="5169" y="4831"/>
                  </a:cxn>
                  <a:cxn ang="0">
                    <a:pos x="5098" y="4542"/>
                  </a:cxn>
                  <a:cxn ang="0">
                    <a:pos x="4924" y="3982"/>
                  </a:cxn>
                  <a:cxn ang="0">
                    <a:pos x="4704" y="3449"/>
                  </a:cxn>
                  <a:cxn ang="0">
                    <a:pos x="4443" y="2946"/>
                  </a:cxn>
                  <a:cxn ang="0">
                    <a:pos x="4144" y="2477"/>
                  </a:cxn>
                  <a:cxn ang="0">
                    <a:pos x="3808" y="2045"/>
                  </a:cxn>
                  <a:cxn ang="0">
                    <a:pos x="3439" y="1653"/>
                  </a:cxn>
                  <a:cxn ang="0">
                    <a:pos x="3039" y="1302"/>
                  </a:cxn>
                  <a:cxn ang="0">
                    <a:pos x="2828" y="1144"/>
                  </a:cxn>
                  <a:cxn ang="0">
                    <a:pos x="2610" y="998"/>
                  </a:cxn>
                  <a:cxn ang="0">
                    <a:pos x="2387" y="864"/>
                  </a:cxn>
                  <a:cxn ang="0">
                    <a:pos x="2157" y="743"/>
                  </a:cxn>
                  <a:cxn ang="0">
                    <a:pos x="1922" y="634"/>
                  </a:cxn>
                  <a:cxn ang="0">
                    <a:pos x="1682" y="539"/>
                  </a:cxn>
                  <a:cxn ang="0">
                    <a:pos x="1436" y="458"/>
                  </a:cxn>
                  <a:cxn ang="0">
                    <a:pos x="1186" y="390"/>
                  </a:cxn>
                  <a:cxn ang="0">
                    <a:pos x="932" y="337"/>
                  </a:cxn>
                  <a:cxn ang="0">
                    <a:pos x="673" y="298"/>
                  </a:cxn>
                  <a:cxn ang="0">
                    <a:pos x="411" y="275"/>
                  </a:cxn>
                  <a:cxn ang="0">
                    <a:pos x="142" y="267"/>
                  </a:cxn>
                  <a:cxn ang="0">
                    <a:pos x="0" y="133"/>
                  </a:cxn>
                  <a:cxn ang="0">
                    <a:pos x="5399" y="7340"/>
                  </a:cxn>
                  <a:cxn ang="0">
                    <a:pos x="5247" y="8125"/>
                  </a:cxn>
                  <a:cxn ang="0">
                    <a:pos x="5399" y="7340"/>
                  </a:cxn>
                </a:cxnLst>
                <a:rect l="0" t="0" r="r" b="b"/>
                <a:pathLst>
                  <a:path w="5893" h="8125">
                    <a:moveTo>
                      <a:pt x="133" y="0"/>
                    </a:moveTo>
                    <a:lnTo>
                      <a:pt x="142" y="0"/>
                    </a:lnTo>
                    <a:lnTo>
                      <a:pt x="282" y="2"/>
                    </a:lnTo>
                    <a:lnTo>
                      <a:pt x="422" y="8"/>
                    </a:lnTo>
                    <a:lnTo>
                      <a:pt x="562" y="18"/>
                    </a:lnTo>
                    <a:lnTo>
                      <a:pt x="701" y="33"/>
                    </a:lnTo>
                    <a:lnTo>
                      <a:pt x="838" y="51"/>
                    </a:lnTo>
                    <a:lnTo>
                      <a:pt x="975" y="73"/>
                    </a:lnTo>
                    <a:lnTo>
                      <a:pt x="1110" y="100"/>
                    </a:lnTo>
                    <a:lnTo>
                      <a:pt x="1245" y="130"/>
                    </a:lnTo>
                    <a:lnTo>
                      <a:pt x="1378" y="164"/>
                    </a:lnTo>
                    <a:lnTo>
                      <a:pt x="1510" y="201"/>
                    </a:lnTo>
                    <a:lnTo>
                      <a:pt x="1640" y="242"/>
                    </a:lnTo>
                    <a:lnTo>
                      <a:pt x="1770" y="288"/>
                    </a:lnTo>
                    <a:lnTo>
                      <a:pt x="1897" y="336"/>
                    </a:lnTo>
                    <a:lnTo>
                      <a:pt x="2024" y="388"/>
                    </a:lnTo>
                    <a:lnTo>
                      <a:pt x="2149" y="443"/>
                    </a:lnTo>
                    <a:lnTo>
                      <a:pt x="2273" y="502"/>
                    </a:lnTo>
                    <a:lnTo>
                      <a:pt x="2394" y="564"/>
                    </a:lnTo>
                    <a:lnTo>
                      <a:pt x="2515" y="630"/>
                    </a:lnTo>
                    <a:lnTo>
                      <a:pt x="2633" y="699"/>
                    </a:lnTo>
                    <a:lnTo>
                      <a:pt x="2751" y="771"/>
                    </a:lnTo>
                    <a:lnTo>
                      <a:pt x="2866" y="846"/>
                    </a:lnTo>
                    <a:lnTo>
                      <a:pt x="2979" y="925"/>
                    </a:lnTo>
                    <a:lnTo>
                      <a:pt x="3091" y="1006"/>
                    </a:lnTo>
                    <a:lnTo>
                      <a:pt x="3200" y="1090"/>
                    </a:lnTo>
                    <a:lnTo>
                      <a:pt x="3413" y="1267"/>
                    </a:lnTo>
                    <a:lnTo>
                      <a:pt x="3619" y="1456"/>
                    </a:lnTo>
                    <a:lnTo>
                      <a:pt x="3817" y="1656"/>
                    </a:lnTo>
                    <a:lnTo>
                      <a:pt x="4006" y="1867"/>
                    </a:lnTo>
                    <a:lnTo>
                      <a:pt x="4187" y="2088"/>
                    </a:lnTo>
                    <a:lnTo>
                      <a:pt x="4358" y="2319"/>
                    </a:lnTo>
                    <a:lnTo>
                      <a:pt x="4520" y="2559"/>
                    </a:lnTo>
                    <a:lnTo>
                      <a:pt x="4671" y="2808"/>
                    </a:lnTo>
                    <a:lnTo>
                      <a:pt x="4812" y="3065"/>
                    </a:lnTo>
                    <a:lnTo>
                      <a:pt x="4943" y="3331"/>
                    </a:lnTo>
                    <a:lnTo>
                      <a:pt x="5063" y="3604"/>
                    </a:lnTo>
                    <a:lnTo>
                      <a:pt x="5172" y="3885"/>
                    </a:lnTo>
                    <a:lnTo>
                      <a:pt x="5269" y="4174"/>
                    </a:lnTo>
                    <a:lnTo>
                      <a:pt x="5355" y="4468"/>
                    </a:lnTo>
                    <a:lnTo>
                      <a:pt x="5393" y="4620"/>
                    </a:lnTo>
                    <a:lnTo>
                      <a:pt x="5428" y="4770"/>
                    </a:lnTo>
                    <a:lnTo>
                      <a:pt x="5460" y="4923"/>
                    </a:lnTo>
                    <a:lnTo>
                      <a:pt x="5489" y="5077"/>
                    </a:lnTo>
                    <a:lnTo>
                      <a:pt x="5514" y="5232"/>
                    </a:lnTo>
                    <a:lnTo>
                      <a:pt x="5536" y="5389"/>
                    </a:lnTo>
                    <a:lnTo>
                      <a:pt x="5555" y="5547"/>
                    </a:lnTo>
                    <a:lnTo>
                      <a:pt x="5571" y="5707"/>
                    </a:lnTo>
                    <a:lnTo>
                      <a:pt x="5583" y="5867"/>
                    </a:lnTo>
                    <a:lnTo>
                      <a:pt x="5592" y="6028"/>
                    </a:lnTo>
                    <a:lnTo>
                      <a:pt x="5597" y="6191"/>
                    </a:lnTo>
                    <a:lnTo>
                      <a:pt x="5598" y="6354"/>
                    </a:lnTo>
                    <a:lnTo>
                      <a:pt x="5597" y="6582"/>
                    </a:lnTo>
                    <a:lnTo>
                      <a:pt x="5586" y="6811"/>
                    </a:lnTo>
                    <a:lnTo>
                      <a:pt x="5569" y="7038"/>
                    </a:lnTo>
                    <a:lnTo>
                      <a:pt x="5545" y="7264"/>
                    </a:lnTo>
                    <a:lnTo>
                      <a:pt x="5531" y="7359"/>
                    </a:lnTo>
                    <a:cubicBezTo>
                      <a:pt x="5521" y="7431"/>
                      <a:pt x="5454" y="7482"/>
                      <a:pt x="5381" y="7472"/>
                    </a:cubicBezTo>
                    <a:cubicBezTo>
                      <a:pt x="5308" y="7462"/>
                      <a:pt x="5257" y="7394"/>
                      <a:pt x="5267" y="7322"/>
                    </a:cubicBezTo>
                    <a:lnTo>
                      <a:pt x="5279" y="7236"/>
                    </a:lnTo>
                    <a:lnTo>
                      <a:pt x="5303" y="7018"/>
                    </a:lnTo>
                    <a:lnTo>
                      <a:pt x="5320" y="6799"/>
                    </a:lnTo>
                    <a:lnTo>
                      <a:pt x="5330" y="6580"/>
                    </a:lnTo>
                    <a:lnTo>
                      <a:pt x="5332" y="6357"/>
                    </a:lnTo>
                    <a:lnTo>
                      <a:pt x="5330" y="6199"/>
                    </a:lnTo>
                    <a:lnTo>
                      <a:pt x="5325" y="6043"/>
                    </a:lnTo>
                    <a:lnTo>
                      <a:pt x="5317" y="5887"/>
                    </a:lnTo>
                    <a:lnTo>
                      <a:pt x="5305" y="5732"/>
                    </a:lnTo>
                    <a:lnTo>
                      <a:pt x="5291" y="5579"/>
                    </a:lnTo>
                    <a:lnTo>
                      <a:pt x="5272" y="5427"/>
                    </a:lnTo>
                    <a:lnTo>
                      <a:pt x="5251" y="5276"/>
                    </a:lnTo>
                    <a:lnTo>
                      <a:pt x="5226" y="5126"/>
                    </a:lnTo>
                    <a:lnTo>
                      <a:pt x="5199" y="4977"/>
                    </a:lnTo>
                    <a:lnTo>
                      <a:pt x="5169" y="4831"/>
                    </a:lnTo>
                    <a:lnTo>
                      <a:pt x="5135" y="4685"/>
                    </a:lnTo>
                    <a:lnTo>
                      <a:pt x="5098" y="4542"/>
                    </a:lnTo>
                    <a:lnTo>
                      <a:pt x="5017" y="4259"/>
                    </a:lnTo>
                    <a:lnTo>
                      <a:pt x="4924" y="3982"/>
                    </a:lnTo>
                    <a:lnTo>
                      <a:pt x="4819" y="3712"/>
                    </a:lnTo>
                    <a:lnTo>
                      <a:pt x="4704" y="3449"/>
                    </a:lnTo>
                    <a:lnTo>
                      <a:pt x="4579" y="3194"/>
                    </a:lnTo>
                    <a:lnTo>
                      <a:pt x="4443" y="2946"/>
                    </a:lnTo>
                    <a:lnTo>
                      <a:pt x="4298" y="2707"/>
                    </a:lnTo>
                    <a:lnTo>
                      <a:pt x="4144" y="2477"/>
                    </a:lnTo>
                    <a:lnTo>
                      <a:pt x="3980" y="2256"/>
                    </a:lnTo>
                    <a:lnTo>
                      <a:pt x="3808" y="2045"/>
                    </a:lnTo>
                    <a:lnTo>
                      <a:pt x="3628" y="1844"/>
                    </a:lnTo>
                    <a:lnTo>
                      <a:pt x="3439" y="1653"/>
                    </a:lnTo>
                    <a:lnTo>
                      <a:pt x="3243" y="1472"/>
                    </a:lnTo>
                    <a:lnTo>
                      <a:pt x="3039" y="1302"/>
                    </a:lnTo>
                    <a:lnTo>
                      <a:pt x="2933" y="1222"/>
                    </a:lnTo>
                    <a:lnTo>
                      <a:pt x="2828" y="1144"/>
                    </a:lnTo>
                    <a:lnTo>
                      <a:pt x="2719" y="1069"/>
                    </a:lnTo>
                    <a:lnTo>
                      <a:pt x="2610" y="998"/>
                    </a:lnTo>
                    <a:lnTo>
                      <a:pt x="2500" y="929"/>
                    </a:lnTo>
                    <a:lnTo>
                      <a:pt x="2387" y="864"/>
                    </a:lnTo>
                    <a:lnTo>
                      <a:pt x="2273" y="802"/>
                    </a:lnTo>
                    <a:lnTo>
                      <a:pt x="2157" y="743"/>
                    </a:lnTo>
                    <a:lnTo>
                      <a:pt x="2041" y="687"/>
                    </a:lnTo>
                    <a:lnTo>
                      <a:pt x="1922" y="634"/>
                    </a:lnTo>
                    <a:lnTo>
                      <a:pt x="1803" y="585"/>
                    </a:lnTo>
                    <a:lnTo>
                      <a:pt x="1682" y="539"/>
                    </a:lnTo>
                    <a:lnTo>
                      <a:pt x="1560" y="497"/>
                    </a:lnTo>
                    <a:lnTo>
                      <a:pt x="1436" y="458"/>
                    </a:lnTo>
                    <a:lnTo>
                      <a:pt x="1312" y="422"/>
                    </a:lnTo>
                    <a:lnTo>
                      <a:pt x="1186" y="390"/>
                    </a:lnTo>
                    <a:lnTo>
                      <a:pt x="1060" y="361"/>
                    </a:lnTo>
                    <a:lnTo>
                      <a:pt x="932" y="337"/>
                    </a:lnTo>
                    <a:lnTo>
                      <a:pt x="803" y="316"/>
                    </a:lnTo>
                    <a:lnTo>
                      <a:pt x="673" y="298"/>
                    </a:lnTo>
                    <a:lnTo>
                      <a:pt x="542" y="284"/>
                    </a:lnTo>
                    <a:lnTo>
                      <a:pt x="411" y="275"/>
                    </a:lnTo>
                    <a:lnTo>
                      <a:pt x="278" y="269"/>
                    </a:lnTo>
                    <a:lnTo>
                      <a:pt x="142" y="267"/>
                    </a:lnTo>
                    <a:lnTo>
                      <a:pt x="133" y="267"/>
                    </a:lnTo>
                    <a:cubicBezTo>
                      <a:pt x="60" y="267"/>
                      <a:pt x="0" y="207"/>
                      <a:pt x="0" y="133"/>
                    </a:cubicBezTo>
                    <a:cubicBezTo>
                      <a:pt x="0" y="60"/>
                      <a:pt x="60" y="0"/>
                      <a:pt x="133" y="0"/>
                    </a:cubicBezTo>
                    <a:close/>
                    <a:moveTo>
                      <a:pt x="5399" y="7340"/>
                    </a:moveTo>
                    <a:lnTo>
                      <a:pt x="5893" y="6892"/>
                    </a:lnTo>
                    <a:lnTo>
                      <a:pt x="5247" y="8125"/>
                    </a:lnTo>
                    <a:lnTo>
                      <a:pt x="5108" y="6740"/>
                    </a:lnTo>
                    <a:lnTo>
                      <a:pt x="5399" y="7340"/>
                    </a:lnTo>
                    <a:close/>
                  </a:path>
                </a:pathLst>
              </a:custGeom>
              <a:grpFill/>
              <a:ln w="1" cap="flat">
                <a:solidFill>
                  <a:srgbClr val="FFC000"/>
                </a:solidFill>
                <a:prstDash val="solid"/>
                <a:bevel/>
                <a:headEnd/>
                <a:tailEnd/>
              </a:ln>
            </p:spPr>
            <p:txBody>
              <a:bodyPr/>
              <a:lstStyle/>
              <a:p>
                <a:pPr marL="0" marR="0" lvl="0" indent="0" algn="l" defTabSz="709803" rtl="0" eaLnBrk="1" fontAlgn="auto" latinLnBrk="0" hangingPunct="1">
                  <a:lnSpc>
                    <a:spcPct val="100000"/>
                  </a:lnSpc>
                  <a:spcBef>
                    <a:spcPts val="0"/>
                  </a:spcBef>
                  <a:spcAft>
                    <a:spcPts val="0"/>
                  </a:spcAft>
                  <a:buClrTx/>
                  <a:buSzTx/>
                  <a:buFontTx/>
                  <a:buNone/>
                  <a:tabLst/>
                  <a:defRPr/>
                </a:pPr>
                <a:endParaRPr kumimoji="0" lang="fr-FR" sz="700" b="0" i="0" u="none" strike="noStrike" kern="1200" cap="none" spc="0" normalizeH="0" baseline="0" noProof="0">
                  <a:ln>
                    <a:noFill/>
                  </a:ln>
                  <a:solidFill>
                    <a:prstClr val="black">
                      <a:lumMod val="65000"/>
                      <a:lumOff val="35000"/>
                    </a:prstClr>
                  </a:solidFill>
                  <a:effectLst/>
                  <a:uLnTx/>
                  <a:uFillTx/>
                  <a:latin typeface="+mj-lt"/>
                  <a:ea typeface="+mn-ea"/>
                  <a:cs typeface="Arial" charset="0"/>
                </a:endParaRPr>
              </a:p>
            </p:txBody>
          </p:sp>
        </p:grpSp>
        <p:sp>
          <p:nvSpPr>
            <p:cNvPr id="31" name="Rectangle 632">
              <a:extLst>
                <a:ext uri="{FF2B5EF4-FFF2-40B4-BE49-F238E27FC236}">
                  <a16:creationId xmlns:a16="http://schemas.microsoft.com/office/drawing/2014/main" id="{E64460FC-C683-4FAF-B1CB-12C849003C14}"/>
                </a:ext>
              </a:extLst>
            </p:cNvPr>
            <p:cNvSpPr>
              <a:spLocks noChangeArrowheads="1"/>
            </p:cNvSpPr>
            <p:nvPr/>
          </p:nvSpPr>
          <p:spPr bwMode="auto">
            <a:xfrm>
              <a:off x="10558402" y="4345408"/>
              <a:ext cx="999088" cy="13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fr-FR" altLang="en-US" sz="1000" b="1" i="0" u="none" strike="noStrike" kern="1200" cap="none" spc="0" normalizeH="0" baseline="0" noProof="0">
                  <a:ln>
                    <a:noFill/>
                  </a:ln>
                  <a:solidFill>
                    <a:prstClr val="black"/>
                  </a:solidFill>
                  <a:effectLst/>
                  <a:uLnTx/>
                  <a:uFillTx/>
                  <a:latin typeface="+mj-lt"/>
                  <a:ea typeface="ＭＳ Ｐゴシック" panose="020B0600070205080204" pitchFamily="34" charset="-128"/>
                  <a:cs typeface="Arial" charset="0"/>
                </a:rPr>
                <a:t>Non qualité</a:t>
              </a:r>
            </a:p>
          </p:txBody>
        </p:sp>
        <p:sp>
          <p:nvSpPr>
            <p:cNvPr id="32" name="Rectangle 634">
              <a:extLst>
                <a:ext uri="{FF2B5EF4-FFF2-40B4-BE49-F238E27FC236}">
                  <a16:creationId xmlns:a16="http://schemas.microsoft.com/office/drawing/2014/main" id="{7AFAFE10-B558-485C-9966-4F15D56D7DBF}"/>
                </a:ext>
              </a:extLst>
            </p:cNvPr>
            <p:cNvSpPr>
              <a:spLocks noChangeArrowheads="1"/>
            </p:cNvSpPr>
            <p:nvPr/>
          </p:nvSpPr>
          <p:spPr bwMode="auto">
            <a:xfrm>
              <a:off x="10558402" y="3871107"/>
              <a:ext cx="1118862" cy="13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fr-FR" altLang="en-US" sz="1000" b="1" i="0" u="none" strike="noStrike" kern="1200" cap="none" spc="0" normalizeH="0" baseline="0" noProof="0">
                  <a:ln>
                    <a:noFill/>
                  </a:ln>
                  <a:solidFill>
                    <a:prstClr val="black"/>
                  </a:solidFill>
                  <a:effectLst/>
                  <a:uLnTx/>
                  <a:uFillTx/>
                  <a:latin typeface="+mj-lt"/>
                  <a:ea typeface="ＭＳ Ｐゴシック" panose="020B0600070205080204" pitchFamily="34" charset="-128"/>
                  <a:cs typeface="Arial" charset="0"/>
                </a:rPr>
                <a:t>Sur production</a:t>
              </a:r>
            </a:p>
          </p:txBody>
        </p:sp>
        <p:sp>
          <p:nvSpPr>
            <p:cNvPr id="33" name="Rectangle 637">
              <a:extLst>
                <a:ext uri="{FF2B5EF4-FFF2-40B4-BE49-F238E27FC236}">
                  <a16:creationId xmlns:a16="http://schemas.microsoft.com/office/drawing/2014/main" id="{C9EB2705-D43A-4263-8C68-279029091621}"/>
                </a:ext>
              </a:extLst>
            </p:cNvPr>
            <p:cNvSpPr>
              <a:spLocks noChangeArrowheads="1"/>
            </p:cNvSpPr>
            <p:nvPr/>
          </p:nvSpPr>
          <p:spPr bwMode="auto">
            <a:xfrm>
              <a:off x="10558402" y="3048720"/>
              <a:ext cx="1105374" cy="13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fr-FR" altLang="en-US" sz="1000" b="1" i="0" u="none" strike="noStrike" kern="1200" cap="none" spc="0" normalizeH="0" baseline="0" noProof="0">
                  <a:ln>
                    <a:noFill/>
                  </a:ln>
                  <a:solidFill>
                    <a:prstClr val="black"/>
                  </a:solidFill>
                  <a:effectLst/>
                  <a:uLnTx/>
                  <a:uFillTx/>
                  <a:latin typeface="+mj-lt"/>
                  <a:ea typeface="ＭＳ Ｐゴシック" panose="020B0600070205080204" pitchFamily="34" charset="-128"/>
                  <a:cs typeface="Arial" charset="0"/>
                </a:rPr>
                <a:t>Attente</a:t>
              </a:r>
            </a:p>
          </p:txBody>
        </p:sp>
        <p:sp>
          <p:nvSpPr>
            <p:cNvPr id="34" name="Rectangle 639">
              <a:extLst>
                <a:ext uri="{FF2B5EF4-FFF2-40B4-BE49-F238E27FC236}">
                  <a16:creationId xmlns:a16="http://schemas.microsoft.com/office/drawing/2014/main" id="{932AE426-5AA7-4C37-8313-C4166875F2C4}"/>
                </a:ext>
              </a:extLst>
            </p:cNvPr>
            <p:cNvSpPr>
              <a:spLocks noChangeArrowheads="1"/>
            </p:cNvSpPr>
            <p:nvPr/>
          </p:nvSpPr>
          <p:spPr bwMode="auto">
            <a:xfrm>
              <a:off x="7464152" y="4297579"/>
              <a:ext cx="1065516" cy="13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fr-FR" altLang="en-US" sz="1000" b="1" i="0" u="none" strike="noStrike" kern="1200" cap="none" spc="0" normalizeH="0" baseline="0" noProof="0">
                  <a:ln>
                    <a:noFill/>
                  </a:ln>
                  <a:solidFill>
                    <a:prstClr val="black"/>
                  </a:solidFill>
                  <a:effectLst/>
                  <a:uLnTx/>
                  <a:uFillTx/>
                  <a:latin typeface="+mj-lt"/>
                  <a:ea typeface="ＭＳ Ｐゴシック" panose="020B0600070205080204" pitchFamily="34" charset="-128"/>
                  <a:cs typeface="Arial" charset="0"/>
                </a:rPr>
                <a:t>Mouvements inutiles</a:t>
              </a:r>
            </a:p>
          </p:txBody>
        </p:sp>
        <p:sp>
          <p:nvSpPr>
            <p:cNvPr id="35" name="Freeform 649">
              <a:extLst>
                <a:ext uri="{FF2B5EF4-FFF2-40B4-BE49-F238E27FC236}">
                  <a16:creationId xmlns:a16="http://schemas.microsoft.com/office/drawing/2014/main" id="{D1A08FAB-EAA2-4B42-9BD5-94A66A513049}"/>
                </a:ext>
              </a:extLst>
            </p:cNvPr>
            <p:cNvSpPr>
              <a:spLocks/>
            </p:cNvSpPr>
            <p:nvPr/>
          </p:nvSpPr>
          <p:spPr bwMode="auto">
            <a:xfrm>
              <a:off x="7887967" y="1967883"/>
              <a:ext cx="3297522" cy="369344"/>
            </a:xfrm>
            <a:custGeom>
              <a:avLst/>
              <a:gdLst/>
              <a:ahLst/>
              <a:cxnLst>
                <a:cxn ang="0">
                  <a:pos x="2661" y="0"/>
                </a:cxn>
                <a:cxn ang="0">
                  <a:pos x="2661" y="36"/>
                </a:cxn>
                <a:cxn ang="0">
                  <a:pos x="0" y="36"/>
                </a:cxn>
                <a:cxn ang="0">
                  <a:pos x="0" y="252"/>
                </a:cxn>
                <a:cxn ang="0">
                  <a:pos x="2661" y="252"/>
                </a:cxn>
                <a:cxn ang="0">
                  <a:pos x="2661" y="288"/>
                </a:cxn>
                <a:cxn ang="0">
                  <a:pos x="2840" y="144"/>
                </a:cxn>
                <a:cxn ang="0">
                  <a:pos x="2661" y="0"/>
                </a:cxn>
              </a:cxnLst>
              <a:rect l="0" t="0" r="r" b="b"/>
              <a:pathLst>
                <a:path w="2840" h="288">
                  <a:moveTo>
                    <a:pt x="2661" y="0"/>
                  </a:moveTo>
                  <a:lnTo>
                    <a:pt x="2661" y="36"/>
                  </a:lnTo>
                  <a:lnTo>
                    <a:pt x="0" y="36"/>
                  </a:lnTo>
                  <a:lnTo>
                    <a:pt x="0" y="252"/>
                  </a:lnTo>
                  <a:lnTo>
                    <a:pt x="2661" y="252"/>
                  </a:lnTo>
                  <a:lnTo>
                    <a:pt x="2661" y="288"/>
                  </a:lnTo>
                  <a:lnTo>
                    <a:pt x="2840" y="144"/>
                  </a:lnTo>
                  <a:lnTo>
                    <a:pt x="2661" y="0"/>
                  </a:lnTo>
                  <a:close/>
                </a:path>
              </a:pathLst>
            </a:custGeom>
            <a:solidFill>
              <a:srgbClr val="FFC000"/>
            </a:solidFill>
            <a:ln w="9525">
              <a:noFill/>
              <a:round/>
              <a:headEnd/>
              <a:tailEnd/>
            </a:ln>
          </p:spPr>
          <p:txBody>
            <a:bodyPr/>
            <a:lstStyle/>
            <a:p>
              <a:pPr marL="0" marR="0" lvl="0" indent="0" algn="l" defTabSz="709803" rtl="0" eaLnBrk="1" fontAlgn="auto" latinLnBrk="0" hangingPunct="1">
                <a:lnSpc>
                  <a:spcPct val="100000"/>
                </a:lnSpc>
                <a:spcBef>
                  <a:spcPts val="0"/>
                </a:spcBef>
                <a:spcAft>
                  <a:spcPts val="0"/>
                </a:spcAft>
                <a:buClrTx/>
                <a:buSzTx/>
                <a:buFontTx/>
                <a:buNone/>
                <a:tabLst/>
                <a:defRPr/>
              </a:pPr>
              <a:endParaRPr kumimoji="0" lang="fr-FR" sz="700" b="0" i="0" u="none" strike="noStrike" kern="1200" cap="none" spc="0" normalizeH="0" baseline="0" noProof="0">
                <a:ln>
                  <a:noFill/>
                </a:ln>
                <a:solidFill>
                  <a:prstClr val="black">
                    <a:lumMod val="65000"/>
                    <a:lumOff val="35000"/>
                  </a:prstClr>
                </a:solidFill>
                <a:effectLst/>
                <a:uLnTx/>
                <a:uFillTx/>
                <a:latin typeface="+mj-lt"/>
                <a:ea typeface="+mn-ea"/>
                <a:cs typeface="Arial" charset="0"/>
              </a:endParaRPr>
            </a:p>
          </p:txBody>
        </p:sp>
        <p:sp>
          <p:nvSpPr>
            <p:cNvPr id="36" name="Rectangle 653">
              <a:extLst>
                <a:ext uri="{FF2B5EF4-FFF2-40B4-BE49-F238E27FC236}">
                  <a16:creationId xmlns:a16="http://schemas.microsoft.com/office/drawing/2014/main" id="{AC90C40C-A723-4EEA-B790-2297C7B29457}"/>
                </a:ext>
              </a:extLst>
            </p:cNvPr>
            <p:cNvSpPr>
              <a:spLocks noChangeArrowheads="1"/>
            </p:cNvSpPr>
            <p:nvPr/>
          </p:nvSpPr>
          <p:spPr bwMode="auto">
            <a:xfrm>
              <a:off x="9010614" y="1780554"/>
              <a:ext cx="649729" cy="13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fr-FR" altLang="en-US" sz="1000" b="1" i="0" u="none" strike="noStrike" kern="1200" cap="none" spc="0" normalizeH="0" baseline="0" noProof="0">
                  <a:ln>
                    <a:noFill/>
                  </a:ln>
                  <a:solidFill>
                    <a:prstClr val="black"/>
                  </a:solidFill>
                  <a:effectLst/>
                  <a:uLnTx/>
                  <a:uFillTx/>
                  <a:latin typeface="+mj-lt"/>
                  <a:ea typeface="ＭＳ Ｐゴシック" panose="020B0600070205080204" pitchFamily="34" charset="-128"/>
                  <a:cs typeface="Arial" charset="0"/>
                </a:rPr>
                <a:t>Durée totale</a:t>
              </a:r>
              <a:endParaRPr kumimoji="0" lang="fr-FR" altLang="en-US" sz="1000" b="0" i="0" u="none" strike="noStrike" kern="1200" cap="none" spc="0" normalizeH="0" baseline="0" noProof="0">
                <a:ln>
                  <a:noFill/>
                </a:ln>
                <a:solidFill>
                  <a:prstClr val="black"/>
                </a:solidFill>
                <a:effectLst/>
                <a:uLnTx/>
                <a:uFillTx/>
                <a:latin typeface="+mj-lt"/>
                <a:ea typeface="ＭＳ Ｐゴシック" panose="020B0600070205080204" pitchFamily="34" charset="-128"/>
                <a:cs typeface="Arial" charset="0"/>
              </a:endParaRPr>
            </a:p>
          </p:txBody>
        </p:sp>
        <p:sp>
          <p:nvSpPr>
            <p:cNvPr id="37" name="Rectangle 657">
              <a:extLst>
                <a:ext uri="{FF2B5EF4-FFF2-40B4-BE49-F238E27FC236}">
                  <a16:creationId xmlns:a16="http://schemas.microsoft.com/office/drawing/2014/main" id="{A5C291EC-195E-4829-BBB7-564B974D1423}"/>
                </a:ext>
              </a:extLst>
            </p:cNvPr>
            <p:cNvSpPr>
              <a:spLocks noChangeArrowheads="1"/>
            </p:cNvSpPr>
            <p:nvPr/>
          </p:nvSpPr>
          <p:spPr bwMode="auto">
            <a:xfrm>
              <a:off x="9133481" y="2514220"/>
              <a:ext cx="1295019" cy="13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fr-FR" altLang="en-US" sz="1000" b="1" i="0" u="none" strike="noStrike" kern="1200" cap="none" spc="0" normalizeH="0" baseline="0" noProof="0">
                  <a:ln>
                    <a:noFill/>
                  </a:ln>
                  <a:solidFill>
                    <a:prstClr val="black"/>
                  </a:solidFill>
                  <a:effectLst/>
                  <a:uLnTx/>
                  <a:uFillTx/>
                  <a:latin typeface="+mj-lt"/>
                  <a:ea typeface="ＭＳ Ｐゴシック" panose="020B0600070205080204" pitchFamily="34" charset="-128"/>
                  <a:cs typeface="Arial" charset="0"/>
                </a:rPr>
                <a:t>Non-valeur ajoutée</a:t>
              </a:r>
              <a:endParaRPr kumimoji="0" lang="fr-FR" altLang="en-US" sz="1000" b="0" i="0" u="none" strike="noStrike" kern="1200" cap="none" spc="0" normalizeH="0" baseline="0" noProof="0">
                <a:ln>
                  <a:noFill/>
                </a:ln>
                <a:solidFill>
                  <a:prstClr val="black"/>
                </a:solidFill>
                <a:effectLst/>
                <a:uLnTx/>
                <a:uFillTx/>
                <a:latin typeface="+mj-lt"/>
                <a:ea typeface="ＭＳ Ｐゴシック" panose="020B0600070205080204" pitchFamily="34" charset="-128"/>
                <a:cs typeface="Arial" charset="0"/>
              </a:endParaRPr>
            </a:p>
          </p:txBody>
        </p:sp>
        <p:sp>
          <p:nvSpPr>
            <p:cNvPr id="38" name="Rectangle 658">
              <a:extLst>
                <a:ext uri="{FF2B5EF4-FFF2-40B4-BE49-F238E27FC236}">
                  <a16:creationId xmlns:a16="http://schemas.microsoft.com/office/drawing/2014/main" id="{F045B752-DAA6-4DEF-A668-CF3F556A050D}"/>
                </a:ext>
              </a:extLst>
            </p:cNvPr>
            <p:cNvSpPr>
              <a:spLocks noChangeArrowheads="1"/>
            </p:cNvSpPr>
            <p:nvPr/>
          </p:nvSpPr>
          <p:spPr bwMode="auto">
            <a:xfrm>
              <a:off x="9781187" y="2554490"/>
              <a:ext cx="65" cy="133850"/>
            </a:xfrm>
            <a:prstGeom prst="rect">
              <a:avLst/>
            </a:prstGeom>
            <a:noFill/>
            <a:ln w="9525">
              <a:noFill/>
              <a:miter lim="800000"/>
              <a:headEnd/>
              <a:tailEnd/>
            </a:ln>
          </p:spPr>
          <p:txBody>
            <a:bodyPr wrap="square" lIns="0" tIns="0" rIns="0" bIns="0">
              <a:spAutoFit/>
            </a:bodyPr>
            <a:lstStyle/>
            <a:p>
              <a:pPr marL="0" marR="0" lvl="0" indent="0" algn="l" defTabSz="709803" rtl="0" eaLnBrk="1" fontAlgn="auto" latinLnBrk="0" hangingPunct="1">
                <a:lnSpc>
                  <a:spcPct val="100000"/>
                </a:lnSpc>
                <a:spcBef>
                  <a:spcPts val="0"/>
                </a:spcBef>
                <a:spcAft>
                  <a:spcPts val="0"/>
                </a:spcAft>
                <a:buClrTx/>
                <a:buSzTx/>
                <a:buFontTx/>
                <a:buNone/>
                <a:tabLst/>
                <a:defRPr/>
              </a:pPr>
              <a:endParaRPr kumimoji="0" lang="fr-FR" sz="1000" b="0" i="0" u="none" strike="noStrike" kern="1200" cap="none" spc="0" normalizeH="0" baseline="0" noProof="0">
                <a:ln>
                  <a:noFill/>
                </a:ln>
                <a:solidFill>
                  <a:prstClr val="black">
                    <a:lumMod val="65000"/>
                    <a:lumOff val="35000"/>
                  </a:prstClr>
                </a:solidFill>
                <a:effectLst/>
                <a:uLnTx/>
                <a:uFillTx/>
                <a:latin typeface="+mj-lt"/>
                <a:ea typeface="+mn-ea"/>
                <a:cs typeface="Arial" charset="0"/>
              </a:endParaRPr>
            </a:p>
          </p:txBody>
        </p:sp>
        <p:sp>
          <p:nvSpPr>
            <p:cNvPr id="39" name="Rectangle 659">
              <a:extLst>
                <a:ext uri="{FF2B5EF4-FFF2-40B4-BE49-F238E27FC236}">
                  <a16:creationId xmlns:a16="http://schemas.microsoft.com/office/drawing/2014/main" id="{BDD3A583-3014-4339-AF16-D6EF82C181ED}"/>
                </a:ext>
              </a:extLst>
            </p:cNvPr>
            <p:cNvSpPr>
              <a:spLocks noChangeArrowheads="1"/>
            </p:cNvSpPr>
            <p:nvPr/>
          </p:nvSpPr>
          <p:spPr bwMode="auto">
            <a:xfrm>
              <a:off x="9410137" y="2708999"/>
              <a:ext cx="784956" cy="133850"/>
            </a:xfrm>
            <a:prstGeom prst="rect">
              <a:avLst/>
            </a:prstGeom>
            <a:noFill/>
            <a:ln w="9525">
              <a:noFill/>
              <a:miter lim="800000"/>
              <a:headEnd/>
              <a:tailEnd/>
            </a:ln>
          </p:spPr>
          <p:txBody>
            <a:bodyPr wrap="square" lIns="0" tIns="0" rIns="0" bIns="0">
              <a:spAutoFit/>
            </a:bodyPr>
            <a:lstStyle/>
            <a:p>
              <a:pPr marL="0" marR="0" lvl="0" indent="0" algn="l" defTabSz="709803"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a:ln>
                    <a:noFill/>
                  </a:ln>
                  <a:solidFill>
                    <a:prstClr val="black"/>
                  </a:solidFill>
                  <a:effectLst/>
                  <a:uLnTx/>
                  <a:uFillTx/>
                  <a:latin typeface="+mj-lt"/>
                  <a:ea typeface="+mn-ea"/>
                  <a:cs typeface="Arial" charset="0"/>
                </a:rPr>
                <a:t> (90-95%)</a:t>
              </a:r>
              <a:endParaRPr kumimoji="0" lang="fr-FR" sz="1000" b="0" i="0" u="none" strike="noStrike" kern="1200" cap="none" spc="0" normalizeH="0" baseline="0" noProof="0">
                <a:ln>
                  <a:noFill/>
                </a:ln>
                <a:solidFill>
                  <a:prstClr val="black"/>
                </a:solidFill>
                <a:effectLst/>
                <a:uLnTx/>
                <a:uFillTx/>
                <a:latin typeface="+mj-lt"/>
                <a:ea typeface="+mn-ea"/>
                <a:cs typeface="Arial" charset="0"/>
              </a:endParaRPr>
            </a:p>
          </p:txBody>
        </p:sp>
        <p:sp>
          <p:nvSpPr>
            <p:cNvPr id="40" name="Rectangle 661">
              <a:extLst>
                <a:ext uri="{FF2B5EF4-FFF2-40B4-BE49-F238E27FC236}">
                  <a16:creationId xmlns:a16="http://schemas.microsoft.com/office/drawing/2014/main" id="{F0D00966-4AB7-4578-AC09-2EB61ECAE588}"/>
                </a:ext>
              </a:extLst>
            </p:cNvPr>
            <p:cNvSpPr>
              <a:spLocks noChangeArrowheads="1"/>
            </p:cNvSpPr>
            <p:nvPr/>
          </p:nvSpPr>
          <p:spPr bwMode="auto">
            <a:xfrm>
              <a:off x="7836153" y="2011724"/>
              <a:ext cx="205928" cy="279000"/>
            </a:xfrm>
            <a:prstGeom prst="rect">
              <a:avLst/>
            </a:prstGeom>
            <a:solidFill>
              <a:srgbClr val="00B050"/>
            </a:solidFill>
            <a:ln w="9525">
              <a:noFill/>
              <a:miter lim="800000"/>
              <a:headEnd/>
              <a:tailEnd/>
            </a:ln>
          </p:spPr>
          <p:txBody>
            <a:bodyPr/>
            <a:lstStyle/>
            <a:p>
              <a:pPr marL="0" marR="0" lvl="0" indent="0" algn="l" defTabSz="709803" rtl="0" eaLnBrk="1" fontAlgn="auto" latinLnBrk="0" hangingPunct="1">
                <a:lnSpc>
                  <a:spcPct val="100000"/>
                </a:lnSpc>
                <a:spcBef>
                  <a:spcPts val="0"/>
                </a:spcBef>
                <a:spcAft>
                  <a:spcPts val="0"/>
                </a:spcAft>
                <a:buClrTx/>
                <a:buSzTx/>
                <a:buFontTx/>
                <a:buNone/>
                <a:tabLst/>
                <a:defRPr/>
              </a:pPr>
              <a:endParaRPr kumimoji="0" lang="fr-FR" sz="1000" b="0" i="0" u="none" strike="noStrike" kern="1200" cap="none" spc="0" normalizeH="0" baseline="0" noProof="0">
                <a:ln>
                  <a:noFill/>
                </a:ln>
                <a:solidFill>
                  <a:prstClr val="black">
                    <a:lumMod val="65000"/>
                    <a:lumOff val="35000"/>
                  </a:prstClr>
                </a:solidFill>
                <a:effectLst/>
                <a:uLnTx/>
                <a:uFillTx/>
                <a:latin typeface="+mj-lt"/>
                <a:ea typeface="+mn-ea"/>
                <a:cs typeface="Arial" charset="0"/>
              </a:endParaRPr>
            </a:p>
          </p:txBody>
        </p:sp>
        <p:sp>
          <p:nvSpPr>
            <p:cNvPr id="41" name="Freeform 662">
              <a:extLst>
                <a:ext uri="{FF2B5EF4-FFF2-40B4-BE49-F238E27FC236}">
                  <a16:creationId xmlns:a16="http://schemas.microsoft.com/office/drawing/2014/main" id="{17B332B8-7BEE-4D92-A180-C647D13BFB00}"/>
                </a:ext>
              </a:extLst>
            </p:cNvPr>
            <p:cNvSpPr>
              <a:spLocks noEditPoints="1"/>
            </p:cNvSpPr>
            <p:nvPr/>
          </p:nvSpPr>
          <p:spPr bwMode="auto">
            <a:xfrm rot="19563427">
              <a:off x="8383526" y="2647490"/>
              <a:ext cx="235157" cy="753301"/>
            </a:xfrm>
            <a:custGeom>
              <a:avLst/>
              <a:gdLst/>
              <a:ahLst/>
              <a:cxnLst>
                <a:cxn ang="0">
                  <a:pos x="2114" y="7642"/>
                </a:cxn>
                <a:cxn ang="0">
                  <a:pos x="1837" y="7257"/>
                </a:cxn>
                <a:cxn ang="0">
                  <a:pos x="1579" y="6845"/>
                </a:cxn>
                <a:cxn ang="0">
                  <a:pos x="1337" y="6405"/>
                </a:cxn>
                <a:cxn ang="0">
                  <a:pos x="1115" y="5942"/>
                </a:cxn>
                <a:cxn ang="0">
                  <a:pos x="910" y="5457"/>
                </a:cxn>
                <a:cxn ang="0">
                  <a:pos x="725" y="4949"/>
                </a:cxn>
                <a:cxn ang="0">
                  <a:pos x="559" y="4423"/>
                </a:cxn>
                <a:cxn ang="0">
                  <a:pos x="414" y="3879"/>
                </a:cxn>
                <a:cxn ang="0">
                  <a:pos x="290" y="3318"/>
                </a:cxn>
                <a:cxn ang="0">
                  <a:pos x="187" y="2744"/>
                </a:cxn>
                <a:cxn ang="0">
                  <a:pos x="106" y="2156"/>
                </a:cxn>
                <a:cxn ang="0">
                  <a:pos x="47" y="1558"/>
                </a:cxn>
                <a:cxn ang="0">
                  <a:pos x="12" y="950"/>
                </a:cxn>
                <a:cxn ang="0">
                  <a:pos x="0" y="335"/>
                </a:cxn>
                <a:cxn ang="0">
                  <a:pos x="135" y="0"/>
                </a:cxn>
                <a:cxn ang="0">
                  <a:pos x="266" y="332"/>
                </a:cxn>
                <a:cxn ang="0">
                  <a:pos x="278" y="937"/>
                </a:cxn>
                <a:cxn ang="0">
                  <a:pos x="313" y="1534"/>
                </a:cxn>
                <a:cxn ang="0">
                  <a:pos x="370" y="2123"/>
                </a:cxn>
                <a:cxn ang="0">
                  <a:pos x="450" y="2699"/>
                </a:cxn>
                <a:cxn ang="0">
                  <a:pos x="551" y="3263"/>
                </a:cxn>
                <a:cxn ang="0">
                  <a:pos x="673" y="3812"/>
                </a:cxn>
                <a:cxn ang="0">
                  <a:pos x="815" y="4345"/>
                </a:cxn>
                <a:cxn ang="0">
                  <a:pos x="976" y="4861"/>
                </a:cxn>
                <a:cxn ang="0">
                  <a:pos x="1157" y="5356"/>
                </a:cxn>
                <a:cxn ang="0">
                  <a:pos x="1356" y="5830"/>
                </a:cxn>
                <a:cxn ang="0">
                  <a:pos x="1573" y="6280"/>
                </a:cxn>
                <a:cxn ang="0">
                  <a:pos x="1806" y="6706"/>
                </a:cxn>
                <a:cxn ang="0">
                  <a:pos x="2057" y="7105"/>
                </a:cxn>
                <a:cxn ang="0">
                  <a:pos x="2323" y="7476"/>
                </a:cxn>
                <a:cxn ang="0">
                  <a:pos x="2357" y="7733"/>
                </a:cxn>
                <a:cxn ang="0">
                  <a:pos x="2274" y="7629"/>
                </a:cxn>
                <a:cxn ang="0">
                  <a:pos x="2807" y="8224"/>
                </a:cxn>
                <a:cxn ang="0">
                  <a:pos x="2274" y="7629"/>
                </a:cxn>
              </a:cxnLst>
              <a:rect l="0" t="0" r="r" b="b"/>
              <a:pathLst>
                <a:path w="2807" h="8224">
                  <a:moveTo>
                    <a:pt x="2169" y="7712"/>
                  </a:moveTo>
                  <a:lnTo>
                    <a:pt x="2114" y="7642"/>
                  </a:lnTo>
                  <a:lnTo>
                    <a:pt x="1973" y="7454"/>
                  </a:lnTo>
                  <a:lnTo>
                    <a:pt x="1837" y="7257"/>
                  </a:lnTo>
                  <a:lnTo>
                    <a:pt x="1706" y="7054"/>
                  </a:lnTo>
                  <a:lnTo>
                    <a:pt x="1579" y="6845"/>
                  </a:lnTo>
                  <a:lnTo>
                    <a:pt x="1456" y="6628"/>
                  </a:lnTo>
                  <a:lnTo>
                    <a:pt x="1337" y="6405"/>
                  </a:lnTo>
                  <a:lnTo>
                    <a:pt x="1224" y="6177"/>
                  </a:lnTo>
                  <a:lnTo>
                    <a:pt x="1115" y="5942"/>
                  </a:lnTo>
                  <a:lnTo>
                    <a:pt x="1010" y="5702"/>
                  </a:lnTo>
                  <a:lnTo>
                    <a:pt x="910" y="5457"/>
                  </a:lnTo>
                  <a:lnTo>
                    <a:pt x="815" y="5205"/>
                  </a:lnTo>
                  <a:lnTo>
                    <a:pt x="725" y="4949"/>
                  </a:lnTo>
                  <a:lnTo>
                    <a:pt x="640" y="4688"/>
                  </a:lnTo>
                  <a:lnTo>
                    <a:pt x="559" y="4423"/>
                  </a:lnTo>
                  <a:lnTo>
                    <a:pt x="484" y="4153"/>
                  </a:lnTo>
                  <a:lnTo>
                    <a:pt x="414" y="3879"/>
                  </a:lnTo>
                  <a:lnTo>
                    <a:pt x="350" y="3600"/>
                  </a:lnTo>
                  <a:lnTo>
                    <a:pt x="290" y="3318"/>
                  </a:lnTo>
                  <a:lnTo>
                    <a:pt x="236" y="3033"/>
                  </a:lnTo>
                  <a:lnTo>
                    <a:pt x="187" y="2744"/>
                  </a:lnTo>
                  <a:lnTo>
                    <a:pt x="144" y="2452"/>
                  </a:lnTo>
                  <a:lnTo>
                    <a:pt x="106" y="2156"/>
                  </a:lnTo>
                  <a:lnTo>
                    <a:pt x="74" y="1858"/>
                  </a:lnTo>
                  <a:lnTo>
                    <a:pt x="47" y="1558"/>
                  </a:lnTo>
                  <a:lnTo>
                    <a:pt x="26" y="1255"/>
                  </a:lnTo>
                  <a:lnTo>
                    <a:pt x="12" y="950"/>
                  </a:lnTo>
                  <a:lnTo>
                    <a:pt x="3" y="643"/>
                  </a:lnTo>
                  <a:lnTo>
                    <a:pt x="0" y="335"/>
                  </a:lnTo>
                  <a:lnTo>
                    <a:pt x="1" y="132"/>
                  </a:lnTo>
                  <a:cubicBezTo>
                    <a:pt x="2" y="59"/>
                    <a:pt x="62" y="0"/>
                    <a:pt x="135" y="0"/>
                  </a:cubicBezTo>
                  <a:cubicBezTo>
                    <a:pt x="209" y="1"/>
                    <a:pt x="268" y="61"/>
                    <a:pt x="268" y="134"/>
                  </a:cubicBezTo>
                  <a:lnTo>
                    <a:pt x="266" y="332"/>
                  </a:lnTo>
                  <a:lnTo>
                    <a:pt x="269" y="636"/>
                  </a:lnTo>
                  <a:lnTo>
                    <a:pt x="278" y="937"/>
                  </a:lnTo>
                  <a:lnTo>
                    <a:pt x="292" y="1237"/>
                  </a:lnTo>
                  <a:lnTo>
                    <a:pt x="313" y="1534"/>
                  </a:lnTo>
                  <a:lnTo>
                    <a:pt x="339" y="1830"/>
                  </a:lnTo>
                  <a:lnTo>
                    <a:pt x="370" y="2123"/>
                  </a:lnTo>
                  <a:lnTo>
                    <a:pt x="407" y="2412"/>
                  </a:lnTo>
                  <a:lnTo>
                    <a:pt x="450" y="2699"/>
                  </a:lnTo>
                  <a:lnTo>
                    <a:pt x="498" y="2983"/>
                  </a:lnTo>
                  <a:lnTo>
                    <a:pt x="551" y="3263"/>
                  </a:lnTo>
                  <a:lnTo>
                    <a:pt x="609" y="3540"/>
                  </a:lnTo>
                  <a:lnTo>
                    <a:pt x="673" y="3812"/>
                  </a:lnTo>
                  <a:lnTo>
                    <a:pt x="741" y="4081"/>
                  </a:lnTo>
                  <a:lnTo>
                    <a:pt x="815" y="4345"/>
                  </a:lnTo>
                  <a:lnTo>
                    <a:pt x="893" y="4606"/>
                  </a:lnTo>
                  <a:lnTo>
                    <a:pt x="976" y="4861"/>
                  </a:lnTo>
                  <a:lnTo>
                    <a:pt x="1065" y="5111"/>
                  </a:lnTo>
                  <a:lnTo>
                    <a:pt x="1157" y="5356"/>
                  </a:lnTo>
                  <a:lnTo>
                    <a:pt x="1254" y="5596"/>
                  </a:lnTo>
                  <a:lnTo>
                    <a:pt x="1356" y="5830"/>
                  </a:lnTo>
                  <a:lnTo>
                    <a:pt x="1462" y="6058"/>
                  </a:lnTo>
                  <a:lnTo>
                    <a:pt x="1573" y="6280"/>
                  </a:lnTo>
                  <a:lnTo>
                    <a:pt x="1687" y="6497"/>
                  </a:lnTo>
                  <a:lnTo>
                    <a:pt x="1806" y="6706"/>
                  </a:lnTo>
                  <a:lnTo>
                    <a:pt x="1930" y="6910"/>
                  </a:lnTo>
                  <a:lnTo>
                    <a:pt x="2057" y="7105"/>
                  </a:lnTo>
                  <a:lnTo>
                    <a:pt x="2187" y="7294"/>
                  </a:lnTo>
                  <a:lnTo>
                    <a:pt x="2323" y="7476"/>
                  </a:lnTo>
                  <a:lnTo>
                    <a:pt x="2378" y="7546"/>
                  </a:lnTo>
                  <a:cubicBezTo>
                    <a:pt x="2424" y="7603"/>
                    <a:pt x="2414" y="7687"/>
                    <a:pt x="2357" y="7733"/>
                  </a:cubicBezTo>
                  <a:cubicBezTo>
                    <a:pt x="2299" y="7779"/>
                    <a:pt x="2215" y="7769"/>
                    <a:pt x="2169" y="7712"/>
                  </a:cubicBezTo>
                  <a:close/>
                  <a:moveTo>
                    <a:pt x="2274" y="7629"/>
                  </a:moveTo>
                  <a:lnTo>
                    <a:pt x="2215" y="6965"/>
                  </a:lnTo>
                  <a:lnTo>
                    <a:pt x="2807" y="8224"/>
                  </a:lnTo>
                  <a:lnTo>
                    <a:pt x="1620" y="7499"/>
                  </a:lnTo>
                  <a:lnTo>
                    <a:pt x="2274" y="7629"/>
                  </a:lnTo>
                  <a:close/>
                </a:path>
              </a:pathLst>
            </a:custGeom>
            <a:solidFill>
              <a:srgbClr val="00B050"/>
            </a:solidFill>
            <a:ln w="1" cap="flat">
              <a:solidFill>
                <a:srgbClr val="00B050"/>
              </a:solidFill>
              <a:prstDash val="solid"/>
              <a:bevel/>
              <a:headEnd/>
              <a:tailEnd/>
            </a:ln>
          </p:spPr>
          <p:txBody>
            <a:bodyPr/>
            <a:lstStyle/>
            <a:p>
              <a:pPr marL="0" marR="0" lvl="0" indent="0" algn="l" defTabSz="709803" rtl="0" eaLnBrk="1" fontAlgn="auto" latinLnBrk="0" hangingPunct="1">
                <a:lnSpc>
                  <a:spcPct val="100000"/>
                </a:lnSpc>
                <a:spcBef>
                  <a:spcPts val="0"/>
                </a:spcBef>
                <a:spcAft>
                  <a:spcPts val="0"/>
                </a:spcAft>
                <a:buClrTx/>
                <a:buSzTx/>
                <a:buFontTx/>
                <a:buNone/>
                <a:tabLst/>
                <a:defRPr/>
              </a:pPr>
              <a:endParaRPr kumimoji="0" lang="fr-FR" sz="700" b="0" i="0" u="none" strike="noStrike" kern="1200" cap="none" spc="0" normalizeH="0" baseline="0" noProof="0">
                <a:ln>
                  <a:noFill/>
                </a:ln>
                <a:solidFill>
                  <a:srgbClr val="1F497D"/>
                </a:solidFill>
                <a:effectLst/>
                <a:uLnTx/>
                <a:uFillTx/>
                <a:latin typeface="+mj-lt"/>
                <a:ea typeface="+mn-ea"/>
                <a:cs typeface="Arial" charset="0"/>
              </a:endParaRPr>
            </a:p>
          </p:txBody>
        </p:sp>
        <p:sp>
          <p:nvSpPr>
            <p:cNvPr id="42" name="Rectangle 665">
              <a:extLst>
                <a:ext uri="{FF2B5EF4-FFF2-40B4-BE49-F238E27FC236}">
                  <a16:creationId xmlns:a16="http://schemas.microsoft.com/office/drawing/2014/main" id="{9F378D50-B5D5-4F57-980B-73AD6A971D63}"/>
                </a:ext>
              </a:extLst>
            </p:cNvPr>
            <p:cNvSpPr>
              <a:spLocks noChangeArrowheads="1"/>
            </p:cNvSpPr>
            <p:nvPr/>
          </p:nvSpPr>
          <p:spPr bwMode="auto">
            <a:xfrm>
              <a:off x="7278411" y="2554490"/>
              <a:ext cx="1048969" cy="13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fr-FR" altLang="en-US" sz="1000" b="1" i="0" u="none" strike="noStrike" kern="1200" cap="none" spc="0" normalizeH="0" baseline="0" noProof="0">
                  <a:ln>
                    <a:noFill/>
                  </a:ln>
                  <a:solidFill>
                    <a:prstClr val="black"/>
                  </a:solidFill>
                  <a:effectLst/>
                  <a:uLnTx/>
                  <a:uFillTx/>
                  <a:latin typeface="+mj-lt"/>
                  <a:ea typeface="ＭＳ Ｐゴシック" panose="020B0600070205080204" pitchFamily="34" charset="-128"/>
                  <a:cs typeface="Arial" charset="0"/>
                </a:rPr>
                <a:t>Valeur ajoutée</a:t>
              </a:r>
              <a:endParaRPr kumimoji="0" lang="fr-FR" altLang="en-US" sz="1000" b="0" i="0" u="none" strike="noStrike" kern="1200" cap="none" spc="0" normalizeH="0" baseline="0" noProof="0">
                <a:ln>
                  <a:noFill/>
                </a:ln>
                <a:solidFill>
                  <a:prstClr val="black"/>
                </a:solidFill>
                <a:effectLst/>
                <a:uLnTx/>
                <a:uFillTx/>
                <a:latin typeface="+mj-lt"/>
                <a:ea typeface="ＭＳ Ｐゴシック" panose="020B0600070205080204" pitchFamily="34" charset="-128"/>
                <a:cs typeface="Arial" charset="0"/>
              </a:endParaRPr>
            </a:p>
          </p:txBody>
        </p:sp>
        <p:sp>
          <p:nvSpPr>
            <p:cNvPr id="43" name="Rectangle 666">
              <a:extLst>
                <a:ext uri="{FF2B5EF4-FFF2-40B4-BE49-F238E27FC236}">
                  <a16:creationId xmlns:a16="http://schemas.microsoft.com/office/drawing/2014/main" id="{A7E5DC22-742F-43A9-9A54-F2FB6586222C}"/>
                </a:ext>
              </a:extLst>
            </p:cNvPr>
            <p:cNvSpPr>
              <a:spLocks noChangeArrowheads="1"/>
            </p:cNvSpPr>
            <p:nvPr/>
          </p:nvSpPr>
          <p:spPr bwMode="auto">
            <a:xfrm>
              <a:off x="8210812" y="2554490"/>
              <a:ext cx="65" cy="133850"/>
            </a:xfrm>
            <a:prstGeom prst="rect">
              <a:avLst/>
            </a:prstGeom>
            <a:noFill/>
            <a:ln w="9525">
              <a:noFill/>
              <a:miter lim="800000"/>
              <a:headEnd/>
              <a:tailEnd/>
            </a:ln>
          </p:spPr>
          <p:txBody>
            <a:bodyPr wrap="square" lIns="0" tIns="0" rIns="0" bIns="0">
              <a:spAutoFit/>
            </a:bodyPr>
            <a:lstStyle/>
            <a:p>
              <a:pPr marL="0" marR="0" lvl="0" indent="0" algn="l" defTabSz="709803" rtl="0" eaLnBrk="1" fontAlgn="auto" latinLnBrk="0" hangingPunct="1">
                <a:lnSpc>
                  <a:spcPct val="100000"/>
                </a:lnSpc>
                <a:spcBef>
                  <a:spcPts val="0"/>
                </a:spcBef>
                <a:spcAft>
                  <a:spcPts val="0"/>
                </a:spcAft>
                <a:buClrTx/>
                <a:buSzTx/>
                <a:buFontTx/>
                <a:buNone/>
                <a:tabLst/>
                <a:defRPr/>
              </a:pPr>
              <a:endParaRPr kumimoji="0" lang="fr-FR" sz="1000" b="0" i="0" u="none" strike="noStrike" kern="1200" cap="none" spc="0" normalizeH="0" baseline="0" noProof="0">
                <a:ln>
                  <a:noFill/>
                </a:ln>
                <a:solidFill>
                  <a:prstClr val="black">
                    <a:lumMod val="65000"/>
                    <a:lumOff val="35000"/>
                  </a:prstClr>
                </a:solidFill>
                <a:effectLst/>
                <a:uLnTx/>
                <a:uFillTx/>
                <a:latin typeface="+mj-lt"/>
                <a:ea typeface="+mn-ea"/>
                <a:cs typeface="Arial" charset="0"/>
              </a:endParaRPr>
            </a:p>
          </p:txBody>
        </p:sp>
        <p:sp>
          <p:nvSpPr>
            <p:cNvPr id="44" name="Rectangle 668">
              <a:extLst>
                <a:ext uri="{FF2B5EF4-FFF2-40B4-BE49-F238E27FC236}">
                  <a16:creationId xmlns:a16="http://schemas.microsoft.com/office/drawing/2014/main" id="{75A11E06-1ABA-4743-9174-397CC4B2456B}"/>
                </a:ext>
              </a:extLst>
            </p:cNvPr>
            <p:cNvSpPr>
              <a:spLocks noChangeArrowheads="1"/>
            </p:cNvSpPr>
            <p:nvPr/>
          </p:nvSpPr>
          <p:spPr bwMode="auto">
            <a:xfrm>
              <a:off x="7498067" y="2744364"/>
              <a:ext cx="639834" cy="133850"/>
            </a:xfrm>
            <a:prstGeom prst="rect">
              <a:avLst/>
            </a:prstGeom>
            <a:noFill/>
            <a:ln w="9525">
              <a:noFill/>
              <a:miter lim="800000"/>
              <a:headEnd/>
              <a:tailEnd/>
            </a:ln>
          </p:spPr>
          <p:txBody>
            <a:bodyPr wrap="square" lIns="0" tIns="0" rIns="0" bIns="0">
              <a:spAutoFit/>
            </a:bodyPr>
            <a:lstStyle/>
            <a:p>
              <a:pPr marL="0" marR="0" lvl="0" indent="0" algn="l" defTabSz="709803"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a:ln>
                    <a:noFill/>
                  </a:ln>
                  <a:solidFill>
                    <a:prstClr val="black"/>
                  </a:solidFill>
                  <a:effectLst/>
                  <a:uLnTx/>
                  <a:uFillTx/>
                  <a:latin typeface="+mj-lt"/>
                  <a:ea typeface="+mn-ea"/>
                  <a:cs typeface="Arial" charset="0"/>
                </a:rPr>
                <a:t>(5-10%)</a:t>
              </a:r>
              <a:endParaRPr kumimoji="0" lang="fr-FR" sz="1000" b="0" i="0" u="none" strike="noStrike" kern="1200" cap="none" spc="0" normalizeH="0" baseline="0" noProof="0">
                <a:ln>
                  <a:noFill/>
                </a:ln>
                <a:solidFill>
                  <a:prstClr val="black"/>
                </a:solidFill>
                <a:effectLst/>
                <a:uLnTx/>
                <a:uFillTx/>
                <a:latin typeface="+mj-lt"/>
                <a:ea typeface="+mn-ea"/>
                <a:cs typeface="Arial" charset="0"/>
              </a:endParaRPr>
            </a:p>
          </p:txBody>
        </p:sp>
        <p:sp>
          <p:nvSpPr>
            <p:cNvPr id="45" name="Rectangle 634">
              <a:extLst>
                <a:ext uri="{FF2B5EF4-FFF2-40B4-BE49-F238E27FC236}">
                  <a16:creationId xmlns:a16="http://schemas.microsoft.com/office/drawing/2014/main" id="{12E0087D-2426-4D71-BF81-50FE321F6F0E}"/>
                </a:ext>
              </a:extLst>
            </p:cNvPr>
            <p:cNvSpPr>
              <a:spLocks noChangeArrowheads="1"/>
            </p:cNvSpPr>
            <p:nvPr/>
          </p:nvSpPr>
          <p:spPr bwMode="auto">
            <a:xfrm>
              <a:off x="7464152" y="3360934"/>
              <a:ext cx="1054888" cy="13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fr-FR" altLang="en-US" sz="1000" b="1" i="0" u="none" strike="noStrike" kern="1200" cap="none" spc="0" normalizeH="0" baseline="0" noProof="0">
                  <a:ln>
                    <a:noFill/>
                  </a:ln>
                  <a:solidFill>
                    <a:prstClr val="black"/>
                  </a:solidFill>
                  <a:effectLst/>
                  <a:uLnTx/>
                  <a:uFillTx/>
                  <a:latin typeface="+mj-lt"/>
                  <a:ea typeface="ＭＳ Ｐゴシック" panose="020B0600070205080204" pitchFamily="34" charset="-128"/>
                  <a:cs typeface="Arial" charset="0"/>
                </a:rPr>
                <a:t>Transport</a:t>
              </a:r>
            </a:p>
          </p:txBody>
        </p:sp>
        <p:sp>
          <p:nvSpPr>
            <p:cNvPr id="46" name="Rectangle 637">
              <a:extLst>
                <a:ext uri="{FF2B5EF4-FFF2-40B4-BE49-F238E27FC236}">
                  <a16:creationId xmlns:a16="http://schemas.microsoft.com/office/drawing/2014/main" id="{356D93C7-D8DD-49FC-A97C-564FDC466392}"/>
                </a:ext>
              </a:extLst>
            </p:cNvPr>
            <p:cNvSpPr>
              <a:spLocks noChangeArrowheads="1"/>
            </p:cNvSpPr>
            <p:nvPr/>
          </p:nvSpPr>
          <p:spPr bwMode="auto">
            <a:xfrm>
              <a:off x="7464153" y="3829921"/>
              <a:ext cx="696173" cy="13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fr-FR" altLang="en-US" sz="1000" b="1" i="0" u="none" strike="noStrike" kern="1200" cap="none" spc="0" normalizeH="0" baseline="0" noProof="0">
                  <a:ln>
                    <a:noFill/>
                  </a:ln>
                  <a:solidFill>
                    <a:prstClr val="black"/>
                  </a:solidFill>
                  <a:effectLst/>
                  <a:uLnTx/>
                  <a:uFillTx/>
                  <a:latin typeface="+mj-lt"/>
                  <a:ea typeface="ＭＳ Ｐゴシック" panose="020B0600070205080204" pitchFamily="34" charset="-128"/>
                  <a:cs typeface="Arial" charset="0"/>
                </a:rPr>
                <a:t>Stocks</a:t>
              </a:r>
            </a:p>
          </p:txBody>
        </p:sp>
        <p:cxnSp>
          <p:nvCxnSpPr>
            <p:cNvPr id="47" name="Straight Arrow Connector 699">
              <a:extLst>
                <a:ext uri="{FF2B5EF4-FFF2-40B4-BE49-F238E27FC236}">
                  <a16:creationId xmlns:a16="http://schemas.microsoft.com/office/drawing/2014/main" id="{EDB761C7-019F-4406-9F88-1A9359968C3E}"/>
                </a:ext>
              </a:extLst>
            </p:cNvPr>
            <p:cNvCxnSpPr>
              <a:cxnSpLocks noChangeShapeType="1"/>
            </p:cNvCxnSpPr>
            <p:nvPr/>
          </p:nvCxnSpPr>
          <p:spPr bwMode="auto">
            <a:xfrm flipH="1" flipV="1">
              <a:off x="8479592" y="3459473"/>
              <a:ext cx="419518" cy="0"/>
            </a:xfrm>
            <a:prstGeom prst="straightConnector1">
              <a:avLst/>
            </a:prstGeom>
            <a:noFill/>
            <a:ln w="31750" algn="ctr">
              <a:solidFill>
                <a:srgbClr val="FFC000"/>
              </a:solidFill>
              <a:round/>
              <a:headEnd/>
              <a:tailEnd type="triangle" w="med" len="med"/>
            </a:ln>
            <a:extLst>
              <a:ext uri="{909E8E84-426E-40DD-AFC4-6F175D3DCCD1}">
                <a14:hiddenFill xmlns:a14="http://schemas.microsoft.com/office/drawing/2010/main">
                  <a:noFill/>
                </a14:hiddenFill>
              </a:ext>
            </a:extLst>
          </p:spPr>
        </p:cxnSp>
        <p:cxnSp>
          <p:nvCxnSpPr>
            <p:cNvPr id="48" name="Straight Arrow Connector 703">
              <a:extLst>
                <a:ext uri="{FF2B5EF4-FFF2-40B4-BE49-F238E27FC236}">
                  <a16:creationId xmlns:a16="http://schemas.microsoft.com/office/drawing/2014/main" id="{C77395CD-7495-4558-9F08-04524948F0A4}"/>
                </a:ext>
              </a:extLst>
            </p:cNvPr>
            <p:cNvCxnSpPr>
              <a:cxnSpLocks noChangeShapeType="1"/>
            </p:cNvCxnSpPr>
            <p:nvPr/>
          </p:nvCxnSpPr>
          <p:spPr bwMode="auto">
            <a:xfrm rot="10800000" flipV="1">
              <a:off x="8500346" y="3913223"/>
              <a:ext cx="355775" cy="0"/>
            </a:xfrm>
            <a:prstGeom prst="straightConnector1">
              <a:avLst/>
            </a:prstGeom>
            <a:noFill/>
            <a:ln w="31750" algn="ctr">
              <a:solidFill>
                <a:srgbClr val="FFC000"/>
              </a:solidFill>
              <a:round/>
              <a:headEnd/>
              <a:tailEnd type="triangle" w="med" len="med"/>
            </a:ln>
            <a:extLst>
              <a:ext uri="{909E8E84-426E-40DD-AFC4-6F175D3DCCD1}">
                <a14:hiddenFill xmlns:a14="http://schemas.microsoft.com/office/drawing/2010/main">
                  <a:noFill/>
                </a14:hiddenFill>
              </a:ext>
            </a:extLst>
          </p:spPr>
        </p:cxnSp>
        <p:cxnSp>
          <p:nvCxnSpPr>
            <p:cNvPr id="49" name="Straight Arrow Connector 704">
              <a:extLst>
                <a:ext uri="{FF2B5EF4-FFF2-40B4-BE49-F238E27FC236}">
                  <a16:creationId xmlns:a16="http://schemas.microsoft.com/office/drawing/2014/main" id="{1C236566-4B56-409B-8B50-A86FCAC294ED}"/>
                </a:ext>
              </a:extLst>
            </p:cNvPr>
            <p:cNvCxnSpPr>
              <a:cxnSpLocks noChangeShapeType="1"/>
            </p:cNvCxnSpPr>
            <p:nvPr/>
          </p:nvCxnSpPr>
          <p:spPr bwMode="auto">
            <a:xfrm rot="10800000">
              <a:off x="8521100" y="4410039"/>
              <a:ext cx="515873" cy="0"/>
            </a:xfrm>
            <a:prstGeom prst="straightConnector1">
              <a:avLst/>
            </a:prstGeom>
            <a:noFill/>
            <a:ln w="31750" algn="ctr">
              <a:solidFill>
                <a:srgbClr val="FFC000"/>
              </a:solidFill>
              <a:round/>
              <a:headEnd/>
              <a:tailEnd type="triangle" w="med" len="med"/>
            </a:ln>
            <a:extLst>
              <a:ext uri="{909E8E84-426E-40DD-AFC4-6F175D3DCCD1}">
                <a14:hiddenFill xmlns:a14="http://schemas.microsoft.com/office/drawing/2010/main">
                  <a:noFill/>
                </a14:hiddenFill>
              </a:ext>
            </a:extLst>
          </p:spPr>
        </p:cxnSp>
        <p:grpSp>
          <p:nvGrpSpPr>
            <p:cNvPr id="50" name="Group 673">
              <a:extLst>
                <a:ext uri="{FF2B5EF4-FFF2-40B4-BE49-F238E27FC236}">
                  <a16:creationId xmlns:a16="http://schemas.microsoft.com/office/drawing/2014/main" id="{2D9075D3-966C-400D-81B9-1B52D59D2F20}"/>
                </a:ext>
              </a:extLst>
            </p:cNvPr>
            <p:cNvGrpSpPr>
              <a:grpSpLocks noChangeAspect="1"/>
            </p:cNvGrpSpPr>
            <p:nvPr/>
          </p:nvGrpSpPr>
          <p:grpSpPr bwMode="auto">
            <a:xfrm>
              <a:off x="8633762" y="3013416"/>
              <a:ext cx="1627669" cy="1544282"/>
              <a:chOff x="432248" y="1152001"/>
              <a:chExt cx="4262086" cy="4337833"/>
            </a:xfrm>
          </p:grpSpPr>
          <p:pic>
            <p:nvPicPr>
              <p:cNvPr id="53" name="Picture 2">
                <a:extLst>
                  <a:ext uri="{FF2B5EF4-FFF2-40B4-BE49-F238E27FC236}">
                    <a16:creationId xmlns:a16="http://schemas.microsoft.com/office/drawing/2014/main" id="{1086B68B-C521-4A28-8F61-75C3EBD2B4A2}"/>
                  </a:ext>
                </a:extLst>
              </p:cNvPr>
              <p:cNvPicPr>
                <a:picLocks noChangeAspect="1" noChangeArrowheads="1"/>
              </p:cNvPicPr>
              <p:nvPr/>
            </p:nvPicPr>
            <p:blipFill>
              <a:blip r:embed="rId6" cstate="email">
                <a:clrChange>
                  <a:clrFrom>
                    <a:srgbClr val="FFFFFF"/>
                  </a:clrFrom>
                  <a:clrTo>
                    <a:srgbClr val="FFFFFF">
                      <a:alpha val="0"/>
                    </a:srgbClr>
                  </a:clrTo>
                </a:clrChange>
                <a:duotone>
                  <a:prstClr val="black"/>
                  <a:srgbClr val="FFC000">
                    <a:tint val="45000"/>
                    <a:satMod val="400000"/>
                  </a:srgbClr>
                </a:duotone>
                <a:extLst>
                  <a:ext uri="{28A0092B-C50C-407E-A947-70E740481C1C}">
                    <a14:useLocalDpi xmlns:a14="http://schemas.microsoft.com/office/drawing/2010/main"/>
                  </a:ext>
                </a:extLst>
              </a:blip>
              <a:srcRect/>
              <a:stretch>
                <a:fillRect/>
              </a:stretch>
            </p:blipFill>
            <p:spPr bwMode="auto">
              <a:xfrm>
                <a:off x="1620002" y="1152001"/>
                <a:ext cx="2581843" cy="2139801"/>
              </a:xfrm>
              <a:prstGeom prst="rect">
                <a:avLst/>
              </a:prstGeom>
              <a:noFill/>
              <a:ln w="9525">
                <a:noFill/>
                <a:miter lim="800000"/>
                <a:headEnd/>
                <a:tailEnd/>
              </a:ln>
              <a:effectLst/>
            </p:spPr>
          </p:pic>
          <p:pic>
            <p:nvPicPr>
              <p:cNvPr id="54" name="Picture 3">
                <a:extLst>
                  <a:ext uri="{FF2B5EF4-FFF2-40B4-BE49-F238E27FC236}">
                    <a16:creationId xmlns:a16="http://schemas.microsoft.com/office/drawing/2014/main" id="{56C6671D-4BA9-41B8-B586-B7F91E6D07EE}"/>
                  </a:ext>
                </a:extLst>
              </p:cNvPr>
              <p:cNvPicPr>
                <a:picLocks noChangeAspect="1" noChangeArrowheads="1"/>
              </p:cNvPicPr>
              <p:nvPr/>
            </p:nvPicPr>
            <p:blipFill>
              <a:blip r:embed="rId7" cstate="email">
                <a:clrChange>
                  <a:clrFrom>
                    <a:srgbClr val="FFFFFF"/>
                  </a:clrFrom>
                  <a:clrTo>
                    <a:srgbClr val="FFFFFF">
                      <a:alpha val="0"/>
                    </a:srgbClr>
                  </a:clrTo>
                </a:clrChange>
                <a:duotone>
                  <a:prstClr val="black"/>
                  <a:srgbClr val="00B050">
                    <a:tint val="45000"/>
                    <a:satMod val="400000"/>
                  </a:srgbClr>
                </a:duotone>
                <a:extLst>
                  <a:ext uri="{28A0092B-C50C-407E-A947-70E740481C1C}">
                    <a14:useLocalDpi xmlns:a14="http://schemas.microsoft.com/office/drawing/2010/main"/>
                  </a:ext>
                </a:extLst>
              </a:blip>
              <a:srcRect/>
              <a:stretch>
                <a:fillRect/>
              </a:stretch>
            </p:blipFill>
            <p:spPr bwMode="auto">
              <a:xfrm>
                <a:off x="776537" y="1340771"/>
                <a:ext cx="1827332" cy="1963003"/>
              </a:xfrm>
              <a:prstGeom prst="rect">
                <a:avLst/>
              </a:prstGeom>
              <a:noFill/>
              <a:ln w="9525">
                <a:noFill/>
                <a:miter lim="800000"/>
                <a:headEnd/>
                <a:tailEnd/>
              </a:ln>
              <a:effectLst/>
            </p:spPr>
          </p:pic>
          <p:pic>
            <p:nvPicPr>
              <p:cNvPr id="55" name="Picture 4">
                <a:extLst>
                  <a:ext uri="{FF2B5EF4-FFF2-40B4-BE49-F238E27FC236}">
                    <a16:creationId xmlns:a16="http://schemas.microsoft.com/office/drawing/2014/main" id="{5831939C-F9C4-4601-A0CD-DC0CF5BB1BCE}"/>
                  </a:ext>
                </a:extLst>
              </p:cNvPr>
              <p:cNvPicPr>
                <a:picLocks noChangeAspect="1" noChangeArrowheads="1"/>
              </p:cNvPicPr>
              <p:nvPr/>
            </p:nvPicPr>
            <p:blipFill>
              <a:blip r:embed="rId8" cstate="email">
                <a:clrChange>
                  <a:clrFrom>
                    <a:srgbClr val="FFFFFF"/>
                  </a:clrFrom>
                  <a:clrTo>
                    <a:srgbClr val="FFFFFF">
                      <a:alpha val="0"/>
                    </a:srgbClr>
                  </a:clrTo>
                </a:clrChange>
                <a:duotone>
                  <a:prstClr val="black"/>
                  <a:srgbClr val="FFC000">
                    <a:tint val="45000"/>
                    <a:satMod val="400000"/>
                  </a:srgbClr>
                </a:duotone>
                <a:extLst>
                  <a:ext uri="{28A0092B-C50C-407E-A947-70E740481C1C}">
                    <a14:useLocalDpi xmlns:a14="http://schemas.microsoft.com/office/drawing/2010/main"/>
                  </a:ext>
                </a:extLst>
              </a:blip>
              <a:srcRect/>
              <a:stretch>
                <a:fillRect/>
              </a:stretch>
            </p:blipFill>
            <p:spPr bwMode="auto">
              <a:xfrm>
                <a:off x="2610001" y="1998001"/>
                <a:ext cx="1972733" cy="1286115"/>
              </a:xfrm>
              <a:prstGeom prst="rect">
                <a:avLst/>
              </a:prstGeom>
              <a:noFill/>
              <a:ln w="9525">
                <a:noFill/>
                <a:miter lim="800000"/>
                <a:headEnd/>
                <a:tailEnd/>
              </a:ln>
              <a:effectLst/>
            </p:spPr>
          </p:pic>
          <p:pic>
            <p:nvPicPr>
              <p:cNvPr id="56" name="Picture 5">
                <a:extLst>
                  <a:ext uri="{FF2B5EF4-FFF2-40B4-BE49-F238E27FC236}">
                    <a16:creationId xmlns:a16="http://schemas.microsoft.com/office/drawing/2014/main" id="{99D179D6-A626-47C9-9393-E8DE4D771D93}"/>
                  </a:ext>
                </a:extLst>
              </p:cNvPr>
              <p:cNvPicPr>
                <a:picLocks noChangeAspect="1" noChangeArrowheads="1"/>
              </p:cNvPicPr>
              <p:nvPr/>
            </p:nvPicPr>
            <p:blipFill>
              <a:blip r:embed="rId9" cstate="email">
                <a:clrChange>
                  <a:clrFrom>
                    <a:srgbClr val="FFFFFF"/>
                  </a:clrFrom>
                  <a:clrTo>
                    <a:srgbClr val="FFFFFF">
                      <a:alpha val="0"/>
                    </a:srgbClr>
                  </a:clrTo>
                </a:clrChange>
                <a:duotone>
                  <a:prstClr val="black"/>
                  <a:srgbClr val="FFC000">
                    <a:tint val="45000"/>
                    <a:satMod val="400000"/>
                  </a:srgbClr>
                </a:duotone>
                <a:extLst>
                  <a:ext uri="{28A0092B-C50C-407E-A947-70E740481C1C}">
                    <a14:useLocalDpi xmlns:a14="http://schemas.microsoft.com/office/drawing/2010/main"/>
                  </a:ext>
                </a:extLst>
              </a:blip>
              <a:srcRect/>
              <a:stretch>
                <a:fillRect/>
              </a:stretch>
            </p:blipFill>
            <p:spPr bwMode="auto">
              <a:xfrm>
                <a:off x="432248" y="3212978"/>
                <a:ext cx="2151049" cy="1421525"/>
              </a:xfrm>
              <a:prstGeom prst="rect">
                <a:avLst/>
              </a:prstGeom>
              <a:noFill/>
              <a:ln w="9525">
                <a:noFill/>
                <a:miter lim="800000"/>
                <a:headEnd/>
                <a:tailEnd/>
              </a:ln>
              <a:effectLst/>
            </p:spPr>
          </p:pic>
          <p:pic>
            <p:nvPicPr>
              <p:cNvPr id="57" name="Picture 6">
                <a:extLst>
                  <a:ext uri="{FF2B5EF4-FFF2-40B4-BE49-F238E27FC236}">
                    <a16:creationId xmlns:a16="http://schemas.microsoft.com/office/drawing/2014/main" id="{83494A20-1440-415B-879E-90C88240ABA7}"/>
                  </a:ext>
                </a:extLst>
              </p:cNvPr>
              <p:cNvPicPr>
                <a:picLocks noChangeAspect="1" noChangeArrowheads="1"/>
              </p:cNvPicPr>
              <p:nvPr/>
            </p:nvPicPr>
            <p:blipFill>
              <a:blip r:embed="rId10" cstate="email">
                <a:clrChange>
                  <a:clrFrom>
                    <a:srgbClr val="FFFFFF"/>
                  </a:clrFrom>
                  <a:clrTo>
                    <a:srgbClr val="FFFFFF">
                      <a:alpha val="0"/>
                    </a:srgbClr>
                  </a:clrTo>
                </a:clrChange>
                <a:duotone>
                  <a:prstClr val="black"/>
                  <a:srgbClr val="FFC000">
                    <a:tint val="45000"/>
                    <a:satMod val="400000"/>
                  </a:srgbClr>
                </a:duotone>
                <a:extLst>
                  <a:ext uri="{28A0092B-C50C-407E-A947-70E740481C1C}">
                    <a14:useLocalDpi xmlns:a14="http://schemas.microsoft.com/office/drawing/2010/main"/>
                  </a:ext>
                </a:extLst>
              </a:blip>
              <a:srcRect/>
              <a:stretch>
                <a:fillRect/>
              </a:stretch>
            </p:blipFill>
            <p:spPr bwMode="auto">
              <a:xfrm>
                <a:off x="2592001" y="2700001"/>
                <a:ext cx="2102333" cy="2460015"/>
              </a:xfrm>
              <a:prstGeom prst="rect">
                <a:avLst/>
              </a:prstGeom>
              <a:noFill/>
              <a:ln w="9525">
                <a:noFill/>
                <a:miter lim="800000"/>
                <a:headEnd/>
                <a:tailEnd/>
              </a:ln>
              <a:effectLst/>
            </p:spPr>
          </p:pic>
          <p:pic>
            <p:nvPicPr>
              <p:cNvPr id="58" name="Picture 7">
                <a:extLst>
                  <a:ext uri="{FF2B5EF4-FFF2-40B4-BE49-F238E27FC236}">
                    <a16:creationId xmlns:a16="http://schemas.microsoft.com/office/drawing/2014/main" id="{B9979371-CB8A-4B37-996F-FD933102C1CF}"/>
                  </a:ext>
                </a:extLst>
              </p:cNvPr>
              <p:cNvPicPr>
                <a:picLocks noChangeAspect="1" noChangeArrowheads="1"/>
              </p:cNvPicPr>
              <p:nvPr/>
            </p:nvPicPr>
            <p:blipFill>
              <a:blip r:embed="rId11" cstate="email">
                <a:clrChange>
                  <a:clrFrom>
                    <a:srgbClr val="FFFFFF"/>
                  </a:clrFrom>
                  <a:clrTo>
                    <a:srgbClr val="FFFFFF">
                      <a:alpha val="0"/>
                    </a:srgbClr>
                  </a:clrTo>
                </a:clrChange>
                <a:duotone>
                  <a:prstClr val="black"/>
                  <a:srgbClr val="FFC000">
                    <a:tint val="45000"/>
                    <a:satMod val="400000"/>
                  </a:srgbClr>
                </a:duotone>
                <a:extLst>
                  <a:ext uri="{28A0092B-C50C-407E-A947-70E740481C1C}">
                    <a14:useLocalDpi xmlns:a14="http://schemas.microsoft.com/office/drawing/2010/main"/>
                  </a:ext>
                </a:extLst>
              </a:blip>
              <a:srcRect/>
              <a:stretch>
                <a:fillRect/>
              </a:stretch>
            </p:blipFill>
            <p:spPr bwMode="auto">
              <a:xfrm>
                <a:off x="2587833" y="3361644"/>
                <a:ext cx="1082887" cy="2121990"/>
              </a:xfrm>
              <a:prstGeom prst="rect">
                <a:avLst/>
              </a:prstGeom>
              <a:noFill/>
              <a:ln w="9525">
                <a:noFill/>
                <a:miter lim="800000"/>
                <a:headEnd/>
                <a:tailEnd/>
              </a:ln>
              <a:effectLst/>
            </p:spPr>
          </p:pic>
          <p:pic>
            <p:nvPicPr>
              <p:cNvPr id="59" name="Picture 8">
                <a:extLst>
                  <a:ext uri="{FF2B5EF4-FFF2-40B4-BE49-F238E27FC236}">
                    <a16:creationId xmlns:a16="http://schemas.microsoft.com/office/drawing/2014/main" id="{01D7028B-B7F8-4679-A39B-77BB28484FF3}"/>
                  </a:ext>
                </a:extLst>
              </p:cNvPr>
              <p:cNvPicPr>
                <a:picLocks noChangeAspect="1" noChangeArrowheads="1"/>
              </p:cNvPicPr>
              <p:nvPr/>
            </p:nvPicPr>
            <p:blipFill>
              <a:blip r:embed="rId12" cstate="email">
                <a:clrChange>
                  <a:clrFrom>
                    <a:srgbClr val="FFFFFF"/>
                  </a:clrFrom>
                  <a:clrTo>
                    <a:srgbClr val="FFFFFF">
                      <a:alpha val="0"/>
                    </a:srgbClr>
                  </a:clrTo>
                </a:clrChange>
                <a:duotone>
                  <a:prstClr val="black"/>
                  <a:srgbClr val="FFC000">
                    <a:tint val="45000"/>
                    <a:satMod val="400000"/>
                  </a:srgbClr>
                </a:duotone>
                <a:extLst>
                  <a:ext uri="{28A0092B-C50C-407E-A947-70E740481C1C}">
                    <a14:useLocalDpi xmlns:a14="http://schemas.microsoft.com/office/drawing/2010/main"/>
                  </a:ext>
                </a:extLst>
              </a:blip>
              <a:srcRect/>
              <a:stretch>
                <a:fillRect/>
              </a:stretch>
            </p:blipFill>
            <p:spPr bwMode="auto">
              <a:xfrm>
                <a:off x="877833" y="3325644"/>
                <a:ext cx="2165731" cy="2164190"/>
              </a:xfrm>
              <a:prstGeom prst="rect">
                <a:avLst/>
              </a:prstGeom>
              <a:noFill/>
              <a:ln w="9525">
                <a:noFill/>
                <a:miter lim="800000"/>
                <a:headEnd/>
                <a:tailEnd/>
              </a:ln>
              <a:effectLst/>
            </p:spPr>
          </p:pic>
          <p:pic>
            <p:nvPicPr>
              <p:cNvPr id="60" name="Picture 10">
                <a:extLst>
                  <a:ext uri="{FF2B5EF4-FFF2-40B4-BE49-F238E27FC236}">
                    <a16:creationId xmlns:a16="http://schemas.microsoft.com/office/drawing/2014/main" id="{77CA17C4-5656-4D02-A506-7C9B2ED7BF2E}"/>
                  </a:ext>
                </a:extLst>
              </p:cNvPr>
              <p:cNvPicPr>
                <a:picLocks noChangeAspect="1" noChangeArrowheads="1"/>
              </p:cNvPicPr>
              <p:nvPr/>
            </p:nvPicPr>
            <p:blipFill>
              <a:blip r:embed="rId13" cstate="email">
                <a:clrChange>
                  <a:clrFrom>
                    <a:srgbClr val="FFFFFF"/>
                  </a:clrFrom>
                  <a:clrTo>
                    <a:srgbClr val="FFFFFF">
                      <a:alpha val="0"/>
                    </a:srgbClr>
                  </a:clrTo>
                </a:clrChange>
                <a:duotone>
                  <a:prstClr val="black"/>
                  <a:srgbClr val="FFC000">
                    <a:tint val="45000"/>
                    <a:satMod val="400000"/>
                  </a:srgbClr>
                </a:duotone>
                <a:extLst>
                  <a:ext uri="{28A0092B-C50C-407E-A947-70E740481C1C}">
                    <a14:useLocalDpi xmlns:a14="http://schemas.microsoft.com/office/drawing/2010/main"/>
                  </a:ext>
                </a:extLst>
              </a:blip>
              <a:srcRect/>
              <a:stretch>
                <a:fillRect/>
              </a:stretch>
            </p:blipFill>
            <p:spPr bwMode="auto">
              <a:xfrm>
                <a:off x="432496" y="2060849"/>
                <a:ext cx="2150694" cy="1421485"/>
              </a:xfrm>
              <a:prstGeom prst="rect">
                <a:avLst/>
              </a:prstGeom>
              <a:noFill/>
              <a:ln w="9525">
                <a:noFill/>
                <a:miter lim="800000"/>
                <a:headEnd/>
                <a:tailEnd/>
              </a:ln>
              <a:effectLst/>
            </p:spPr>
          </p:pic>
        </p:grpSp>
        <p:sp>
          <p:nvSpPr>
            <p:cNvPr id="51" name="Rectangle 639">
              <a:extLst>
                <a:ext uri="{FF2B5EF4-FFF2-40B4-BE49-F238E27FC236}">
                  <a16:creationId xmlns:a16="http://schemas.microsoft.com/office/drawing/2014/main" id="{7CEE9A79-9BC4-4E17-A154-693BB55CE05F}"/>
                </a:ext>
              </a:extLst>
            </p:cNvPr>
            <p:cNvSpPr>
              <a:spLocks noChangeArrowheads="1"/>
            </p:cNvSpPr>
            <p:nvPr/>
          </p:nvSpPr>
          <p:spPr bwMode="auto">
            <a:xfrm>
              <a:off x="10558403" y="3394149"/>
              <a:ext cx="1084117" cy="13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fr-FR" altLang="en-US" sz="1000" b="1" i="0" u="none" strike="noStrike" kern="1200" cap="none" spc="0" normalizeH="0" baseline="0" noProof="0">
                  <a:ln>
                    <a:noFill/>
                  </a:ln>
                  <a:solidFill>
                    <a:prstClr val="black"/>
                  </a:solidFill>
                  <a:effectLst/>
                  <a:uLnTx/>
                  <a:uFillTx/>
                  <a:latin typeface="+mj-lt"/>
                  <a:ea typeface="ＭＳ Ｐゴシック" panose="020B0600070205080204" pitchFamily="34" charset="-128"/>
                  <a:cs typeface="Arial" charset="0"/>
                </a:rPr>
                <a:t>Opérations inutiles</a:t>
              </a:r>
            </a:p>
          </p:txBody>
        </p:sp>
        <p:sp>
          <p:nvSpPr>
            <p:cNvPr id="52" name="Rectangle 637">
              <a:extLst>
                <a:ext uri="{FF2B5EF4-FFF2-40B4-BE49-F238E27FC236}">
                  <a16:creationId xmlns:a16="http://schemas.microsoft.com/office/drawing/2014/main" id="{17FC2B4A-7EED-4962-A68B-4C87372FFC63}"/>
                </a:ext>
              </a:extLst>
            </p:cNvPr>
            <p:cNvSpPr>
              <a:spLocks noChangeArrowheads="1"/>
            </p:cNvSpPr>
            <p:nvPr/>
          </p:nvSpPr>
          <p:spPr bwMode="auto">
            <a:xfrm>
              <a:off x="8827004" y="4586085"/>
              <a:ext cx="1343189" cy="13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fr-FR" altLang="en-US" sz="1000" b="1" i="0" u="none" strike="noStrike" kern="1200" cap="none" spc="0" normalizeH="0" baseline="0" noProof="0">
                  <a:ln>
                    <a:noFill/>
                  </a:ln>
                  <a:solidFill>
                    <a:prstClr val="black"/>
                  </a:solidFill>
                  <a:effectLst/>
                  <a:uLnTx/>
                  <a:uFillTx/>
                  <a:latin typeface="+mj-lt"/>
                  <a:ea typeface="ＭＳ Ｐゴシック" panose="020B0600070205080204" pitchFamily="34" charset="-128"/>
                  <a:cs typeface="Arial" charset="0"/>
                </a:rPr>
                <a:t>+ Potentiel humain</a:t>
              </a:r>
            </a:p>
          </p:txBody>
        </p:sp>
        <p:pic>
          <p:nvPicPr>
            <p:cNvPr id="69" name="Picture 35">
              <a:extLst>
                <a:ext uri="{FF2B5EF4-FFF2-40B4-BE49-F238E27FC236}">
                  <a16:creationId xmlns:a16="http://schemas.microsoft.com/office/drawing/2014/main" id="{66AE65BD-3B30-4E20-BA24-0508B2BF30E9}"/>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b="12704"/>
            <a:stretch/>
          </p:blipFill>
          <p:spPr bwMode="auto">
            <a:xfrm>
              <a:off x="7659487" y="2139434"/>
              <a:ext cx="394376" cy="2949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0" name="Picture 36">
              <a:extLst>
                <a:ext uri="{FF2B5EF4-FFF2-40B4-BE49-F238E27FC236}">
                  <a16:creationId xmlns:a16="http://schemas.microsoft.com/office/drawing/2014/main" id="{3B772DA9-A108-4018-9828-CFAD4D68F6BC}"/>
                </a:ext>
              </a:extLst>
            </p:cNvPr>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b="16742"/>
            <a:stretch/>
          </p:blipFill>
          <p:spPr bwMode="auto">
            <a:xfrm>
              <a:off x="8794298" y="2093715"/>
              <a:ext cx="393062" cy="353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 name="Picture 37">
              <a:extLst>
                <a:ext uri="{FF2B5EF4-FFF2-40B4-BE49-F238E27FC236}">
                  <a16:creationId xmlns:a16="http://schemas.microsoft.com/office/drawing/2014/main" id="{342F63F9-C73E-472C-A548-22BD3CFA587E}"/>
                </a:ext>
              </a:extLst>
            </p:cNvPr>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t="1" b="12967"/>
            <a:stretch/>
          </p:blipFill>
          <p:spPr bwMode="auto">
            <a:xfrm>
              <a:off x="10352263" y="2105202"/>
              <a:ext cx="393062" cy="382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5" name="Rectangle: Rounded Corners 64">
            <a:extLst>
              <a:ext uri="{FF2B5EF4-FFF2-40B4-BE49-F238E27FC236}">
                <a16:creationId xmlns:a16="http://schemas.microsoft.com/office/drawing/2014/main" id="{6B9B81E9-0FBD-4151-82A7-69259F4D5365}"/>
              </a:ext>
            </a:extLst>
          </p:cNvPr>
          <p:cNvSpPr/>
          <p:nvPr/>
        </p:nvSpPr>
        <p:spPr>
          <a:xfrm>
            <a:off x="6632386" y="1483699"/>
            <a:ext cx="5038494" cy="396000"/>
          </a:xfrm>
          <a:prstGeom prst="roundRect">
            <a:avLst/>
          </a:prstGeom>
          <a:solidFill>
            <a:schemeClr val="accent1">
              <a:lumMod val="5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small" spc="0" normalizeH="0" baseline="0" noProof="0">
                <a:ln>
                  <a:noFill/>
                </a:ln>
                <a:solidFill>
                  <a:srgbClr val="FFFFFF"/>
                </a:solidFill>
                <a:effectLst/>
                <a:uLnTx/>
                <a:uFillTx/>
                <a:latin typeface="+mj-lt"/>
                <a:ea typeface="+mn-ea"/>
                <a:cs typeface="+mn-cs"/>
              </a:rPr>
              <a:t>Les 7+1 gaspillages</a:t>
            </a:r>
          </a:p>
        </p:txBody>
      </p:sp>
      <p:sp>
        <p:nvSpPr>
          <p:cNvPr id="73" name="Rectangle: Rounded Corners 72">
            <a:extLst>
              <a:ext uri="{FF2B5EF4-FFF2-40B4-BE49-F238E27FC236}">
                <a16:creationId xmlns:a16="http://schemas.microsoft.com/office/drawing/2014/main" id="{F51D8A97-F4F1-4F92-B29D-063B83C69C2D}"/>
              </a:ext>
            </a:extLst>
          </p:cNvPr>
          <p:cNvSpPr/>
          <p:nvPr/>
        </p:nvSpPr>
        <p:spPr>
          <a:xfrm>
            <a:off x="525861" y="1483699"/>
            <a:ext cx="5439677" cy="396000"/>
          </a:xfrm>
          <a:prstGeom prst="round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small" spc="0" normalizeH="0" baseline="0" noProof="0">
                <a:ln>
                  <a:noFill/>
                </a:ln>
                <a:solidFill>
                  <a:srgbClr val="FFFFFF"/>
                </a:solidFill>
                <a:effectLst/>
                <a:uLnTx/>
                <a:uFillTx/>
                <a:latin typeface="+mj-lt"/>
                <a:ea typeface="+mn-ea"/>
                <a:cs typeface="+mn-cs"/>
              </a:rPr>
              <a:t>La valeur ajoutée</a:t>
            </a:r>
          </a:p>
        </p:txBody>
      </p:sp>
      <p:sp>
        <p:nvSpPr>
          <p:cNvPr id="77" name="Isosceles Triangle 76">
            <a:extLst>
              <a:ext uri="{FF2B5EF4-FFF2-40B4-BE49-F238E27FC236}">
                <a16:creationId xmlns:a16="http://schemas.microsoft.com/office/drawing/2014/main" id="{ABD33A5B-113D-493C-8B60-E12282B512E4}"/>
              </a:ext>
            </a:extLst>
          </p:cNvPr>
          <p:cNvSpPr/>
          <p:nvPr/>
        </p:nvSpPr>
        <p:spPr>
          <a:xfrm rot="5400000">
            <a:off x="4728024" y="3707848"/>
            <a:ext cx="3456000" cy="288000"/>
          </a:xfrm>
          <a:prstGeom prst="triangl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FFFFFF"/>
              </a:solidFill>
              <a:effectLst/>
              <a:uLnTx/>
              <a:uFillTx/>
              <a:latin typeface="+mj-lt"/>
              <a:ea typeface="+mn-ea"/>
              <a:cs typeface="+mn-cs"/>
            </a:endParaRPr>
          </a:p>
        </p:txBody>
      </p:sp>
      <p:sp>
        <p:nvSpPr>
          <p:cNvPr id="132" name="Rounded Rectangle 30">
            <a:extLst>
              <a:ext uri="{FF2B5EF4-FFF2-40B4-BE49-F238E27FC236}">
                <a16:creationId xmlns:a16="http://schemas.microsoft.com/office/drawing/2014/main" id="{30C81F65-DCF5-40D9-ACBD-A3B805F8B3C6}"/>
              </a:ext>
            </a:extLst>
          </p:cNvPr>
          <p:cNvSpPr/>
          <p:nvPr/>
        </p:nvSpPr>
        <p:spPr>
          <a:xfrm>
            <a:off x="0" y="5844799"/>
            <a:ext cx="12192000" cy="458288"/>
          </a:xfrm>
          <a:prstGeom prst="rect">
            <a:avLst/>
          </a:prstGeom>
          <a:solidFill>
            <a:schemeClr val="bg1">
              <a:lumMod val="50000"/>
            </a:schemeClr>
          </a:solidFill>
          <a:ln>
            <a:noFill/>
          </a:ln>
        </p:spPr>
        <p:style>
          <a:lnRef idx="3">
            <a:schemeClr val="lt1"/>
          </a:lnRef>
          <a:fillRef idx="1">
            <a:schemeClr val="accent3"/>
          </a:fillRef>
          <a:effectRef idx="1">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mj-lt"/>
                <a:ea typeface="+mn-ea"/>
                <a:cs typeface="+mn-cs"/>
              </a:rPr>
              <a:t>La valeur est définie par le point de vue du « client », celui qui paie pour le service ou le produit. </a:t>
            </a:r>
            <a:br>
              <a:rPr kumimoji="0" lang="fr-FR" sz="1200" b="0" i="0" u="none" strike="noStrike" kern="1200" cap="none" spc="0" normalizeH="0" baseline="0" noProof="0">
                <a:ln>
                  <a:noFill/>
                </a:ln>
                <a:solidFill>
                  <a:srgbClr val="FFFFFF"/>
                </a:solidFill>
                <a:effectLst/>
                <a:uLnTx/>
                <a:uFillTx/>
                <a:latin typeface="+mj-lt"/>
                <a:ea typeface="+mn-ea"/>
                <a:cs typeface="+mn-cs"/>
              </a:rPr>
            </a:br>
            <a:r>
              <a:rPr kumimoji="0" lang="fr-FR" sz="1200" b="0" i="0" u="none" strike="noStrike" kern="1200" cap="none" spc="0" normalizeH="0" baseline="0" noProof="0">
                <a:ln>
                  <a:noFill/>
                </a:ln>
                <a:solidFill>
                  <a:srgbClr val="FFFFFF"/>
                </a:solidFill>
                <a:effectLst/>
                <a:uLnTx/>
                <a:uFillTx/>
                <a:latin typeface="+mj-lt"/>
                <a:ea typeface="+mn-ea"/>
                <a:cs typeface="+mn-cs"/>
              </a:rPr>
              <a:t>Toute étape à non-valeur ajoutée est candidate à l’élimination</a:t>
            </a:r>
          </a:p>
        </p:txBody>
      </p:sp>
    </p:spTree>
    <p:extLst>
      <p:ext uri="{BB962C8B-B14F-4D97-AF65-F5344CB8AC3E}">
        <p14:creationId xmlns:p14="http://schemas.microsoft.com/office/powerpoint/2010/main" val="81008133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CA4AA22-56AD-4D01-8CF5-5738BBA28C69}"/>
              </a:ext>
            </a:extLst>
          </p:cNvPr>
          <p:cNvSpPr>
            <a:spLocks noGrp="1"/>
          </p:cNvSpPr>
          <p:nvPr>
            <p:ph type="title"/>
          </p:nvPr>
        </p:nvSpPr>
        <p:spPr/>
        <p:txBody>
          <a:bodyPr/>
          <a:lstStyle/>
          <a:p>
            <a:pPr>
              <a:lnSpc>
                <a:spcPct val="90000"/>
              </a:lnSpc>
            </a:pPr>
            <a:r>
              <a:rPr lang="fr-FR" sz="2800" spc="0">
                <a:solidFill>
                  <a:schemeClr val="tx1"/>
                </a:solidFill>
              </a:rPr>
              <a:t>L’optimisation des processus passe par l’utilisation des démarches Lean</a:t>
            </a:r>
          </a:p>
        </p:txBody>
      </p:sp>
      <p:grpSp>
        <p:nvGrpSpPr>
          <p:cNvPr id="5" name="Group 4">
            <a:extLst>
              <a:ext uri="{FF2B5EF4-FFF2-40B4-BE49-F238E27FC236}">
                <a16:creationId xmlns:a16="http://schemas.microsoft.com/office/drawing/2014/main" id="{05FD9AFD-368C-47CA-8A97-FBB0DF40565A}"/>
              </a:ext>
            </a:extLst>
          </p:cNvPr>
          <p:cNvGrpSpPr/>
          <p:nvPr/>
        </p:nvGrpSpPr>
        <p:grpSpPr>
          <a:xfrm>
            <a:off x="2411910" y="2718661"/>
            <a:ext cx="5530347" cy="1540556"/>
            <a:chOff x="1604864" y="2269164"/>
            <a:chExt cx="6481543" cy="1805525"/>
          </a:xfrm>
        </p:grpSpPr>
        <p:grpSp>
          <p:nvGrpSpPr>
            <p:cNvPr id="247" name="Gruppieren 40">
              <a:extLst>
                <a:ext uri="{FF2B5EF4-FFF2-40B4-BE49-F238E27FC236}">
                  <a16:creationId xmlns:a16="http://schemas.microsoft.com/office/drawing/2014/main" id="{4C721C17-41EE-44F4-99F1-C3F65B180B1D}"/>
                </a:ext>
              </a:extLst>
            </p:cNvPr>
            <p:cNvGrpSpPr/>
            <p:nvPr/>
          </p:nvGrpSpPr>
          <p:grpSpPr>
            <a:xfrm>
              <a:off x="1604864" y="2269164"/>
              <a:ext cx="6481543" cy="1805525"/>
              <a:chOff x="1600200" y="2424584"/>
              <a:chExt cx="10084285" cy="2351657"/>
            </a:xfrm>
          </p:grpSpPr>
          <p:grpSp>
            <p:nvGrpSpPr>
              <p:cNvPr id="272" name="Gruppieren 9">
                <a:extLst>
                  <a:ext uri="{FF2B5EF4-FFF2-40B4-BE49-F238E27FC236}">
                    <a16:creationId xmlns:a16="http://schemas.microsoft.com/office/drawing/2014/main" id="{491CEE57-F973-4313-BF74-22905B238265}"/>
                  </a:ext>
                </a:extLst>
              </p:cNvPr>
              <p:cNvGrpSpPr/>
              <p:nvPr/>
            </p:nvGrpSpPr>
            <p:grpSpPr>
              <a:xfrm>
                <a:off x="1600200" y="2424584"/>
                <a:ext cx="10084285" cy="2351657"/>
                <a:chOff x="1600200" y="2424584"/>
                <a:chExt cx="10084285" cy="2351657"/>
              </a:xfrm>
            </p:grpSpPr>
            <p:sp>
              <p:nvSpPr>
                <p:cNvPr id="277" name="Oval 6">
                  <a:extLst>
                    <a:ext uri="{FF2B5EF4-FFF2-40B4-BE49-F238E27FC236}">
                      <a16:creationId xmlns:a16="http://schemas.microsoft.com/office/drawing/2014/main" id="{8505E186-D0FD-46B0-84B8-5E1F4E73BCC9}"/>
                    </a:ext>
                  </a:extLst>
                </p:cNvPr>
                <p:cNvSpPr>
                  <a:spLocks noChangeArrowheads="1"/>
                </p:cNvSpPr>
                <p:nvPr/>
              </p:nvSpPr>
              <p:spPr bwMode="gray">
                <a:xfrm>
                  <a:off x="1600200" y="2424584"/>
                  <a:ext cx="1291303" cy="2351657"/>
                </a:xfrm>
                <a:prstGeom prst="ellipse">
                  <a:avLst/>
                </a:prstGeom>
                <a:solidFill>
                  <a:srgbClr val="85888B">
                    <a:lumMod val="40000"/>
                    <a:lumOff val="60000"/>
                    <a:alpha val="68000"/>
                  </a:srgbClr>
                </a:solidFill>
                <a:ln w="15875">
                  <a:solidFill>
                    <a:srgbClr val="7F7F7F"/>
                  </a:solidFill>
                  <a:round/>
                  <a:headEnd/>
                  <a:tailEnd/>
                </a:ln>
                <a:effectLst>
                  <a:outerShdw blurRad="228600" dist="12700" dir="2700000" sy="-23000" kx="-800400" algn="bl" rotWithShape="0">
                    <a:prstClr val="black">
                      <a:alpha val="15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a:ln>
                      <a:noFill/>
                    </a:ln>
                    <a:solidFill>
                      <a:srgbClr val="000000"/>
                    </a:solidFill>
                    <a:effectLst/>
                    <a:uLnTx/>
                    <a:uFillTx/>
                    <a:ea typeface="ＭＳ Ｐゴシック"/>
                    <a:cs typeface="Arial" charset="0"/>
                  </a:endParaRPr>
                </a:p>
              </p:txBody>
            </p:sp>
            <p:sp>
              <p:nvSpPr>
                <p:cNvPr id="278" name="Oval 7">
                  <a:extLst>
                    <a:ext uri="{FF2B5EF4-FFF2-40B4-BE49-F238E27FC236}">
                      <a16:creationId xmlns:a16="http://schemas.microsoft.com/office/drawing/2014/main" id="{DB4379F4-397A-48FF-AA9E-687A6917A9B3}"/>
                    </a:ext>
                  </a:extLst>
                </p:cNvPr>
                <p:cNvSpPr>
                  <a:spLocks noChangeArrowheads="1"/>
                </p:cNvSpPr>
                <p:nvPr/>
              </p:nvSpPr>
              <p:spPr bwMode="gray">
                <a:xfrm>
                  <a:off x="2243093" y="2448171"/>
                  <a:ext cx="9441392" cy="2328066"/>
                </a:xfrm>
                <a:custGeom>
                  <a:avLst/>
                  <a:gdLst/>
                  <a:ahLst/>
                  <a:cxnLst/>
                  <a:rect l="l" t="t" r="r" b="b"/>
                  <a:pathLst>
                    <a:path w="7955384" h="2565998">
                      <a:moveTo>
                        <a:pt x="0" y="2565719"/>
                      </a:moveTo>
                      <a:lnTo>
                        <a:pt x="775" y="2565812"/>
                      </a:lnTo>
                      <a:lnTo>
                        <a:pt x="0" y="2565998"/>
                      </a:lnTo>
                      <a:close/>
                      <a:moveTo>
                        <a:pt x="111061" y="0"/>
                      </a:moveTo>
                      <a:cubicBezTo>
                        <a:pt x="773359" y="152323"/>
                        <a:pt x="4292339" y="921527"/>
                        <a:pt x="7808347" y="921527"/>
                      </a:cubicBezTo>
                      <a:lnTo>
                        <a:pt x="7808347" y="921993"/>
                      </a:lnTo>
                      <a:cubicBezTo>
                        <a:pt x="7808604" y="921809"/>
                        <a:pt x="7808863" y="921807"/>
                        <a:pt x="7809122" y="921807"/>
                      </a:cubicBezTo>
                      <a:cubicBezTo>
                        <a:pt x="7889900" y="921807"/>
                        <a:pt x="7955384" y="1077698"/>
                        <a:pt x="7955384" y="1269999"/>
                      </a:cubicBezTo>
                      <a:cubicBezTo>
                        <a:pt x="7955384" y="1462300"/>
                        <a:pt x="7889900" y="1618191"/>
                        <a:pt x="7809122" y="1618191"/>
                      </a:cubicBezTo>
                      <a:lnTo>
                        <a:pt x="7808347" y="1618005"/>
                      </a:lnTo>
                      <a:cubicBezTo>
                        <a:pt x="7808347" y="1618160"/>
                        <a:pt x="7808347" y="1618315"/>
                        <a:pt x="7808347" y="1618470"/>
                      </a:cubicBezTo>
                      <a:cubicBezTo>
                        <a:pt x="4292339" y="1618470"/>
                        <a:pt x="773359" y="2387673"/>
                        <a:pt x="111061" y="2539996"/>
                      </a:cubicBezTo>
                      <a:cubicBezTo>
                        <a:pt x="359438" y="2420028"/>
                        <a:pt x="546353" y="1897012"/>
                        <a:pt x="546353" y="1269998"/>
                      </a:cubicBezTo>
                      <a:cubicBezTo>
                        <a:pt x="546353" y="642984"/>
                        <a:pt x="359438" y="119968"/>
                        <a:pt x="111061" y="0"/>
                      </a:cubicBezTo>
                      <a:close/>
                    </a:path>
                  </a:pathLst>
                </a:custGeom>
                <a:solidFill>
                  <a:srgbClr val="FFFFFF">
                    <a:lumMod val="95000"/>
                    <a:alpha val="77000"/>
                  </a:srgbClr>
                </a:solidFill>
                <a:ln w="9525">
                  <a:solidFill>
                    <a:srgbClr val="85888B"/>
                  </a:solidFill>
                  <a:round/>
                  <a:headEnd/>
                  <a:tailEnd/>
                </a:ln>
                <a:effectLst>
                  <a:outerShdw blurRad="228600" dist="12700" dir="2700000" sy="-23000" kx="-800400" algn="bl" rotWithShape="0">
                    <a:prstClr val="black">
                      <a:alpha val="15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a:ln>
                      <a:noFill/>
                    </a:ln>
                    <a:solidFill>
                      <a:srgbClr val="000000"/>
                    </a:solidFill>
                    <a:effectLst/>
                    <a:uLnTx/>
                    <a:uFillTx/>
                    <a:ea typeface="ＭＳ Ｐゴシック"/>
                    <a:cs typeface="Arial" charset="0"/>
                  </a:endParaRPr>
                </a:p>
              </p:txBody>
            </p:sp>
          </p:grpSp>
          <p:grpSp>
            <p:nvGrpSpPr>
              <p:cNvPr id="273" name="Gruppieren 14">
                <a:extLst>
                  <a:ext uri="{FF2B5EF4-FFF2-40B4-BE49-F238E27FC236}">
                    <a16:creationId xmlns:a16="http://schemas.microsoft.com/office/drawing/2014/main" id="{E23B3CC0-0704-4CCF-998D-F21B4C5F30D0}"/>
                  </a:ext>
                </a:extLst>
              </p:cNvPr>
              <p:cNvGrpSpPr/>
              <p:nvPr/>
            </p:nvGrpSpPr>
            <p:grpSpPr>
              <a:xfrm>
                <a:off x="4514984" y="2842992"/>
                <a:ext cx="5273192" cy="1514843"/>
                <a:chOff x="4514984" y="2842992"/>
                <a:chExt cx="5273192" cy="1514843"/>
              </a:xfrm>
            </p:grpSpPr>
            <p:sp>
              <p:nvSpPr>
                <p:cNvPr id="274" name="Oval 7">
                  <a:extLst>
                    <a:ext uri="{FF2B5EF4-FFF2-40B4-BE49-F238E27FC236}">
                      <a16:creationId xmlns:a16="http://schemas.microsoft.com/office/drawing/2014/main" id="{1ADC60D1-0A14-4DE6-A3A7-2459C37816DD}"/>
                    </a:ext>
                  </a:extLst>
                </p:cNvPr>
                <p:cNvSpPr>
                  <a:spLocks noChangeArrowheads="1"/>
                </p:cNvSpPr>
                <p:nvPr/>
              </p:nvSpPr>
              <p:spPr bwMode="gray">
                <a:xfrm>
                  <a:off x="4514984" y="2842992"/>
                  <a:ext cx="832373" cy="1514843"/>
                </a:xfrm>
                <a:prstGeom prst="ellipse">
                  <a:avLst/>
                </a:prstGeom>
                <a:noFill/>
                <a:ln w="12700">
                  <a:solidFill>
                    <a:srgbClr val="85888B"/>
                  </a:solidFill>
                  <a:prstDash val="dash"/>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a:ln>
                      <a:noFill/>
                    </a:ln>
                    <a:solidFill>
                      <a:srgbClr val="000000"/>
                    </a:solidFill>
                    <a:effectLst/>
                    <a:uLnTx/>
                    <a:uFillTx/>
                    <a:ea typeface="ＭＳ Ｐゴシック"/>
                    <a:cs typeface="Arial" charset="0"/>
                  </a:endParaRPr>
                </a:p>
              </p:txBody>
            </p:sp>
            <p:sp>
              <p:nvSpPr>
                <p:cNvPr id="275" name="Oval 7">
                  <a:extLst>
                    <a:ext uri="{FF2B5EF4-FFF2-40B4-BE49-F238E27FC236}">
                      <a16:creationId xmlns:a16="http://schemas.microsoft.com/office/drawing/2014/main" id="{E8CD7E65-5459-4CC0-8F8D-D5866B6909A3}"/>
                    </a:ext>
                  </a:extLst>
                </p:cNvPr>
                <p:cNvSpPr>
                  <a:spLocks noChangeArrowheads="1"/>
                </p:cNvSpPr>
                <p:nvPr/>
              </p:nvSpPr>
              <p:spPr bwMode="gray">
                <a:xfrm>
                  <a:off x="6966036" y="3092810"/>
                  <a:ext cx="557833" cy="1015202"/>
                </a:xfrm>
                <a:prstGeom prst="ellipse">
                  <a:avLst/>
                </a:prstGeom>
                <a:noFill/>
                <a:ln w="12700">
                  <a:solidFill>
                    <a:srgbClr val="85888B"/>
                  </a:solidFill>
                  <a:prstDash val="dash"/>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a:ln>
                      <a:noFill/>
                    </a:ln>
                    <a:solidFill>
                      <a:srgbClr val="000000"/>
                    </a:solidFill>
                    <a:effectLst/>
                    <a:uLnTx/>
                    <a:uFillTx/>
                    <a:ea typeface="ＭＳ Ｐゴシック"/>
                    <a:cs typeface="Arial" charset="0"/>
                  </a:endParaRPr>
                </a:p>
              </p:txBody>
            </p:sp>
            <p:sp>
              <p:nvSpPr>
                <p:cNvPr id="276" name="Oval 275">
                  <a:extLst>
                    <a:ext uri="{FF2B5EF4-FFF2-40B4-BE49-F238E27FC236}">
                      <a16:creationId xmlns:a16="http://schemas.microsoft.com/office/drawing/2014/main" id="{54DB9946-4D53-49AA-A57B-2D15ED2DC13D}"/>
                    </a:ext>
                  </a:extLst>
                </p:cNvPr>
                <p:cNvSpPr>
                  <a:spLocks noChangeArrowheads="1"/>
                </p:cNvSpPr>
                <p:nvPr/>
              </p:nvSpPr>
              <p:spPr bwMode="gray">
                <a:xfrm>
                  <a:off x="9390837" y="3238852"/>
                  <a:ext cx="397339" cy="723118"/>
                </a:xfrm>
                <a:prstGeom prst="ellipse">
                  <a:avLst/>
                </a:prstGeom>
                <a:noFill/>
                <a:ln w="12700">
                  <a:solidFill>
                    <a:srgbClr val="85888B"/>
                  </a:solidFill>
                  <a:prstDash val="dash"/>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a:ln>
                      <a:noFill/>
                    </a:ln>
                    <a:solidFill>
                      <a:srgbClr val="000000"/>
                    </a:solidFill>
                    <a:effectLst/>
                    <a:uLnTx/>
                    <a:uFillTx/>
                    <a:ea typeface="ＭＳ Ｐゴシック"/>
                    <a:cs typeface="Arial" charset="0"/>
                  </a:endParaRPr>
                </a:p>
              </p:txBody>
            </p:sp>
          </p:grpSp>
        </p:grpSp>
        <p:grpSp>
          <p:nvGrpSpPr>
            <p:cNvPr id="248" name="Gruppieren 10">
              <a:extLst>
                <a:ext uri="{FF2B5EF4-FFF2-40B4-BE49-F238E27FC236}">
                  <a16:creationId xmlns:a16="http://schemas.microsoft.com/office/drawing/2014/main" id="{30D79C1A-F14E-41AA-8509-F540DE840B59}"/>
                </a:ext>
              </a:extLst>
            </p:cNvPr>
            <p:cNvGrpSpPr/>
            <p:nvPr/>
          </p:nvGrpSpPr>
          <p:grpSpPr>
            <a:xfrm>
              <a:off x="1972059" y="2479114"/>
              <a:ext cx="5851332" cy="1330746"/>
              <a:chOff x="2960045" y="2740048"/>
              <a:chExt cx="8417384" cy="1602584"/>
            </a:xfrm>
            <a:solidFill>
              <a:schemeClr val="accent4">
                <a:lumMod val="40000"/>
                <a:lumOff val="60000"/>
              </a:schemeClr>
            </a:solidFill>
            <a:effectLst/>
          </p:grpSpPr>
          <p:sp>
            <p:nvSpPr>
              <p:cNvPr id="251" name="Ellipse 15">
                <a:extLst>
                  <a:ext uri="{FF2B5EF4-FFF2-40B4-BE49-F238E27FC236}">
                    <a16:creationId xmlns:a16="http://schemas.microsoft.com/office/drawing/2014/main" id="{2A53CE9F-F8D8-4D1E-B306-246C53F63C83}"/>
                  </a:ext>
                </a:extLst>
              </p:cNvPr>
              <p:cNvSpPr/>
              <p:nvPr/>
            </p:nvSpPr>
            <p:spPr bwMode="gray">
              <a:xfrm>
                <a:off x="7403864" y="3162415"/>
                <a:ext cx="287963" cy="216000"/>
              </a:xfrm>
              <a:prstGeom prst="ellipse">
                <a:avLst/>
              </a:prstGeom>
              <a:grpFill/>
              <a:ln w="9525" cap="flat" cmpd="sng" algn="ctr">
                <a:solidFill>
                  <a:schemeClr val="accent4">
                    <a:lumMod val="60000"/>
                    <a:lumOff val="40000"/>
                  </a:schemeClr>
                </a:solidFill>
                <a:prstDash val="solid"/>
                <a:headEnd/>
                <a:tailEnd/>
              </a:ln>
              <a:effectLst>
                <a:outerShdw blurRad="40000" dist="23000" dir="5400000" rotWithShape="0">
                  <a:srgbClr val="000000">
                    <a:alpha val="35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a:ln>
                    <a:noFill/>
                  </a:ln>
                  <a:solidFill>
                    <a:srgbClr val="FFFFFF"/>
                  </a:solidFill>
                  <a:effectLst/>
                  <a:uLnTx/>
                  <a:uFillTx/>
                  <a:ea typeface="ＭＳ Ｐゴシック"/>
                  <a:cs typeface="Arial" charset="0"/>
                </a:endParaRPr>
              </a:p>
            </p:txBody>
          </p:sp>
          <p:sp>
            <p:nvSpPr>
              <p:cNvPr id="252" name="Ellipse 16">
                <a:extLst>
                  <a:ext uri="{FF2B5EF4-FFF2-40B4-BE49-F238E27FC236}">
                    <a16:creationId xmlns:a16="http://schemas.microsoft.com/office/drawing/2014/main" id="{29CC7A3E-B906-4F28-991A-630938A3730E}"/>
                  </a:ext>
                </a:extLst>
              </p:cNvPr>
              <p:cNvSpPr/>
              <p:nvPr/>
            </p:nvSpPr>
            <p:spPr bwMode="gray">
              <a:xfrm>
                <a:off x="8813022" y="3612204"/>
                <a:ext cx="239969" cy="180000"/>
              </a:xfrm>
              <a:prstGeom prst="ellipse">
                <a:avLst/>
              </a:prstGeom>
              <a:grpFill/>
              <a:ln>
                <a:solidFill>
                  <a:schemeClr val="accent4">
                    <a:lumMod val="60000"/>
                    <a:lumOff val="40000"/>
                  </a:schemeClr>
                </a:solidFill>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a:ln>
                    <a:noFill/>
                  </a:ln>
                  <a:solidFill>
                    <a:srgbClr val="FFFFFF"/>
                  </a:solidFill>
                  <a:effectLst/>
                  <a:uLnTx/>
                  <a:uFillTx/>
                  <a:ea typeface="ＭＳ Ｐゴシック"/>
                  <a:cs typeface="Arial" charset="0"/>
                </a:endParaRPr>
              </a:p>
            </p:txBody>
          </p:sp>
          <p:sp>
            <p:nvSpPr>
              <p:cNvPr id="253" name="Ellipse 17">
                <a:extLst>
                  <a:ext uri="{FF2B5EF4-FFF2-40B4-BE49-F238E27FC236}">
                    <a16:creationId xmlns:a16="http://schemas.microsoft.com/office/drawing/2014/main" id="{F8A03C74-F817-4F8F-AF4D-8B29BE897421}"/>
                  </a:ext>
                </a:extLst>
              </p:cNvPr>
              <p:cNvSpPr/>
              <p:nvPr/>
            </p:nvSpPr>
            <p:spPr bwMode="gray">
              <a:xfrm>
                <a:off x="8498651" y="3326014"/>
                <a:ext cx="239969" cy="180000"/>
              </a:xfrm>
              <a:prstGeom prst="ellipse">
                <a:avLst/>
              </a:prstGeom>
              <a:grpFill/>
              <a:ln w="9525" cap="flat" cmpd="sng" algn="ctr">
                <a:solidFill>
                  <a:schemeClr val="accent4">
                    <a:lumMod val="60000"/>
                    <a:lumOff val="40000"/>
                  </a:schemeClr>
                </a:solidFill>
                <a:prstDash val="solid"/>
                <a:headEnd/>
                <a:tailEnd/>
              </a:ln>
              <a:effectLst>
                <a:outerShdw blurRad="40000" dist="23000" dir="5400000" rotWithShape="0">
                  <a:srgbClr val="000000">
                    <a:alpha val="35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a:ln>
                    <a:noFill/>
                  </a:ln>
                  <a:solidFill>
                    <a:srgbClr val="FFFFFF"/>
                  </a:solidFill>
                  <a:effectLst/>
                  <a:uLnTx/>
                  <a:uFillTx/>
                  <a:ea typeface="ＭＳ Ｐゴシック"/>
                  <a:cs typeface="Arial" charset="0"/>
                </a:endParaRPr>
              </a:p>
            </p:txBody>
          </p:sp>
          <p:sp>
            <p:nvSpPr>
              <p:cNvPr id="254" name="Ellipse 18">
                <a:extLst>
                  <a:ext uri="{FF2B5EF4-FFF2-40B4-BE49-F238E27FC236}">
                    <a16:creationId xmlns:a16="http://schemas.microsoft.com/office/drawing/2014/main" id="{F5EBF7E9-C767-435A-B4C6-A78D206DEBF3}"/>
                  </a:ext>
                </a:extLst>
              </p:cNvPr>
              <p:cNvSpPr/>
              <p:nvPr/>
            </p:nvSpPr>
            <p:spPr bwMode="gray">
              <a:xfrm>
                <a:off x="5262428" y="3517283"/>
                <a:ext cx="335956" cy="252000"/>
              </a:xfrm>
              <a:prstGeom prst="ellipse">
                <a:avLst/>
              </a:prstGeom>
              <a:grpFill/>
              <a:ln w="9525" cap="flat" cmpd="sng" algn="ctr">
                <a:solidFill>
                  <a:schemeClr val="accent4">
                    <a:lumMod val="60000"/>
                    <a:lumOff val="40000"/>
                  </a:schemeClr>
                </a:solidFill>
                <a:prstDash val="solid"/>
                <a:headEnd/>
                <a:tailEnd/>
              </a:ln>
              <a:effectLst>
                <a:outerShdw blurRad="40000" dist="23000" dir="5400000" rotWithShape="0">
                  <a:srgbClr val="000000">
                    <a:alpha val="35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a:ln>
                    <a:noFill/>
                  </a:ln>
                  <a:solidFill>
                    <a:srgbClr val="FFFFFF"/>
                  </a:solidFill>
                  <a:effectLst/>
                  <a:uLnTx/>
                  <a:uFillTx/>
                  <a:ea typeface="ＭＳ Ｐゴシック"/>
                  <a:cs typeface="Arial" charset="0"/>
                </a:endParaRPr>
              </a:p>
            </p:txBody>
          </p:sp>
          <p:sp>
            <p:nvSpPr>
              <p:cNvPr id="255" name="Ellipse 19">
                <a:extLst>
                  <a:ext uri="{FF2B5EF4-FFF2-40B4-BE49-F238E27FC236}">
                    <a16:creationId xmlns:a16="http://schemas.microsoft.com/office/drawing/2014/main" id="{B000BDFD-3478-4221-B1C6-D33714FD9B2F}"/>
                  </a:ext>
                </a:extLst>
              </p:cNvPr>
              <p:cNvSpPr/>
              <p:nvPr/>
            </p:nvSpPr>
            <p:spPr bwMode="gray">
              <a:xfrm>
                <a:off x="7988788" y="3573311"/>
                <a:ext cx="239969" cy="180000"/>
              </a:xfrm>
              <a:prstGeom prst="ellipse">
                <a:avLst/>
              </a:prstGeom>
              <a:grpFill/>
              <a:ln w="9525" cap="flat" cmpd="sng" algn="ctr">
                <a:solidFill>
                  <a:schemeClr val="accent4">
                    <a:lumMod val="60000"/>
                    <a:lumOff val="40000"/>
                  </a:schemeClr>
                </a:solidFill>
                <a:prstDash val="solid"/>
                <a:headEnd/>
                <a:tailEnd/>
              </a:ln>
              <a:effectLst>
                <a:outerShdw blurRad="40000" dist="23000" dir="5400000" rotWithShape="0">
                  <a:srgbClr val="000000">
                    <a:alpha val="35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a:ln>
                    <a:noFill/>
                  </a:ln>
                  <a:solidFill>
                    <a:srgbClr val="FFFFFF"/>
                  </a:solidFill>
                  <a:effectLst/>
                  <a:uLnTx/>
                  <a:uFillTx/>
                  <a:ea typeface="ＭＳ Ｐゴシック"/>
                  <a:cs typeface="Arial" charset="0"/>
                </a:endParaRPr>
              </a:p>
            </p:txBody>
          </p:sp>
          <p:sp>
            <p:nvSpPr>
              <p:cNvPr id="256" name="Ellipse 20">
                <a:extLst>
                  <a:ext uri="{FF2B5EF4-FFF2-40B4-BE49-F238E27FC236}">
                    <a16:creationId xmlns:a16="http://schemas.microsoft.com/office/drawing/2014/main" id="{9C81F1F9-FBAF-489C-84AE-C398E43F44F7}"/>
                  </a:ext>
                </a:extLst>
              </p:cNvPr>
              <p:cNvSpPr/>
              <p:nvPr/>
            </p:nvSpPr>
            <p:spPr bwMode="gray">
              <a:xfrm>
                <a:off x="3832088" y="4090632"/>
                <a:ext cx="335956" cy="252000"/>
              </a:xfrm>
              <a:prstGeom prst="ellipse">
                <a:avLst/>
              </a:prstGeom>
              <a:grpFill/>
              <a:ln w="9525" cap="flat" cmpd="sng" algn="ctr">
                <a:solidFill>
                  <a:schemeClr val="accent4">
                    <a:lumMod val="60000"/>
                    <a:lumOff val="40000"/>
                  </a:schemeClr>
                </a:solidFill>
                <a:prstDash val="solid"/>
                <a:headEnd/>
                <a:tailEnd/>
              </a:ln>
              <a:effectLst>
                <a:outerShdw blurRad="40000" dist="23000" dir="5400000" rotWithShape="0">
                  <a:srgbClr val="000000">
                    <a:alpha val="35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a:ln>
                    <a:noFill/>
                  </a:ln>
                  <a:solidFill>
                    <a:srgbClr val="FFFFFF"/>
                  </a:solidFill>
                  <a:effectLst/>
                  <a:uLnTx/>
                  <a:uFillTx/>
                  <a:ea typeface="ＭＳ Ｐゴシック"/>
                  <a:cs typeface="Arial" charset="0"/>
                </a:endParaRPr>
              </a:p>
            </p:txBody>
          </p:sp>
          <p:sp>
            <p:nvSpPr>
              <p:cNvPr id="257" name="Ellipse 21">
                <a:extLst>
                  <a:ext uri="{FF2B5EF4-FFF2-40B4-BE49-F238E27FC236}">
                    <a16:creationId xmlns:a16="http://schemas.microsoft.com/office/drawing/2014/main" id="{5773B64F-6EC1-4717-9B4E-3352861B3459}"/>
                  </a:ext>
                </a:extLst>
              </p:cNvPr>
              <p:cNvSpPr/>
              <p:nvPr/>
            </p:nvSpPr>
            <p:spPr bwMode="gray">
              <a:xfrm>
                <a:off x="2960045" y="2740048"/>
                <a:ext cx="335956" cy="252000"/>
              </a:xfrm>
              <a:prstGeom prst="ellipse">
                <a:avLst/>
              </a:prstGeom>
              <a:grpFill/>
              <a:ln w="9525" cap="flat" cmpd="sng" algn="ctr">
                <a:solidFill>
                  <a:schemeClr val="accent4">
                    <a:lumMod val="60000"/>
                    <a:lumOff val="40000"/>
                  </a:schemeClr>
                </a:solidFill>
                <a:prstDash val="solid"/>
                <a:headEnd/>
                <a:tailEnd/>
              </a:ln>
              <a:effectLst>
                <a:outerShdw blurRad="40000" dist="23000" dir="5400000" rotWithShape="0">
                  <a:srgbClr val="000000">
                    <a:alpha val="35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a:ln>
                    <a:noFill/>
                  </a:ln>
                  <a:solidFill>
                    <a:srgbClr val="FFFFFF"/>
                  </a:solidFill>
                  <a:effectLst/>
                  <a:uLnTx/>
                  <a:uFillTx/>
                  <a:ea typeface="ＭＳ Ｐゴシック"/>
                  <a:cs typeface="Arial" charset="0"/>
                </a:endParaRPr>
              </a:p>
            </p:txBody>
          </p:sp>
          <p:sp>
            <p:nvSpPr>
              <p:cNvPr id="258" name="Ellipse 22">
                <a:extLst>
                  <a:ext uri="{FF2B5EF4-FFF2-40B4-BE49-F238E27FC236}">
                    <a16:creationId xmlns:a16="http://schemas.microsoft.com/office/drawing/2014/main" id="{CDBA8F53-6AE1-406C-8AB1-EC0278054243}"/>
                  </a:ext>
                </a:extLst>
              </p:cNvPr>
              <p:cNvSpPr/>
              <p:nvPr/>
            </p:nvSpPr>
            <p:spPr bwMode="gray">
              <a:xfrm>
                <a:off x="2982223" y="3829337"/>
                <a:ext cx="335956" cy="252000"/>
              </a:xfrm>
              <a:prstGeom prst="ellipse">
                <a:avLst/>
              </a:prstGeom>
              <a:grpFill/>
              <a:ln w="9525" cap="flat" cmpd="sng" algn="ctr">
                <a:solidFill>
                  <a:schemeClr val="accent4">
                    <a:lumMod val="60000"/>
                    <a:lumOff val="40000"/>
                  </a:schemeClr>
                </a:solidFill>
                <a:prstDash val="solid"/>
                <a:headEnd/>
                <a:tailEnd/>
              </a:ln>
              <a:effectLst>
                <a:outerShdw blurRad="40000" dist="23000" dir="5400000" rotWithShape="0">
                  <a:srgbClr val="000000">
                    <a:alpha val="35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a:ln>
                    <a:noFill/>
                  </a:ln>
                  <a:solidFill>
                    <a:srgbClr val="FFFFFF"/>
                  </a:solidFill>
                  <a:effectLst/>
                  <a:uLnTx/>
                  <a:uFillTx/>
                  <a:ea typeface="ＭＳ Ｐゴシック"/>
                  <a:cs typeface="Arial" charset="0"/>
                </a:endParaRPr>
              </a:p>
            </p:txBody>
          </p:sp>
          <p:sp>
            <p:nvSpPr>
              <p:cNvPr id="259" name="Ellipse 23">
                <a:extLst>
                  <a:ext uri="{FF2B5EF4-FFF2-40B4-BE49-F238E27FC236}">
                    <a16:creationId xmlns:a16="http://schemas.microsoft.com/office/drawing/2014/main" id="{F165E574-89E9-4F85-8CC6-ACF2839DDF77}"/>
                  </a:ext>
                </a:extLst>
              </p:cNvPr>
              <p:cNvSpPr/>
              <p:nvPr/>
            </p:nvSpPr>
            <p:spPr bwMode="gray">
              <a:xfrm>
                <a:off x="3921375" y="3565931"/>
                <a:ext cx="335956" cy="252000"/>
              </a:xfrm>
              <a:prstGeom prst="ellipse">
                <a:avLst/>
              </a:prstGeom>
              <a:grpFill/>
              <a:ln w="9525" cap="flat" cmpd="sng" algn="ctr">
                <a:solidFill>
                  <a:schemeClr val="accent4">
                    <a:lumMod val="60000"/>
                    <a:lumOff val="40000"/>
                  </a:schemeClr>
                </a:solidFill>
                <a:prstDash val="solid"/>
                <a:headEnd/>
                <a:tailEnd/>
              </a:ln>
              <a:effectLst>
                <a:outerShdw blurRad="40000" dist="23000" dir="5400000" rotWithShape="0">
                  <a:srgbClr val="000000">
                    <a:alpha val="35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a:ln>
                    <a:noFill/>
                  </a:ln>
                  <a:solidFill>
                    <a:srgbClr val="FFFFFF"/>
                  </a:solidFill>
                  <a:effectLst/>
                  <a:uLnTx/>
                  <a:uFillTx/>
                  <a:ea typeface="ＭＳ Ｐゴシック"/>
                  <a:cs typeface="Arial" charset="0"/>
                </a:endParaRPr>
              </a:p>
            </p:txBody>
          </p:sp>
          <p:sp>
            <p:nvSpPr>
              <p:cNvPr id="260" name="Ellipse 24">
                <a:extLst>
                  <a:ext uri="{FF2B5EF4-FFF2-40B4-BE49-F238E27FC236}">
                    <a16:creationId xmlns:a16="http://schemas.microsoft.com/office/drawing/2014/main" id="{DB05A9D7-2B55-4A9A-85E9-668CB9F3C015}"/>
                  </a:ext>
                </a:extLst>
              </p:cNvPr>
              <p:cNvSpPr/>
              <p:nvPr/>
            </p:nvSpPr>
            <p:spPr bwMode="gray">
              <a:xfrm>
                <a:off x="3518127" y="3085550"/>
                <a:ext cx="335956" cy="252000"/>
              </a:xfrm>
              <a:prstGeom prst="ellipse">
                <a:avLst/>
              </a:prstGeom>
              <a:grpFill/>
              <a:ln w="9525" cap="flat" cmpd="sng" algn="ctr">
                <a:solidFill>
                  <a:schemeClr val="accent4">
                    <a:lumMod val="60000"/>
                    <a:lumOff val="40000"/>
                  </a:schemeClr>
                </a:solidFill>
                <a:prstDash val="solid"/>
                <a:headEnd/>
                <a:tailEnd/>
              </a:ln>
              <a:effectLst>
                <a:outerShdw blurRad="40000" dist="23000" dir="5400000" rotWithShape="0">
                  <a:srgbClr val="000000">
                    <a:alpha val="35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a:ln>
                    <a:noFill/>
                  </a:ln>
                  <a:solidFill>
                    <a:srgbClr val="FFFFFF"/>
                  </a:solidFill>
                  <a:effectLst/>
                  <a:uLnTx/>
                  <a:uFillTx/>
                  <a:ea typeface="ＭＳ Ｐゴシック"/>
                  <a:cs typeface="Arial" charset="0"/>
                </a:endParaRPr>
              </a:p>
            </p:txBody>
          </p:sp>
          <p:sp>
            <p:nvSpPr>
              <p:cNvPr id="261" name="Ellipse 25">
                <a:extLst>
                  <a:ext uri="{FF2B5EF4-FFF2-40B4-BE49-F238E27FC236}">
                    <a16:creationId xmlns:a16="http://schemas.microsoft.com/office/drawing/2014/main" id="{0D90599B-74A8-4809-B9DF-7884ECB72921}"/>
                  </a:ext>
                </a:extLst>
              </p:cNvPr>
              <p:cNvSpPr/>
              <p:nvPr/>
            </p:nvSpPr>
            <p:spPr bwMode="gray">
              <a:xfrm>
                <a:off x="6306374" y="3279369"/>
                <a:ext cx="335956" cy="252000"/>
              </a:xfrm>
              <a:prstGeom prst="ellipse">
                <a:avLst/>
              </a:prstGeom>
              <a:grpFill/>
              <a:ln>
                <a:solidFill>
                  <a:schemeClr val="accent4">
                    <a:lumMod val="60000"/>
                    <a:lumOff val="40000"/>
                  </a:schemeClr>
                </a:solidFill>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a:ln>
                    <a:noFill/>
                  </a:ln>
                  <a:solidFill>
                    <a:srgbClr val="FFFFFF"/>
                  </a:solidFill>
                  <a:effectLst/>
                  <a:uLnTx/>
                  <a:uFillTx/>
                  <a:ea typeface="ＭＳ Ｐゴシック"/>
                  <a:cs typeface="Arial" charset="0"/>
                </a:endParaRPr>
              </a:p>
            </p:txBody>
          </p:sp>
          <p:sp>
            <p:nvSpPr>
              <p:cNvPr id="262" name="Ellipse 26">
                <a:extLst>
                  <a:ext uri="{FF2B5EF4-FFF2-40B4-BE49-F238E27FC236}">
                    <a16:creationId xmlns:a16="http://schemas.microsoft.com/office/drawing/2014/main" id="{CA149DD6-8B42-4284-86EA-8AED6971813F}"/>
                  </a:ext>
                </a:extLst>
              </p:cNvPr>
              <p:cNvSpPr/>
              <p:nvPr/>
            </p:nvSpPr>
            <p:spPr bwMode="gray">
              <a:xfrm>
                <a:off x="5478525" y="3074015"/>
                <a:ext cx="335956" cy="252000"/>
              </a:xfrm>
              <a:prstGeom prst="ellipse">
                <a:avLst/>
              </a:prstGeom>
              <a:grpFill/>
              <a:ln w="9525" cap="flat" cmpd="sng" algn="ctr">
                <a:solidFill>
                  <a:schemeClr val="accent4">
                    <a:lumMod val="60000"/>
                    <a:lumOff val="40000"/>
                  </a:schemeClr>
                </a:solidFill>
                <a:prstDash val="solid"/>
                <a:headEnd/>
                <a:tailEnd/>
              </a:ln>
              <a:effectLst>
                <a:outerShdw blurRad="40000" dist="23000" dir="5400000" rotWithShape="0">
                  <a:srgbClr val="000000">
                    <a:alpha val="35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a:ln>
                    <a:noFill/>
                  </a:ln>
                  <a:solidFill>
                    <a:srgbClr val="FFFFFF"/>
                  </a:solidFill>
                  <a:effectLst/>
                  <a:uLnTx/>
                  <a:uFillTx/>
                  <a:ea typeface="ＭＳ Ｐゴシック"/>
                  <a:cs typeface="Arial" charset="0"/>
                </a:endParaRPr>
              </a:p>
            </p:txBody>
          </p:sp>
          <p:sp>
            <p:nvSpPr>
              <p:cNvPr id="263" name="Ellipse 28">
                <a:extLst>
                  <a:ext uri="{FF2B5EF4-FFF2-40B4-BE49-F238E27FC236}">
                    <a16:creationId xmlns:a16="http://schemas.microsoft.com/office/drawing/2014/main" id="{7B6E9C22-F151-4C1E-97E3-1D68C737F755}"/>
                  </a:ext>
                </a:extLst>
              </p:cNvPr>
              <p:cNvSpPr/>
              <p:nvPr/>
            </p:nvSpPr>
            <p:spPr bwMode="gray">
              <a:xfrm>
                <a:off x="4529958" y="3001945"/>
                <a:ext cx="335956" cy="252000"/>
              </a:xfrm>
              <a:prstGeom prst="ellipse">
                <a:avLst/>
              </a:prstGeom>
              <a:grpFill/>
              <a:ln w="9525" cap="flat" cmpd="sng" algn="ctr">
                <a:solidFill>
                  <a:schemeClr val="accent4">
                    <a:lumMod val="60000"/>
                    <a:lumOff val="40000"/>
                  </a:schemeClr>
                </a:solidFill>
                <a:prstDash val="solid"/>
                <a:headEnd/>
                <a:tailEnd/>
              </a:ln>
              <a:effectLst>
                <a:outerShdw blurRad="40000" dist="23000" dir="5400000" rotWithShape="0">
                  <a:srgbClr val="000000">
                    <a:alpha val="35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a:ln>
                    <a:noFill/>
                  </a:ln>
                  <a:solidFill>
                    <a:srgbClr val="FFFFFF"/>
                  </a:solidFill>
                  <a:effectLst/>
                  <a:uLnTx/>
                  <a:uFillTx/>
                  <a:ea typeface="ＭＳ Ｐゴシック"/>
                  <a:cs typeface="Arial" charset="0"/>
                </a:endParaRPr>
              </a:p>
            </p:txBody>
          </p:sp>
          <p:sp>
            <p:nvSpPr>
              <p:cNvPr id="264" name="Ellipse 29">
                <a:extLst>
                  <a:ext uri="{FF2B5EF4-FFF2-40B4-BE49-F238E27FC236}">
                    <a16:creationId xmlns:a16="http://schemas.microsoft.com/office/drawing/2014/main" id="{9AC769A1-5DAA-4181-98B5-FBA06A855C00}"/>
                  </a:ext>
                </a:extLst>
              </p:cNvPr>
              <p:cNvSpPr/>
              <p:nvPr/>
            </p:nvSpPr>
            <p:spPr bwMode="gray">
              <a:xfrm>
                <a:off x="4529957" y="3860650"/>
                <a:ext cx="335956" cy="252000"/>
              </a:xfrm>
              <a:prstGeom prst="ellipse">
                <a:avLst/>
              </a:prstGeom>
              <a:grpFill/>
              <a:ln w="9525" cap="flat" cmpd="sng" algn="ctr">
                <a:solidFill>
                  <a:schemeClr val="accent4">
                    <a:lumMod val="60000"/>
                    <a:lumOff val="40000"/>
                  </a:schemeClr>
                </a:solidFill>
                <a:prstDash val="solid"/>
                <a:headEnd/>
                <a:tailEnd/>
              </a:ln>
              <a:effectLst>
                <a:outerShdw blurRad="40000" dist="23000" dir="5400000" rotWithShape="0">
                  <a:srgbClr val="000000">
                    <a:alpha val="35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a:ln>
                    <a:noFill/>
                  </a:ln>
                  <a:solidFill>
                    <a:srgbClr val="FFFFFF"/>
                  </a:solidFill>
                  <a:effectLst/>
                  <a:uLnTx/>
                  <a:uFillTx/>
                  <a:ea typeface="ＭＳ Ｐゴシック"/>
                  <a:cs typeface="Arial" charset="0"/>
                </a:endParaRPr>
              </a:p>
            </p:txBody>
          </p:sp>
          <p:sp>
            <p:nvSpPr>
              <p:cNvPr id="265" name="Ellipse 30">
                <a:extLst>
                  <a:ext uri="{FF2B5EF4-FFF2-40B4-BE49-F238E27FC236}">
                    <a16:creationId xmlns:a16="http://schemas.microsoft.com/office/drawing/2014/main" id="{EBC03F21-6331-402F-ADE7-3DD9E48674AC}"/>
                  </a:ext>
                </a:extLst>
              </p:cNvPr>
              <p:cNvSpPr/>
              <p:nvPr/>
            </p:nvSpPr>
            <p:spPr bwMode="gray">
              <a:xfrm>
                <a:off x="7340856" y="3586133"/>
                <a:ext cx="287963" cy="216000"/>
              </a:xfrm>
              <a:prstGeom prst="ellipse">
                <a:avLst/>
              </a:prstGeom>
              <a:grpFill/>
              <a:ln>
                <a:solidFill>
                  <a:schemeClr val="accent4">
                    <a:lumMod val="60000"/>
                    <a:lumOff val="40000"/>
                  </a:schemeClr>
                </a:solidFill>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a:ln>
                    <a:noFill/>
                  </a:ln>
                  <a:solidFill>
                    <a:srgbClr val="FFFFFF"/>
                  </a:solidFill>
                  <a:effectLst/>
                  <a:uLnTx/>
                  <a:uFillTx/>
                  <a:ea typeface="ＭＳ Ｐゴシック"/>
                  <a:cs typeface="Arial" charset="0"/>
                </a:endParaRPr>
              </a:p>
            </p:txBody>
          </p:sp>
          <p:sp>
            <p:nvSpPr>
              <p:cNvPr id="266" name="Ellipse 32">
                <a:extLst>
                  <a:ext uri="{FF2B5EF4-FFF2-40B4-BE49-F238E27FC236}">
                    <a16:creationId xmlns:a16="http://schemas.microsoft.com/office/drawing/2014/main" id="{A562F6A7-7D3E-4647-B054-B87742173180}"/>
                  </a:ext>
                </a:extLst>
              </p:cNvPr>
              <p:cNvSpPr/>
              <p:nvPr/>
            </p:nvSpPr>
            <p:spPr bwMode="gray">
              <a:xfrm>
                <a:off x="6742466" y="3731209"/>
                <a:ext cx="287963" cy="216000"/>
              </a:xfrm>
              <a:prstGeom prst="ellipse">
                <a:avLst/>
              </a:prstGeom>
              <a:grpFill/>
              <a:ln w="9525" cap="flat" cmpd="sng" algn="ctr">
                <a:solidFill>
                  <a:schemeClr val="accent4">
                    <a:lumMod val="60000"/>
                    <a:lumOff val="40000"/>
                  </a:schemeClr>
                </a:solidFill>
                <a:prstDash val="solid"/>
                <a:headEnd/>
                <a:tailEnd/>
              </a:ln>
              <a:effectLst>
                <a:outerShdw blurRad="40000" dist="23000" dir="5400000" rotWithShape="0">
                  <a:srgbClr val="000000">
                    <a:alpha val="35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a:ln>
                    <a:noFill/>
                  </a:ln>
                  <a:solidFill>
                    <a:srgbClr val="FFFFFF"/>
                  </a:solidFill>
                  <a:effectLst/>
                  <a:uLnTx/>
                  <a:uFillTx/>
                  <a:ea typeface="ＭＳ Ｐゴシック"/>
                  <a:cs typeface="Arial" charset="0"/>
                </a:endParaRPr>
              </a:p>
            </p:txBody>
          </p:sp>
          <p:sp>
            <p:nvSpPr>
              <p:cNvPr id="267" name="Ellipse 33">
                <a:extLst>
                  <a:ext uri="{FF2B5EF4-FFF2-40B4-BE49-F238E27FC236}">
                    <a16:creationId xmlns:a16="http://schemas.microsoft.com/office/drawing/2014/main" id="{FD5AAAE6-432D-4422-B657-F28B31F08525}"/>
                  </a:ext>
                </a:extLst>
              </p:cNvPr>
              <p:cNvSpPr/>
              <p:nvPr/>
            </p:nvSpPr>
            <p:spPr bwMode="gray">
              <a:xfrm>
                <a:off x="10241784" y="3612204"/>
                <a:ext cx="239969" cy="180000"/>
              </a:xfrm>
              <a:prstGeom prst="ellipse">
                <a:avLst/>
              </a:prstGeom>
              <a:grpFill/>
              <a:ln>
                <a:solidFill>
                  <a:schemeClr val="accent4">
                    <a:lumMod val="60000"/>
                    <a:lumOff val="40000"/>
                  </a:schemeClr>
                </a:solidFill>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a:ln>
                    <a:noFill/>
                  </a:ln>
                  <a:solidFill>
                    <a:srgbClr val="FFFFFF"/>
                  </a:solidFill>
                  <a:effectLst/>
                  <a:uLnTx/>
                  <a:uFillTx/>
                  <a:ea typeface="ＭＳ Ｐゴシック"/>
                  <a:cs typeface="Arial" charset="0"/>
                </a:endParaRPr>
              </a:p>
            </p:txBody>
          </p:sp>
          <p:sp>
            <p:nvSpPr>
              <p:cNvPr id="268" name="Ellipse 34">
                <a:extLst>
                  <a:ext uri="{FF2B5EF4-FFF2-40B4-BE49-F238E27FC236}">
                    <a16:creationId xmlns:a16="http://schemas.microsoft.com/office/drawing/2014/main" id="{94960B75-6DD1-4B20-9C96-478E32A54B8B}"/>
                  </a:ext>
                </a:extLst>
              </p:cNvPr>
              <p:cNvSpPr/>
              <p:nvPr/>
            </p:nvSpPr>
            <p:spPr bwMode="gray">
              <a:xfrm>
                <a:off x="11137460" y="3400282"/>
                <a:ext cx="239969" cy="180000"/>
              </a:xfrm>
              <a:prstGeom prst="ellipse">
                <a:avLst/>
              </a:prstGeom>
              <a:grpFill/>
              <a:ln>
                <a:solidFill>
                  <a:schemeClr val="accent4">
                    <a:lumMod val="60000"/>
                    <a:lumOff val="40000"/>
                  </a:schemeClr>
                </a:solidFill>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a:ln>
                    <a:noFill/>
                  </a:ln>
                  <a:solidFill>
                    <a:srgbClr val="FFFFFF"/>
                  </a:solidFill>
                  <a:effectLst/>
                  <a:uLnTx/>
                  <a:uFillTx/>
                  <a:ea typeface="ＭＳ Ｐゴシック"/>
                  <a:cs typeface="Arial" charset="0"/>
                </a:endParaRPr>
              </a:p>
            </p:txBody>
          </p:sp>
          <p:sp>
            <p:nvSpPr>
              <p:cNvPr id="269" name="Ellipse 35">
                <a:extLst>
                  <a:ext uri="{FF2B5EF4-FFF2-40B4-BE49-F238E27FC236}">
                    <a16:creationId xmlns:a16="http://schemas.microsoft.com/office/drawing/2014/main" id="{C1A94B06-766A-48B4-B9AF-21AED9DDD8A9}"/>
                  </a:ext>
                </a:extLst>
              </p:cNvPr>
              <p:cNvSpPr/>
              <p:nvPr/>
            </p:nvSpPr>
            <p:spPr bwMode="gray">
              <a:xfrm>
                <a:off x="10498132" y="3335397"/>
                <a:ext cx="239969" cy="180000"/>
              </a:xfrm>
              <a:prstGeom prst="ellipse">
                <a:avLst/>
              </a:prstGeom>
              <a:grpFill/>
              <a:ln>
                <a:solidFill>
                  <a:schemeClr val="accent4">
                    <a:lumMod val="60000"/>
                    <a:lumOff val="40000"/>
                  </a:schemeClr>
                </a:solidFill>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a:ln>
                    <a:noFill/>
                  </a:ln>
                  <a:solidFill>
                    <a:srgbClr val="FFFFFF"/>
                  </a:solidFill>
                  <a:effectLst/>
                  <a:uLnTx/>
                  <a:uFillTx/>
                  <a:ea typeface="ＭＳ Ｐゴシック"/>
                  <a:cs typeface="Arial" charset="0"/>
                </a:endParaRPr>
              </a:p>
            </p:txBody>
          </p:sp>
          <p:sp>
            <p:nvSpPr>
              <p:cNvPr id="270" name="Ellipse 36">
                <a:extLst>
                  <a:ext uri="{FF2B5EF4-FFF2-40B4-BE49-F238E27FC236}">
                    <a16:creationId xmlns:a16="http://schemas.microsoft.com/office/drawing/2014/main" id="{DF50B90C-7CD9-400B-8AD0-48DE2108C62C}"/>
                  </a:ext>
                </a:extLst>
              </p:cNvPr>
              <p:cNvSpPr/>
              <p:nvPr/>
            </p:nvSpPr>
            <p:spPr bwMode="gray">
              <a:xfrm>
                <a:off x="9709091" y="3380204"/>
                <a:ext cx="239969" cy="180000"/>
              </a:xfrm>
              <a:prstGeom prst="ellipse">
                <a:avLst/>
              </a:prstGeom>
              <a:grpFill/>
              <a:ln>
                <a:solidFill>
                  <a:schemeClr val="accent4">
                    <a:lumMod val="60000"/>
                    <a:lumOff val="40000"/>
                  </a:schemeClr>
                </a:solidFill>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a:ln>
                    <a:noFill/>
                  </a:ln>
                  <a:solidFill>
                    <a:srgbClr val="FFFFFF"/>
                  </a:solidFill>
                  <a:effectLst/>
                  <a:uLnTx/>
                  <a:uFillTx/>
                  <a:ea typeface="ＭＳ Ｐゴシック"/>
                  <a:cs typeface="Arial" charset="0"/>
                </a:endParaRPr>
              </a:p>
            </p:txBody>
          </p:sp>
          <p:sp>
            <p:nvSpPr>
              <p:cNvPr id="271" name="Ellipse 38">
                <a:extLst>
                  <a:ext uri="{FF2B5EF4-FFF2-40B4-BE49-F238E27FC236}">
                    <a16:creationId xmlns:a16="http://schemas.microsoft.com/office/drawing/2014/main" id="{6BD2B3E3-9D8E-4F87-9AF6-568B52BC4E4A}"/>
                  </a:ext>
                </a:extLst>
              </p:cNvPr>
              <p:cNvSpPr/>
              <p:nvPr/>
            </p:nvSpPr>
            <p:spPr bwMode="gray">
              <a:xfrm>
                <a:off x="5944833" y="3731209"/>
                <a:ext cx="335956" cy="252000"/>
              </a:xfrm>
              <a:prstGeom prst="ellipse">
                <a:avLst/>
              </a:prstGeom>
              <a:grpFill/>
              <a:ln w="9525" cap="flat" cmpd="sng" algn="ctr">
                <a:solidFill>
                  <a:schemeClr val="accent4">
                    <a:lumMod val="60000"/>
                    <a:lumOff val="40000"/>
                  </a:schemeClr>
                </a:solidFill>
                <a:prstDash val="solid"/>
                <a:headEnd/>
                <a:tailEnd/>
              </a:ln>
              <a:effectLst>
                <a:outerShdw blurRad="40000" dist="23000" dir="5400000" rotWithShape="0">
                  <a:srgbClr val="000000">
                    <a:alpha val="35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a:ln>
                    <a:noFill/>
                  </a:ln>
                  <a:solidFill>
                    <a:srgbClr val="FFFFFF"/>
                  </a:solidFill>
                  <a:effectLst/>
                  <a:uLnTx/>
                  <a:uFillTx/>
                  <a:ea typeface="ＭＳ Ｐゴシック"/>
                  <a:cs typeface="Arial" charset="0"/>
                </a:endParaRPr>
              </a:p>
            </p:txBody>
          </p:sp>
        </p:grpSp>
      </p:grpSp>
      <p:sp>
        <p:nvSpPr>
          <p:cNvPr id="84" name="Chevron 7">
            <a:extLst>
              <a:ext uri="{FF2B5EF4-FFF2-40B4-BE49-F238E27FC236}">
                <a16:creationId xmlns:a16="http://schemas.microsoft.com/office/drawing/2014/main" id="{CD4E846C-6A9E-4B48-886F-FC73597B505E}"/>
              </a:ext>
            </a:extLst>
          </p:cNvPr>
          <p:cNvSpPr>
            <a:spLocks/>
          </p:cNvSpPr>
          <p:nvPr/>
        </p:nvSpPr>
        <p:spPr>
          <a:xfrm>
            <a:off x="8253208" y="1399698"/>
            <a:ext cx="1952003" cy="360000"/>
          </a:xfrm>
          <a:prstGeom prst="chevron">
            <a:avLst>
              <a:gd name="adj" fmla="val 20367"/>
            </a:avLst>
          </a:prstGeom>
          <a:solidFill>
            <a:schemeClr val="accent1">
              <a:lumMod val="50000"/>
            </a:schemeClr>
          </a:solidFill>
          <a:ln w="25400" cap="flat" cmpd="sng" algn="ctr">
            <a:noFill/>
            <a:prstDash val="solid"/>
          </a:ln>
          <a:effectLst/>
        </p:spPr>
        <p:txBody>
          <a:bodyPr lIns="0" rIns="0" anchor="ctr"/>
          <a:lstStyle/>
          <a:p>
            <a:pPr marL="0" marR="0" lvl="0" indent="0" algn="ctr" defTabSz="822976" rtl="0" eaLnBrk="0" fontAlgn="base" latinLnBrk="0" hangingPunct="0">
              <a:lnSpc>
                <a:spcPct val="100000"/>
              </a:lnSpc>
              <a:spcBef>
                <a:spcPct val="0"/>
              </a:spcBef>
              <a:spcAft>
                <a:spcPct val="0"/>
              </a:spcAft>
              <a:buClrTx/>
              <a:buSzTx/>
              <a:buFontTx/>
              <a:buNone/>
              <a:tabLst/>
              <a:defRPr/>
            </a:pPr>
            <a:r>
              <a:rPr kumimoji="0" lang="fr-FR" sz="1050" b="1" i="0" u="none" strike="noStrike" kern="0" cap="none" spc="0" normalizeH="0" baseline="0" noProof="0">
                <a:ln>
                  <a:noFill/>
                </a:ln>
                <a:solidFill>
                  <a:prstClr val="white"/>
                </a:solidFill>
                <a:effectLst/>
                <a:uLnTx/>
                <a:uFillTx/>
                <a:ea typeface="ＭＳ Ｐゴシック"/>
                <a:cs typeface="Arial" charset="0"/>
              </a:rPr>
              <a:t>Mise en œuvre des opportunités</a:t>
            </a:r>
          </a:p>
        </p:txBody>
      </p:sp>
      <p:sp>
        <p:nvSpPr>
          <p:cNvPr id="85" name="TextBox 8">
            <a:extLst>
              <a:ext uri="{FF2B5EF4-FFF2-40B4-BE49-F238E27FC236}">
                <a16:creationId xmlns:a16="http://schemas.microsoft.com/office/drawing/2014/main" id="{A8B7CEC6-8C2F-4C95-845D-CA2BBAFC24DA}"/>
              </a:ext>
            </a:extLst>
          </p:cNvPr>
          <p:cNvSpPr txBox="1">
            <a:spLocks/>
          </p:cNvSpPr>
          <p:nvPr/>
        </p:nvSpPr>
        <p:spPr>
          <a:xfrm>
            <a:off x="5138891" y="1785151"/>
            <a:ext cx="2414434" cy="124650"/>
          </a:xfrm>
          <a:prstGeom prst="rect">
            <a:avLst/>
          </a:prstGeom>
          <a:noFill/>
          <a:effectLst/>
        </p:spPr>
        <p:txBody>
          <a:bodyPr wrap="square" lIns="0" tIns="0" rIns="0" bIns="0">
            <a:noAutofit/>
          </a:bodyPr>
          <a:lstStyle>
            <a:defPPr>
              <a:defRPr lang="fr-FR"/>
            </a:defPPr>
            <a:lvl1pPr>
              <a:defRPr sz="1100" i="1">
                <a:solidFill>
                  <a:schemeClr val="accent3"/>
                </a:solidFill>
                <a:latin typeface="Calibri" panose="020F0502020204030204" pitchFamily="34" charset="0"/>
              </a:defRPr>
            </a:lvl1pPr>
          </a:lstStyle>
          <a:p>
            <a:pPr marL="0" marR="0" lvl="0" indent="0" algn="ctr" defTabSz="822976" rtl="0" eaLnBrk="0" fontAlgn="base" latinLnBrk="0" hangingPunct="0">
              <a:lnSpc>
                <a:spcPct val="100000"/>
              </a:lnSpc>
              <a:spcBef>
                <a:spcPct val="0"/>
              </a:spcBef>
              <a:spcAft>
                <a:spcPct val="0"/>
              </a:spcAft>
              <a:buClrTx/>
              <a:buSzTx/>
              <a:buFontTx/>
              <a:buNone/>
              <a:tabLst/>
              <a:defRPr/>
            </a:pPr>
            <a:r>
              <a:rPr kumimoji="0" lang="fr-FR" sz="900" b="0" i="1" u="none" strike="noStrike" kern="1200" cap="none" spc="0" normalizeH="0" baseline="0" noProof="0">
                <a:ln>
                  <a:noFill/>
                </a:ln>
                <a:solidFill>
                  <a:srgbClr val="FF304C"/>
                </a:solidFill>
                <a:effectLst/>
                <a:uLnTx/>
                <a:uFillTx/>
                <a:latin typeface="+mn-lt"/>
                <a:ea typeface="MS PGothic" panose="020B0600070205080204" pitchFamily="34" charset="-128"/>
                <a:cs typeface="Arial" charset="0"/>
              </a:rPr>
              <a:t>Restitution de diagnostic</a:t>
            </a:r>
          </a:p>
        </p:txBody>
      </p:sp>
      <p:sp>
        <p:nvSpPr>
          <p:cNvPr id="88" name="Pentagon 13">
            <a:extLst>
              <a:ext uri="{FF2B5EF4-FFF2-40B4-BE49-F238E27FC236}">
                <a16:creationId xmlns:a16="http://schemas.microsoft.com/office/drawing/2014/main" id="{34A1DE07-3DF2-48BD-BAC5-38E8F9203557}"/>
              </a:ext>
            </a:extLst>
          </p:cNvPr>
          <p:cNvSpPr>
            <a:spLocks/>
          </p:cNvSpPr>
          <p:nvPr/>
        </p:nvSpPr>
        <p:spPr>
          <a:xfrm>
            <a:off x="583853" y="1399698"/>
            <a:ext cx="1972207" cy="360000"/>
          </a:xfrm>
          <a:prstGeom prst="homePlate">
            <a:avLst>
              <a:gd name="adj" fmla="val 25633"/>
            </a:avLst>
          </a:prstGeom>
          <a:solidFill>
            <a:schemeClr val="accent1">
              <a:lumMod val="50000"/>
            </a:schemeClr>
          </a:solidFill>
          <a:ln w="25400" cap="flat" cmpd="sng" algn="ctr">
            <a:noFill/>
            <a:prstDash val="solid"/>
          </a:ln>
          <a:effectLst/>
        </p:spPr>
        <p:txBody>
          <a:bodyPr lIns="0" rIns="0" anchor="ctr"/>
          <a:lstStyle/>
          <a:p>
            <a:pPr marL="0" marR="0" lvl="0" indent="0" algn="ctr" defTabSz="822976" rtl="0" eaLnBrk="0" fontAlgn="base" latinLnBrk="0" hangingPunct="0">
              <a:lnSpc>
                <a:spcPct val="100000"/>
              </a:lnSpc>
              <a:spcBef>
                <a:spcPct val="0"/>
              </a:spcBef>
              <a:spcAft>
                <a:spcPct val="0"/>
              </a:spcAft>
              <a:buClrTx/>
              <a:buSzTx/>
              <a:buFontTx/>
              <a:buNone/>
              <a:tabLst/>
              <a:defRPr/>
            </a:pPr>
            <a:r>
              <a:rPr kumimoji="0" lang="fr-FR" sz="1050" b="1" i="0" u="none" strike="noStrike" kern="0" cap="none" spc="0" normalizeH="0" baseline="0" noProof="0">
                <a:ln>
                  <a:noFill/>
                </a:ln>
                <a:solidFill>
                  <a:prstClr val="white"/>
                </a:solidFill>
                <a:effectLst/>
                <a:uLnTx/>
                <a:uFillTx/>
                <a:ea typeface="ＭＳ Ｐゴシック"/>
                <a:cs typeface="Arial" charset="0"/>
              </a:rPr>
              <a:t>Cadrage</a:t>
            </a:r>
          </a:p>
        </p:txBody>
      </p:sp>
      <p:sp>
        <p:nvSpPr>
          <p:cNvPr id="89" name="Flowchart: Decision 14">
            <a:extLst>
              <a:ext uri="{FF2B5EF4-FFF2-40B4-BE49-F238E27FC236}">
                <a16:creationId xmlns:a16="http://schemas.microsoft.com/office/drawing/2014/main" id="{FA20CBB1-2036-47D8-88D7-3EA5BE684F7F}"/>
              </a:ext>
            </a:extLst>
          </p:cNvPr>
          <p:cNvSpPr>
            <a:spLocks/>
          </p:cNvSpPr>
          <p:nvPr/>
        </p:nvSpPr>
        <p:spPr>
          <a:xfrm>
            <a:off x="9985554" y="1592539"/>
            <a:ext cx="216000" cy="216000"/>
          </a:xfrm>
          <a:prstGeom prst="flowChartDecision">
            <a:avLst/>
          </a:prstGeom>
          <a:solidFill>
            <a:srgbClr val="FF304C"/>
          </a:solidFill>
          <a:ln w="25400" cap="flat" cmpd="sng" algn="ctr">
            <a:noFill/>
            <a:prstDash val="solid"/>
          </a:ln>
          <a:effectLst/>
        </p:spPr>
        <p:txBody>
          <a:bodyPr anchor="ctr"/>
          <a:lstStyle/>
          <a:p>
            <a:pPr marL="0" marR="0" lvl="0" indent="0" algn="ctr" defTabSz="822976" rtl="0" eaLnBrk="0" fontAlgn="base" latinLnBrk="0" hangingPunct="0">
              <a:lnSpc>
                <a:spcPct val="100000"/>
              </a:lnSpc>
              <a:spcBef>
                <a:spcPct val="0"/>
              </a:spcBef>
              <a:spcAft>
                <a:spcPct val="0"/>
              </a:spcAft>
              <a:buClrTx/>
              <a:buSzTx/>
              <a:buFontTx/>
              <a:buNone/>
              <a:tabLst/>
              <a:defRPr/>
            </a:pPr>
            <a:endParaRPr kumimoji="0" lang="fr-FR" sz="1000" b="0" i="0" u="none" strike="noStrike" kern="0" cap="none" spc="0" normalizeH="0" baseline="0" noProof="0">
              <a:ln>
                <a:noFill/>
              </a:ln>
              <a:solidFill>
                <a:prstClr val="black"/>
              </a:solidFill>
              <a:effectLst/>
              <a:uLnTx/>
              <a:uFillTx/>
              <a:ea typeface="ＭＳ Ｐゴシック"/>
              <a:cs typeface="Arial" charset="0"/>
            </a:endParaRPr>
          </a:p>
        </p:txBody>
      </p:sp>
      <p:sp>
        <p:nvSpPr>
          <p:cNvPr id="90" name="TextBox 15">
            <a:extLst>
              <a:ext uri="{FF2B5EF4-FFF2-40B4-BE49-F238E27FC236}">
                <a16:creationId xmlns:a16="http://schemas.microsoft.com/office/drawing/2014/main" id="{48E507AB-CF9C-41ED-88C2-96A42D54FE13}"/>
              </a:ext>
            </a:extLst>
          </p:cNvPr>
          <p:cNvSpPr txBox="1">
            <a:spLocks/>
          </p:cNvSpPr>
          <p:nvPr/>
        </p:nvSpPr>
        <p:spPr>
          <a:xfrm>
            <a:off x="7566669" y="1785151"/>
            <a:ext cx="1325736" cy="123825"/>
          </a:xfrm>
          <a:prstGeom prst="rect">
            <a:avLst/>
          </a:prstGeom>
          <a:noFill/>
          <a:effectLst/>
        </p:spPr>
        <p:txBody>
          <a:bodyPr wrap="square" lIns="0" tIns="0" rIns="0" bIns="0">
            <a:noAutofit/>
          </a:bodyPr>
          <a:lstStyle>
            <a:defPPr>
              <a:defRPr lang="fr-FR"/>
            </a:defPPr>
            <a:lvl1pPr>
              <a:defRPr sz="1100" i="1">
                <a:solidFill>
                  <a:schemeClr val="accent3"/>
                </a:solidFill>
                <a:latin typeface="Calibri" panose="020F0502020204030204" pitchFamily="34" charset="0"/>
              </a:defRPr>
            </a:lvl1pPr>
          </a:lstStyle>
          <a:p>
            <a:pPr marL="0" marR="0" lvl="0" indent="0" algn="ctr" defTabSz="822976" rtl="0" eaLnBrk="0" fontAlgn="base" latinLnBrk="0" hangingPunct="0">
              <a:lnSpc>
                <a:spcPct val="100000"/>
              </a:lnSpc>
              <a:spcBef>
                <a:spcPct val="0"/>
              </a:spcBef>
              <a:spcAft>
                <a:spcPct val="0"/>
              </a:spcAft>
              <a:buClrTx/>
              <a:buSzTx/>
              <a:buFontTx/>
              <a:buNone/>
              <a:tabLst/>
              <a:defRPr/>
            </a:pPr>
            <a:r>
              <a:rPr kumimoji="0" lang="fr-FR" sz="900" b="0" i="1" u="none" strike="noStrike" kern="1200" cap="none" spc="0" normalizeH="0" baseline="0" noProof="0">
                <a:ln>
                  <a:noFill/>
                </a:ln>
                <a:solidFill>
                  <a:srgbClr val="FF304C"/>
                </a:solidFill>
                <a:effectLst/>
                <a:uLnTx/>
                <a:uFillTx/>
                <a:latin typeface="+mn-lt"/>
                <a:ea typeface="MS PGothic" panose="020B0600070205080204" pitchFamily="34" charset="-128"/>
                <a:cs typeface="Arial" charset="0"/>
              </a:rPr>
              <a:t>Feuille de route</a:t>
            </a:r>
          </a:p>
        </p:txBody>
      </p:sp>
      <p:sp>
        <p:nvSpPr>
          <p:cNvPr id="92" name="Chevron 17">
            <a:extLst>
              <a:ext uri="{FF2B5EF4-FFF2-40B4-BE49-F238E27FC236}">
                <a16:creationId xmlns:a16="http://schemas.microsoft.com/office/drawing/2014/main" id="{B318BA41-279D-46F5-9234-14517E03432A}"/>
              </a:ext>
            </a:extLst>
          </p:cNvPr>
          <p:cNvSpPr>
            <a:spLocks/>
          </p:cNvSpPr>
          <p:nvPr/>
        </p:nvSpPr>
        <p:spPr>
          <a:xfrm>
            <a:off x="6363244" y="1399698"/>
            <a:ext cx="1923976" cy="360000"/>
          </a:xfrm>
          <a:prstGeom prst="chevron">
            <a:avLst>
              <a:gd name="adj" fmla="val 23541"/>
            </a:avLst>
          </a:prstGeom>
          <a:solidFill>
            <a:schemeClr val="accent1">
              <a:lumMod val="50000"/>
            </a:schemeClr>
          </a:solidFill>
          <a:ln w="25400" cap="flat" cmpd="sng" algn="ctr">
            <a:noFill/>
            <a:prstDash val="solid"/>
          </a:ln>
          <a:effectLst/>
        </p:spPr>
        <p:txBody>
          <a:bodyPr wrap="square" lIns="0" rIns="0" anchor="ctr"/>
          <a:lstStyle/>
          <a:p>
            <a:pPr marL="0" marR="0" lvl="0" indent="0" algn="ctr" defTabSz="822976" rtl="0" eaLnBrk="0" fontAlgn="base" latinLnBrk="0" hangingPunct="0">
              <a:lnSpc>
                <a:spcPct val="100000"/>
              </a:lnSpc>
              <a:spcBef>
                <a:spcPct val="0"/>
              </a:spcBef>
              <a:spcAft>
                <a:spcPct val="0"/>
              </a:spcAft>
              <a:buClrTx/>
              <a:buSzTx/>
              <a:buFontTx/>
              <a:buNone/>
              <a:tabLst/>
              <a:defRPr/>
            </a:pPr>
            <a:r>
              <a:rPr kumimoji="0" lang="fr-FR" sz="1050" b="1" i="0" u="none" strike="noStrike" kern="0" cap="none" spc="0" normalizeH="0" baseline="0" noProof="0">
                <a:ln>
                  <a:noFill/>
                </a:ln>
                <a:solidFill>
                  <a:prstClr val="white"/>
                </a:solidFill>
                <a:effectLst/>
                <a:uLnTx/>
                <a:uFillTx/>
                <a:ea typeface="ＭＳ Ｐゴシック"/>
                <a:cs typeface="Arial" charset="0"/>
              </a:rPr>
              <a:t>Qualification des opportunités</a:t>
            </a:r>
          </a:p>
        </p:txBody>
      </p:sp>
      <p:sp>
        <p:nvSpPr>
          <p:cNvPr id="93" name="Isosceles Triangle 18">
            <a:extLst>
              <a:ext uri="{FF2B5EF4-FFF2-40B4-BE49-F238E27FC236}">
                <a16:creationId xmlns:a16="http://schemas.microsoft.com/office/drawing/2014/main" id="{F1E6B282-C59A-4068-B01C-CD6E3DCB8009}"/>
              </a:ext>
            </a:extLst>
          </p:cNvPr>
          <p:cNvSpPr>
            <a:spLocks/>
          </p:cNvSpPr>
          <p:nvPr/>
        </p:nvSpPr>
        <p:spPr>
          <a:xfrm>
            <a:off x="8128058" y="1607360"/>
            <a:ext cx="216000" cy="180000"/>
          </a:xfrm>
          <a:prstGeom prst="triangle">
            <a:avLst/>
          </a:prstGeom>
          <a:solidFill>
            <a:srgbClr val="FF304C"/>
          </a:solidFill>
          <a:ln w="25400" cap="flat" cmpd="sng" algn="ctr">
            <a:noFill/>
            <a:prstDash val="solid"/>
          </a:ln>
          <a:effectLst/>
        </p:spPr>
        <p:txBody>
          <a:bodyPr anchor="ctr"/>
          <a:lstStyle/>
          <a:p>
            <a:pPr marL="0" marR="0" lvl="0" indent="0" algn="ctr" defTabSz="822976" rtl="0" eaLnBrk="0" fontAlgn="base" latinLnBrk="0" hangingPunct="0">
              <a:lnSpc>
                <a:spcPct val="100000"/>
              </a:lnSpc>
              <a:spcBef>
                <a:spcPct val="0"/>
              </a:spcBef>
              <a:spcAft>
                <a:spcPct val="0"/>
              </a:spcAft>
              <a:buClrTx/>
              <a:buSzTx/>
              <a:buFontTx/>
              <a:buNone/>
              <a:tabLst/>
              <a:defRPr/>
            </a:pPr>
            <a:endParaRPr kumimoji="0" lang="fr-FR" sz="1000" b="0" i="0" u="none" strike="noStrike" kern="0" cap="none" spc="0" normalizeH="0" baseline="0" noProof="0">
              <a:ln>
                <a:noFill/>
              </a:ln>
              <a:solidFill>
                <a:prstClr val="black"/>
              </a:solidFill>
              <a:effectLst/>
              <a:uLnTx/>
              <a:uFillTx/>
              <a:ea typeface="ＭＳ Ｐゴシック"/>
              <a:cs typeface="Arial" charset="0"/>
            </a:endParaRPr>
          </a:p>
        </p:txBody>
      </p:sp>
      <p:sp>
        <p:nvSpPr>
          <p:cNvPr id="97" name="TextBox 59">
            <a:extLst>
              <a:ext uri="{FF2B5EF4-FFF2-40B4-BE49-F238E27FC236}">
                <a16:creationId xmlns:a16="http://schemas.microsoft.com/office/drawing/2014/main" id="{961E2A45-0AE3-4B5B-B04D-5ABBFBC941F6}"/>
              </a:ext>
            </a:extLst>
          </p:cNvPr>
          <p:cNvSpPr txBox="1">
            <a:spLocks/>
          </p:cNvSpPr>
          <p:nvPr/>
        </p:nvSpPr>
        <p:spPr>
          <a:xfrm>
            <a:off x="9250783" y="1785151"/>
            <a:ext cx="1713236" cy="124650"/>
          </a:xfrm>
          <a:prstGeom prst="rect">
            <a:avLst/>
          </a:prstGeom>
          <a:noFill/>
          <a:ln w="28575">
            <a:noFill/>
          </a:ln>
          <a:effectLst/>
        </p:spPr>
        <p:txBody>
          <a:bodyPr wrap="square" lIns="0" tIns="0" rIns="0" bIns="0">
            <a:noAutofit/>
          </a:bodyPr>
          <a:lstStyle>
            <a:defPPr>
              <a:defRPr lang="fr-FR"/>
            </a:defPPr>
            <a:lvl1pPr>
              <a:defRPr sz="1100" i="1">
                <a:solidFill>
                  <a:schemeClr val="accent3"/>
                </a:solidFill>
                <a:latin typeface="Calibri" panose="020F0502020204030204" pitchFamily="34" charset="0"/>
              </a:defRPr>
            </a:lvl1pPr>
          </a:lstStyle>
          <a:p>
            <a:pPr marL="0" marR="0" lvl="0" indent="0" algn="ctr" defTabSz="822976" rtl="0" eaLnBrk="0" fontAlgn="base" latinLnBrk="0" hangingPunct="0">
              <a:lnSpc>
                <a:spcPct val="100000"/>
              </a:lnSpc>
              <a:spcBef>
                <a:spcPct val="0"/>
              </a:spcBef>
              <a:spcAft>
                <a:spcPct val="0"/>
              </a:spcAft>
              <a:buClrTx/>
              <a:buSzTx/>
              <a:buFontTx/>
              <a:buNone/>
              <a:tabLst/>
              <a:defRPr/>
            </a:pPr>
            <a:r>
              <a:rPr kumimoji="0" lang="fr-FR" sz="900" b="0" i="1" u="none" strike="noStrike" kern="1200" cap="none" spc="0" normalizeH="0" baseline="0" noProof="0">
                <a:ln>
                  <a:noFill/>
                </a:ln>
                <a:solidFill>
                  <a:srgbClr val="FF304C"/>
                </a:solidFill>
                <a:effectLst/>
                <a:uLnTx/>
                <a:uFillTx/>
                <a:latin typeface="+mn-lt"/>
                <a:ea typeface="MS PGothic" panose="020B0600070205080204" pitchFamily="34" charset="-128"/>
                <a:cs typeface="Arial" charset="0"/>
              </a:rPr>
              <a:t>Restitution finale</a:t>
            </a:r>
          </a:p>
        </p:txBody>
      </p:sp>
      <p:sp>
        <p:nvSpPr>
          <p:cNvPr id="101" name="Chevron 81">
            <a:extLst>
              <a:ext uri="{FF2B5EF4-FFF2-40B4-BE49-F238E27FC236}">
                <a16:creationId xmlns:a16="http://schemas.microsoft.com/office/drawing/2014/main" id="{EDE70581-1FD3-4725-88FA-49939CE39865}"/>
              </a:ext>
            </a:extLst>
          </p:cNvPr>
          <p:cNvSpPr>
            <a:spLocks/>
          </p:cNvSpPr>
          <p:nvPr/>
        </p:nvSpPr>
        <p:spPr>
          <a:xfrm>
            <a:off x="2498618" y="1399698"/>
            <a:ext cx="3911699" cy="360000"/>
          </a:xfrm>
          <a:prstGeom prst="chevron">
            <a:avLst>
              <a:gd name="adj" fmla="val 25096"/>
            </a:avLst>
          </a:prstGeom>
          <a:solidFill>
            <a:schemeClr val="accent1">
              <a:lumMod val="50000"/>
            </a:schemeClr>
          </a:solidFill>
          <a:ln w="25400" cap="flat" cmpd="sng" algn="ctr">
            <a:noFill/>
            <a:prstDash val="solid"/>
          </a:ln>
          <a:effectLst/>
        </p:spPr>
        <p:txBody>
          <a:bodyPr wrap="none" lIns="0" rIns="0" anchor="ctr"/>
          <a:lstStyle/>
          <a:p>
            <a:pPr marL="0" marR="0" lvl="0" indent="0" algn="ctr" defTabSz="822976" rtl="0" eaLnBrk="0" fontAlgn="base" latinLnBrk="0" hangingPunct="0">
              <a:lnSpc>
                <a:spcPct val="100000"/>
              </a:lnSpc>
              <a:spcBef>
                <a:spcPct val="0"/>
              </a:spcBef>
              <a:spcAft>
                <a:spcPct val="0"/>
              </a:spcAft>
              <a:buClrTx/>
              <a:buSzTx/>
              <a:buFontTx/>
              <a:buNone/>
              <a:tabLst/>
              <a:defRPr/>
            </a:pPr>
            <a:r>
              <a:rPr kumimoji="0" lang="fr-FR" sz="1050" b="1" i="0" u="none" strike="noStrike" kern="0" cap="none" spc="0" normalizeH="0" baseline="0" noProof="0">
                <a:ln>
                  <a:noFill/>
                </a:ln>
                <a:solidFill>
                  <a:prstClr val="white"/>
                </a:solidFill>
                <a:effectLst/>
                <a:uLnTx/>
                <a:uFillTx/>
                <a:ea typeface="ＭＳ Ｐゴシック"/>
                <a:cs typeface="Arial" charset="0"/>
              </a:rPr>
              <a:t>Diagnostique du processus</a:t>
            </a:r>
          </a:p>
        </p:txBody>
      </p:sp>
      <p:sp>
        <p:nvSpPr>
          <p:cNvPr id="104" name="Flowchart: Decision 84">
            <a:extLst>
              <a:ext uri="{FF2B5EF4-FFF2-40B4-BE49-F238E27FC236}">
                <a16:creationId xmlns:a16="http://schemas.microsoft.com/office/drawing/2014/main" id="{6ADCA1DA-9357-4AC5-8E57-98533ED8F7CD}"/>
              </a:ext>
            </a:extLst>
          </p:cNvPr>
          <p:cNvSpPr>
            <a:spLocks/>
          </p:cNvSpPr>
          <p:nvPr/>
        </p:nvSpPr>
        <p:spPr>
          <a:xfrm>
            <a:off x="6221159" y="1602064"/>
            <a:ext cx="216000" cy="216000"/>
          </a:xfrm>
          <a:prstGeom prst="flowChartDecision">
            <a:avLst/>
          </a:prstGeom>
          <a:solidFill>
            <a:srgbClr val="FF304C"/>
          </a:solidFill>
          <a:ln w="25400" cap="flat" cmpd="sng" algn="ctr">
            <a:noFill/>
            <a:prstDash val="solid"/>
          </a:ln>
          <a:effectLst/>
        </p:spPr>
        <p:txBody>
          <a:bodyPr anchor="ctr"/>
          <a:lstStyle/>
          <a:p>
            <a:pPr marL="0" marR="0" lvl="0" indent="0" algn="ctr" defTabSz="822976" rtl="0" eaLnBrk="0" fontAlgn="base" latinLnBrk="0" hangingPunct="0">
              <a:lnSpc>
                <a:spcPct val="100000"/>
              </a:lnSpc>
              <a:spcBef>
                <a:spcPct val="0"/>
              </a:spcBef>
              <a:spcAft>
                <a:spcPct val="0"/>
              </a:spcAft>
              <a:buClrTx/>
              <a:buSzTx/>
              <a:buFontTx/>
              <a:buNone/>
              <a:tabLst/>
              <a:defRPr/>
            </a:pPr>
            <a:endParaRPr kumimoji="0" lang="fr-FR" sz="1000" b="0" i="0" u="none" strike="noStrike" kern="0" cap="none" spc="0" normalizeH="0" baseline="0" noProof="0">
              <a:ln>
                <a:noFill/>
              </a:ln>
              <a:solidFill>
                <a:prstClr val="black"/>
              </a:solidFill>
              <a:effectLst/>
              <a:uLnTx/>
              <a:uFillTx/>
              <a:ea typeface="ＭＳ Ｐゴシック"/>
              <a:cs typeface="Arial" charset="0"/>
            </a:endParaRPr>
          </a:p>
        </p:txBody>
      </p:sp>
      <p:sp>
        <p:nvSpPr>
          <p:cNvPr id="108" name="Chevron 7">
            <a:extLst>
              <a:ext uri="{FF2B5EF4-FFF2-40B4-BE49-F238E27FC236}">
                <a16:creationId xmlns:a16="http://schemas.microsoft.com/office/drawing/2014/main" id="{BD9EF1D2-3208-486E-8E06-37719CC1CC62}"/>
              </a:ext>
            </a:extLst>
          </p:cNvPr>
          <p:cNvSpPr>
            <a:spLocks/>
          </p:cNvSpPr>
          <p:nvPr/>
        </p:nvSpPr>
        <p:spPr>
          <a:xfrm>
            <a:off x="10198996" y="1399698"/>
            <a:ext cx="1332604" cy="360000"/>
          </a:xfrm>
          <a:prstGeom prst="chevron">
            <a:avLst>
              <a:gd name="adj" fmla="val 19237"/>
            </a:avLst>
          </a:prstGeom>
          <a:solidFill>
            <a:sysClr val="window" lastClr="FFFFFF">
              <a:lumMod val="85000"/>
            </a:sysClr>
          </a:solidFill>
          <a:ln w="19050" cap="flat" cmpd="sng" algn="ctr">
            <a:solidFill>
              <a:schemeClr val="bg1">
                <a:lumMod val="65000"/>
              </a:schemeClr>
            </a:solidFill>
            <a:prstDash val="dash"/>
          </a:ln>
          <a:effectLst/>
        </p:spPr>
        <p:txBody>
          <a:bodyPr wrap="none" lIns="0" rIns="0" anchor="ctr"/>
          <a:lstStyle/>
          <a:p>
            <a:pPr marL="0" marR="0" lvl="0" indent="0" algn="ctr" defTabSz="946404" rtl="0" eaLnBrk="1" fontAlgn="auto" latinLnBrk="0" hangingPunct="1">
              <a:lnSpc>
                <a:spcPct val="100000"/>
              </a:lnSpc>
              <a:spcBef>
                <a:spcPts val="0"/>
              </a:spcBef>
              <a:spcAft>
                <a:spcPts val="0"/>
              </a:spcAft>
              <a:buClrTx/>
              <a:buSzTx/>
              <a:buFontTx/>
              <a:buNone/>
              <a:tabLst/>
              <a:defRPr/>
            </a:pPr>
            <a:r>
              <a:rPr kumimoji="0" lang="fr-FR" sz="1050" b="1" i="0" u="none" strike="noStrike" kern="0" cap="none" spc="0" normalizeH="0" baseline="0" noProof="0">
                <a:ln>
                  <a:noFill/>
                </a:ln>
                <a:solidFill>
                  <a:srgbClr val="000000"/>
                </a:solidFill>
                <a:effectLst/>
                <a:uLnTx/>
                <a:uFillTx/>
                <a:ea typeface="ＭＳ Ｐゴシック"/>
                <a:cs typeface="Arial" charset="0"/>
              </a:rPr>
              <a:t>Pérennisation</a:t>
            </a:r>
          </a:p>
        </p:txBody>
      </p:sp>
      <p:sp>
        <p:nvSpPr>
          <p:cNvPr id="123" name="Rectangle 122">
            <a:extLst>
              <a:ext uri="{FF2B5EF4-FFF2-40B4-BE49-F238E27FC236}">
                <a16:creationId xmlns:a16="http://schemas.microsoft.com/office/drawing/2014/main" id="{88A4EC3F-4432-43F0-95F0-79B9E9F9C5D1}"/>
              </a:ext>
            </a:extLst>
          </p:cNvPr>
          <p:cNvSpPr/>
          <p:nvPr/>
        </p:nvSpPr>
        <p:spPr bwMode="auto">
          <a:xfrm>
            <a:off x="603105" y="1963259"/>
            <a:ext cx="1808805" cy="395582"/>
          </a:xfrm>
          <a:prstGeom prst="rect">
            <a:avLst/>
          </a:prstGeom>
          <a:noFill/>
          <a:ln w="25400" cap="flat" cmpd="sng" algn="ctr">
            <a:noFill/>
            <a:prstDash val="solid"/>
          </a:ln>
          <a:effectLst/>
        </p:spPr>
        <p:txBody>
          <a:bodyPr wrap="square" lIns="91440" rIns="91440" anchor="t">
            <a:noAutofit/>
          </a:bodyPr>
          <a:lstStyle/>
          <a:p>
            <a:pPr marL="0" marR="0" lvl="0" indent="0" algn="l" defTabSz="822976" rtl="0" eaLnBrk="0" fontAlgn="base" latinLnBrk="0" hangingPunct="0">
              <a:lnSpc>
                <a:spcPct val="100000"/>
              </a:lnSpc>
              <a:spcBef>
                <a:spcPct val="0"/>
              </a:spcBef>
              <a:spcAft>
                <a:spcPct val="0"/>
              </a:spcAft>
              <a:buClrTx/>
              <a:buSzTx/>
              <a:buFontTx/>
              <a:buNone/>
              <a:tabLst/>
              <a:defRPr/>
            </a:pPr>
            <a:r>
              <a:rPr kumimoji="0" lang="fr-FR" sz="1000" b="0" i="0" u="none" strike="noStrike" kern="0" cap="none" spc="0" normalizeH="0" baseline="0" noProof="0">
                <a:ln>
                  <a:noFill/>
                </a:ln>
                <a:solidFill>
                  <a:prstClr val="black"/>
                </a:solidFill>
                <a:effectLst/>
                <a:uLnTx/>
                <a:uFillTx/>
                <a:ea typeface="ＭＳ Ｐゴシック"/>
                <a:cs typeface="Arial" charset="0"/>
              </a:rPr>
              <a:t>Collecte de </a:t>
            </a:r>
          </a:p>
          <a:p>
            <a:pPr marL="0" marR="0" lvl="0" indent="0" algn="l" defTabSz="822976" rtl="0" eaLnBrk="0" fontAlgn="base" latinLnBrk="0" hangingPunct="0">
              <a:lnSpc>
                <a:spcPct val="100000"/>
              </a:lnSpc>
              <a:spcBef>
                <a:spcPct val="0"/>
              </a:spcBef>
              <a:spcAft>
                <a:spcPct val="0"/>
              </a:spcAft>
              <a:buClrTx/>
              <a:buSzTx/>
              <a:buFontTx/>
              <a:buNone/>
              <a:tabLst/>
              <a:defRPr/>
            </a:pPr>
            <a:r>
              <a:rPr kumimoji="0" lang="fr-FR" sz="1000" b="0" i="0" u="none" strike="noStrike" kern="0" cap="none" spc="0" normalizeH="0" baseline="0" noProof="0">
                <a:ln>
                  <a:noFill/>
                </a:ln>
                <a:solidFill>
                  <a:prstClr val="black"/>
                </a:solidFill>
                <a:effectLst/>
                <a:uLnTx/>
                <a:uFillTx/>
                <a:ea typeface="ＭＳ Ｐゴシック"/>
                <a:cs typeface="Arial" charset="0"/>
              </a:rPr>
              <a:t>données</a:t>
            </a:r>
          </a:p>
        </p:txBody>
      </p:sp>
      <p:sp>
        <p:nvSpPr>
          <p:cNvPr id="141" name="Rectangle 140">
            <a:extLst>
              <a:ext uri="{FF2B5EF4-FFF2-40B4-BE49-F238E27FC236}">
                <a16:creationId xmlns:a16="http://schemas.microsoft.com/office/drawing/2014/main" id="{0401B009-0447-43B6-9FFB-DE8CABB146BD}"/>
              </a:ext>
            </a:extLst>
          </p:cNvPr>
          <p:cNvSpPr/>
          <p:nvPr/>
        </p:nvSpPr>
        <p:spPr bwMode="auto">
          <a:xfrm>
            <a:off x="5393890" y="1963259"/>
            <a:ext cx="1069976" cy="784786"/>
          </a:xfrm>
          <a:prstGeom prst="rect">
            <a:avLst/>
          </a:prstGeom>
          <a:noFill/>
          <a:ln w="25400" cap="flat" cmpd="sng" algn="ctr">
            <a:noFill/>
            <a:prstDash val="solid"/>
          </a:ln>
          <a:effectLst/>
        </p:spPr>
        <p:txBody>
          <a:bodyPr wrap="square" lIns="91440" rIns="91440" anchor="t">
            <a:noAutofit/>
          </a:bodyPr>
          <a:lstStyle/>
          <a:p>
            <a:pPr marL="0" marR="0" lvl="0" indent="0" algn="l" defTabSz="822976" rtl="0" eaLnBrk="0" fontAlgn="base" latinLnBrk="0" hangingPunct="0">
              <a:lnSpc>
                <a:spcPct val="100000"/>
              </a:lnSpc>
              <a:spcBef>
                <a:spcPct val="0"/>
              </a:spcBef>
              <a:spcAft>
                <a:spcPct val="0"/>
              </a:spcAft>
              <a:buClrTx/>
              <a:buSzTx/>
              <a:buFontTx/>
              <a:buNone/>
              <a:tabLst/>
              <a:defRPr/>
            </a:pPr>
            <a:r>
              <a:rPr kumimoji="0" lang="fr-FR" sz="1000" b="0" i="0" u="none" strike="noStrike" kern="0" cap="none" spc="0" normalizeH="0" baseline="0" noProof="0">
                <a:ln>
                  <a:noFill/>
                </a:ln>
                <a:solidFill>
                  <a:prstClr val="black"/>
                </a:solidFill>
                <a:effectLst/>
                <a:uLnTx/>
                <a:uFillTx/>
                <a:ea typeface="ＭＳ Ｐゴシック"/>
                <a:cs typeface="Arial" charset="0"/>
              </a:rPr>
              <a:t>Identification et priorisation des leviers de transformation = Solutions</a:t>
            </a:r>
          </a:p>
        </p:txBody>
      </p:sp>
      <p:sp>
        <p:nvSpPr>
          <p:cNvPr id="147" name="Rectangle 146">
            <a:extLst>
              <a:ext uri="{FF2B5EF4-FFF2-40B4-BE49-F238E27FC236}">
                <a16:creationId xmlns:a16="http://schemas.microsoft.com/office/drawing/2014/main" id="{BDD29A43-F438-4F3D-8C4B-3640D72897AC}"/>
              </a:ext>
            </a:extLst>
          </p:cNvPr>
          <p:cNvSpPr/>
          <p:nvPr/>
        </p:nvSpPr>
        <p:spPr bwMode="auto">
          <a:xfrm>
            <a:off x="4388100" y="1963259"/>
            <a:ext cx="929895" cy="395582"/>
          </a:xfrm>
          <a:prstGeom prst="rect">
            <a:avLst/>
          </a:prstGeom>
          <a:noFill/>
          <a:ln w="25400" cap="flat" cmpd="sng" algn="ctr">
            <a:noFill/>
            <a:prstDash val="solid"/>
          </a:ln>
          <a:effectLst/>
        </p:spPr>
        <p:txBody>
          <a:bodyPr wrap="square" lIns="91440" rIns="91440" anchor="t">
            <a:noAutofit/>
          </a:bodyPr>
          <a:lstStyle/>
          <a:p>
            <a:pPr marL="0" marR="0" lvl="0" indent="0" algn="l" defTabSz="822976" rtl="0" eaLnBrk="0" fontAlgn="base" latinLnBrk="0" hangingPunct="0">
              <a:lnSpc>
                <a:spcPct val="100000"/>
              </a:lnSpc>
              <a:spcBef>
                <a:spcPct val="0"/>
              </a:spcBef>
              <a:spcAft>
                <a:spcPct val="0"/>
              </a:spcAft>
              <a:buClrTx/>
              <a:buSzTx/>
              <a:buFontTx/>
              <a:buNone/>
              <a:tabLst/>
              <a:defRPr/>
            </a:pPr>
            <a:r>
              <a:rPr kumimoji="0" lang="fr-FR" sz="1000" b="0" i="0" u="none" strike="noStrike" kern="0" cap="none" spc="0" normalizeH="0" baseline="0" noProof="0">
                <a:ln>
                  <a:noFill/>
                </a:ln>
                <a:solidFill>
                  <a:prstClr val="black"/>
                </a:solidFill>
                <a:effectLst/>
                <a:uLnTx/>
                <a:uFillTx/>
                <a:ea typeface="ＭＳ Ｐゴシック"/>
                <a:cs typeface="Arial" charset="0"/>
              </a:rPr>
              <a:t>Analyses des causes racines</a:t>
            </a:r>
          </a:p>
        </p:txBody>
      </p:sp>
      <p:sp>
        <p:nvSpPr>
          <p:cNvPr id="157" name="Rectangle 156">
            <a:extLst>
              <a:ext uri="{FF2B5EF4-FFF2-40B4-BE49-F238E27FC236}">
                <a16:creationId xmlns:a16="http://schemas.microsoft.com/office/drawing/2014/main" id="{D24AE3FC-6FCB-49CA-8E42-75328AEB1861}"/>
              </a:ext>
            </a:extLst>
          </p:cNvPr>
          <p:cNvSpPr/>
          <p:nvPr/>
        </p:nvSpPr>
        <p:spPr bwMode="auto">
          <a:xfrm>
            <a:off x="2530145" y="1963259"/>
            <a:ext cx="1805619" cy="385800"/>
          </a:xfrm>
          <a:prstGeom prst="rect">
            <a:avLst/>
          </a:prstGeom>
          <a:noFill/>
          <a:ln w="25400" cap="flat" cmpd="sng" algn="ctr">
            <a:noFill/>
            <a:prstDash val="solid"/>
          </a:ln>
          <a:effectLst/>
        </p:spPr>
        <p:txBody>
          <a:bodyPr wrap="square" lIns="91440" rIns="91440" anchor="t">
            <a:noAutofit/>
          </a:bodyPr>
          <a:lstStyle/>
          <a:p>
            <a:pPr marL="0" marR="0" lvl="0" indent="0" algn="l" defTabSz="822976" rtl="0" eaLnBrk="0" fontAlgn="base" latinLnBrk="0" hangingPunct="0">
              <a:lnSpc>
                <a:spcPct val="100000"/>
              </a:lnSpc>
              <a:spcBef>
                <a:spcPct val="0"/>
              </a:spcBef>
              <a:spcAft>
                <a:spcPct val="0"/>
              </a:spcAft>
              <a:buClrTx/>
              <a:buSzTx/>
              <a:buFontTx/>
              <a:buNone/>
              <a:tabLst/>
              <a:defRPr/>
            </a:pPr>
            <a:r>
              <a:rPr kumimoji="0" lang="fr-FR" sz="1000" b="0" i="0" u="none" strike="noStrike" kern="0" cap="none" spc="0" normalizeH="0" baseline="0" noProof="0">
                <a:ln>
                  <a:noFill/>
                </a:ln>
                <a:solidFill>
                  <a:prstClr val="black"/>
                </a:solidFill>
                <a:effectLst/>
                <a:uLnTx/>
                <a:uFillTx/>
                <a:ea typeface="ＭＳ Ｐゴシック"/>
                <a:cs typeface="Arial" charset="0"/>
              </a:rPr>
              <a:t>Cartographie des activités</a:t>
            </a:r>
          </a:p>
        </p:txBody>
      </p:sp>
      <p:sp>
        <p:nvSpPr>
          <p:cNvPr id="172" name="Rectangle 171">
            <a:extLst>
              <a:ext uri="{FF2B5EF4-FFF2-40B4-BE49-F238E27FC236}">
                <a16:creationId xmlns:a16="http://schemas.microsoft.com/office/drawing/2014/main" id="{B34FAAF8-5289-4652-AA54-F241772CE835}"/>
              </a:ext>
            </a:extLst>
          </p:cNvPr>
          <p:cNvSpPr/>
          <p:nvPr/>
        </p:nvSpPr>
        <p:spPr bwMode="auto">
          <a:xfrm>
            <a:off x="8355920" y="1963259"/>
            <a:ext cx="1805619" cy="784784"/>
          </a:xfrm>
          <a:prstGeom prst="rect">
            <a:avLst/>
          </a:prstGeom>
          <a:noFill/>
          <a:ln w="25400" cap="flat" cmpd="sng" algn="ctr">
            <a:noFill/>
            <a:prstDash val="solid"/>
          </a:ln>
          <a:effectLst/>
        </p:spPr>
        <p:txBody>
          <a:bodyPr wrap="square" lIns="91440" rIns="91440" anchor="t">
            <a:noAutofit/>
          </a:bodyPr>
          <a:lstStyle/>
          <a:p>
            <a:pPr marL="0" marR="0" lvl="0" indent="0" algn="l" defTabSz="822976" rtl="0" eaLnBrk="0" fontAlgn="base" latinLnBrk="0" hangingPunct="0">
              <a:lnSpc>
                <a:spcPct val="100000"/>
              </a:lnSpc>
              <a:spcBef>
                <a:spcPct val="0"/>
              </a:spcBef>
              <a:spcAft>
                <a:spcPct val="0"/>
              </a:spcAft>
              <a:buClrTx/>
              <a:buSzTx/>
              <a:buFontTx/>
              <a:buNone/>
              <a:tabLst/>
              <a:defRPr/>
            </a:pPr>
            <a:r>
              <a:rPr kumimoji="0" lang="fr-FR" sz="1000" b="0" i="0" u="none" strike="noStrike" kern="0" cap="none" spc="0" normalizeH="0" baseline="0" noProof="0">
                <a:ln>
                  <a:noFill/>
                </a:ln>
                <a:solidFill>
                  <a:prstClr val="black"/>
                </a:solidFill>
                <a:effectLst/>
                <a:uLnTx/>
                <a:uFillTx/>
                <a:ea typeface="ＭＳ Ｐゴシック"/>
                <a:cs typeface="Arial" charset="0"/>
              </a:rPr>
              <a:t>Mise en œuvre des solutions</a:t>
            </a:r>
          </a:p>
        </p:txBody>
      </p:sp>
      <p:sp>
        <p:nvSpPr>
          <p:cNvPr id="196" name="Rectangle 195">
            <a:extLst>
              <a:ext uri="{FF2B5EF4-FFF2-40B4-BE49-F238E27FC236}">
                <a16:creationId xmlns:a16="http://schemas.microsoft.com/office/drawing/2014/main" id="{17ACDF7A-16BD-49CE-B4C7-117CEA790516}"/>
              </a:ext>
            </a:extLst>
          </p:cNvPr>
          <p:cNvSpPr/>
          <p:nvPr/>
        </p:nvSpPr>
        <p:spPr bwMode="auto">
          <a:xfrm>
            <a:off x="6524472" y="1963258"/>
            <a:ext cx="1775503" cy="784785"/>
          </a:xfrm>
          <a:prstGeom prst="rect">
            <a:avLst/>
          </a:prstGeom>
          <a:noFill/>
          <a:ln w="25400" cap="flat" cmpd="sng" algn="ctr">
            <a:noFill/>
            <a:prstDash val="solid"/>
          </a:ln>
          <a:effectLst/>
        </p:spPr>
        <p:txBody>
          <a:bodyPr wrap="square" lIns="91440" rIns="91440" anchor="t">
            <a:noAutofit/>
          </a:bodyPr>
          <a:lstStyle/>
          <a:p>
            <a:pPr marL="0" marR="0" lvl="0" indent="0" algn="l" defTabSz="822976" rtl="0" eaLnBrk="0" fontAlgn="base" latinLnBrk="0" hangingPunct="0">
              <a:lnSpc>
                <a:spcPct val="100000"/>
              </a:lnSpc>
              <a:spcBef>
                <a:spcPct val="0"/>
              </a:spcBef>
              <a:spcAft>
                <a:spcPct val="0"/>
              </a:spcAft>
              <a:buClrTx/>
              <a:buSzTx/>
              <a:buFontTx/>
              <a:buNone/>
              <a:tabLst/>
              <a:defRPr/>
            </a:pPr>
            <a:r>
              <a:rPr kumimoji="0" lang="fr-FR" sz="1000" b="0" i="0" u="none" strike="noStrike" kern="0" cap="none" spc="0" normalizeH="0" baseline="0" noProof="0">
                <a:ln>
                  <a:noFill/>
                </a:ln>
                <a:solidFill>
                  <a:prstClr val="black"/>
                </a:solidFill>
                <a:effectLst/>
                <a:uLnTx/>
                <a:uFillTx/>
                <a:ea typeface="ＭＳ Ｐゴシック"/>
                <a:cs typeface="Arial" charset="0"/>
              </a:rPr>
              <a:t>Qualification des solution et construction des plans d’actions</a:t>
            </a:r>
          </a:p>
        </p:txBody>
      </p:sp>
      <p:sp>
        <p:nvSpPr>
          <p:cNvPr id="2" name="Rectangle 1">
            <a:extLst>
              <a:ext uri="{FF2B5EF4-FFF2-40B4-BE49-F238E27FC236}">
                <a16:creationId xmlns:a16="http://schemas.microsoft.com/office/drawing/2014/main" id="{DE312302-6934-4772-AE96-8D517B35D7AF}"/>
              </a:ext>
            </a:extLst>
          </p:cNvPr>
          <p:cNvSpPr/>
          <p:nvPr/>
        </p:nvSpPr>
        <p:spPr>
          <a:xfrm>
            <a:off x="0" y="4389032"/>
            <a:ext cx="12192000" cy="2468968"/>
          </a:xfrm>
          <a:prstGeom prst="rect">
            <a:avLst/>
          </a:prstGeom>
          <a:gradFill>
            <a:gsLst>
              <a:gs pos="0">
                <a:schemeClr val="bg1">
                  <a:alpha val="0"/>
                </a:schemeClr>
              </a:gs>
              <a:gs pos="4000">
                <a:schemeClr val="bg1">
                  <a:lumMod val="6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73050" marR="0" lvl="0" indent="-273050" algn="l" defTabSz="914400" rtl="0" eaLnBrk="1" fontAlgn="base" latinLnBrk="0" hangingPunct="1">
              <a:lnSpc>
                <a:spcPct val="100000"/>
              </a:lnSpc>
              <a:spcBef>
                <a:spcPts val="600"/>
              </a:spcBef>
              <a:spcAft>
                <a:spcPct val="0"/>
              </a:spcAft>
              <a:buClr>
                <a:srgbClr val="0070AD"/>
              </a:buClr>
              <a:buSzTx/>
              <a:buFont typeface="Wingdings" panose="05000000000000000000" pitchFamily="2" charset="2"/>
              <a:buChar char="§"/>
              <a:tabLst/>
              <a:defRPr/>
            </a:pPr>
            <a:endParaRPr kumimoji="0" lang="fr-FR" sz="1800" b="0" i="0" u="none" strike="noStrike" kern="1200" cap="none" spc="0" normalizeH="0" baseline="0" noProof="0">
              <a:ln>
                <a:noFill/>
              </a:ln>
              <a:solidFill>
                <a:prstClr val="black"/>
              </a:solidFill>
              <a:effectLst/>
              <a:uLnTx/>
              <a:uFillTx/>
              <a:ea typeface="+mn-ea"/>
              <a:cs typeface="+mn-cs"/>
            </a:endParaRPr>
          </a:p>
        </p:txBody>
      </p:sp>
      <p:sp>
        <p:nvSpPr>
          <p:cNvPr id="55" name="Rectangle 54">
            <a:extLst>
              <a:ext uri="{FF2B5EF4-FFF2-40B4-BE49-F238E27FC236}">
                <a16:creationId xmlns:a16="http://schemas.microsoft.com/office/drawing/2014/main" id="{034DE999-2039-4218-BDBD-674D0136F683}"/>
              </a:ext>
            </a:extLst>
          </p:cNvPr>
          <p:cNvSpPr/>
          <p:nvPr/>
        </p:nvSpPr>
        <p:spPr bwMode="auto">
          <a:xfrm>
            <a:off x="2324064" y="4552873"/>
            <a:ext cx="870887" cy="482914"/>
          </a:xfrm>
          <a:prstGeom prst="rect">
            <a:avLst/>
          </a:prstGeom>
          <a:solidFill>
            <a:sysClr val="window" lastClr="FFFFFF"/>
          </a:solidFill>
          <a:ln w="19050" cap="flat" cmpd="sng" algn="ctr">
            <a:solidFill>
              <a:schemeClr val="accent1">
                <a:lumMod val="60000"/>
                <a:lumOff val="40000"/>
              </a:schemeClr>
            </a:solidFill>
            <a:prstDash val="solid"/>
            <a:round/>
            <a:headEnd type="none" w="med" len="med"/>
            <a:tailEnd type="none" w="med" len="med"/>
          </a:ln>
          <a:effectLst/>
        </p:spPr>
        <p:txBody>
          <a:bodyPr rot="0" spcFirstLastPara="0" vertOverflow="overflow" horzOverflow="overflow" vert="horz" wrap="square" lIns="0" tIns="36000" rIns="0" bIns="18000" numCol="1" spcCol="0" rtlCol="0" fromWordArt="0" anchor="b"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800" b="0" i="0" u="none" strike="noStrike" kern="0" cap="none" spc="0" normalizeH="0" baseline="0" noProof="0">
                <a:ln>
                  <a:noFill/>
                </a:ln>
                <a:solidFill>
                  <a:prstClr val="black"/>
                </a:solidFill>
                <a:effectLst/>
                <a:uLnTx/>
                <a:uFillTx/>
                <a:ea typeface="MS PGothic" panose="020B0600070205080204" pitchFamily="34" charset="-128"/>
                <a:cs typeface="Calibri" panose="020F0502020204030204" pitchFamily="34" charset="0"/>
              </a:rPr>
              <a:t>Voix des collaborateurs</a:t>
            </a:r>
          </a:p>
        </p:txBody>
      </p:sp>
      <p:sp>
        <p:nvSpPr>
          <p:cNvPr id="56" name="Rectangle 55">
            <a:extLst>
              <a:ext uri="{FF2B5EF4-FFF2-40B4-BE49-F238E27FC236}">
                <a16:creationId xmlns:a16="http://schemas.microsoft.com/office/drawing/2014/main" id="{764D3153-0EE0-45CA-941C-02501689F268}"/>
              </a:ext>
            </a:extLst>
          </p:cNvPr>
          <p:cNvSpPr/>
          <p:nvPr/>
        </p:nvSpPr>
        <p:spPr bwMode="auto">
          <a:xfrm>
            <a:off x="2324064" y="5645197"/>
            <a:ext cx="870887" cy="482914"/>
          </a:xfrm>
          <a:prstGeom prst="rect">
            <a:avLst/>
          </a:prstGeom>
          <a:solidFill>
            <a:sysClr val="window" lastClr="FFFFFF"/>
          </a:solidFill>
          <a:ln w="19050" cap="flat" cmpd="sng" algn="ctr">
            <a:solidFill>
              <a:schemeClr val="accent1">
                <a:lumMod val="60000"/>
                <a:lumOff val="40000"/>
              </a:schemeClr>
            </a:solidFill>
            <a:prstDash val="solid"/>
            <a:round/>
            <a:headEnd type="none" w="med" len="med"/>
            <a:tailEnd type="none" w="med" len="med"/>
          </a:ln>
          <a:effectLst/>
        </p:spPr>
        <p:txBody>
          <a:bodyPr rot="0" spcFirstLastPara="0" vertOverflow="overflow" horzOverflow="overflow" vert="horz" wrap="square" lIns="0" tIns="36000" rIns="0" bIns="18000" numCol="1" spcCol="0" rtlCol="0" fromWordArt="0" anchor="b"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800" b="0" i="0" u="none" strike="noStrike" kern="0" cap="none" spc="0" normalizeH="0" baseline="0" noProof="0">
                <a:ln>
                  <a:noFill/>
                </a:ln>
                <a:solidFill>
                  <a:prstClr val="black"/>
                </a:solidFill>
                <a:effectLst/>
                <a:uLnTx/>
                <a:uFillTx/>
                <a:ea typeface="MS PGothic" panose="020B0600070205080204" pitchFamily="34" charset="-128"/>
                <a:cs typeface="Calibri" panose="020F0502020204030204" pitchFamily="34" charset="0"/>
              </a:rPr>
              <a:t>Questionnaires</a:t>
            </a:r>
          </a:p>
        </p:txBody>
      </p:sp>
      <p:sp>
        <p:nvSpPr>
          <p:cNvPr id="57" name="Rectangle 56">
            <a:extLst>
              <a:ext uri="{FF2B5EF4-FFF2-40B4-BE49-F238E27FC236}">
                <a16:creationId xmlns:a16="http://schemas.microsoft.com/office/drawing/2014/main" id="{21344EA8-8254-4906-A021-AC9C700BCCFE}"/>
              </a:ext>
            </a:extLst>
          </p:cNvPr>
          <p:cNvSpPr/>
          <p:nvPr/>
        </p:nvSpPr>
        <p:spPr bwMode="auto">
          <a:xfrm>
            <a:off x="2324064" y="5101596"/>
            <a:ext cx="870887" cy="482914"/>
          </a:xfrm>
          <a:prstGeom prst="rect">
            <a:avLst/>
          </a:prstGeom>
          <a:solidFill>
            <a:sysClr val="window" lastClr="FFFFFF"/>
          </a:solidFill>
          <a:ln w="19050" cap="flat" cmpd="sng" algn="ctr">
            <a:solidFill>
              <a:schemeClr val="accent1">
                <a:lumMod val="60000"/>
                <a:lumOff val="40000"/>
              </a:schemeClr>
            </a:solidFill>
            <a:prstDash val="solid"/>
            <a:round/>
            <a:headEnd type="none" w="med" len="med"/>
            <a:tailEnd type="none" w="med" len="med"/>
          </a:ln>
          <a:effectLst/>
        </p:spPr>
        <p:txBody>
          <a:bodyPr rot="0" spcFirstLastPara="0" vertOverflow="overflow" horzOverflow="overflow" vert="horz" wrap="square" lIns="0" tIns="36000" rIns="0" bIns="18000" numCol="1" spcCol="0" rtlCol="0" fromWordArt="0" anchor="b"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800" b="0" i="0" u="none" strike="noStrike" kern="0" cap="none" spc="0" normalizeH="0" baseline="0" noProof="0">
                <a:ln>
                  <a:noFill/>
                </a:ln>
                <a:solidFill>
                  <a:prstClr val="black"/>
                </a:solidFill>
                <a:effectLst/>
                <a:uLnTx/>
                <a:uFillTx/>
                <a:ea typeface="MS PGothic" panose="020B0600070205080204" pitchFamily="34" charset="-128"/>
                <a:cs typeface="Calibri" panose="020F0502020204030204" pitchFamily="34" charset="0"/>
              </a:rPr>
              <a:t>Immersions / DILO VA-NVA</a:t>
            </a:r>
          </a:p>
        </p:txBody>
      </p:sp>
      <p:sp>
        <p:nvSpPr>
          <p:cNvPr id="58" name="Rectangle 57">
            <a:extLst>
              <a:ext uri="{FF2B5EF4-FFF2-40B4-BE49-F238E27FC236}">
                <a16:creationId xmlns:a16="http://schemas.microsoft.com/office/drawing/2014/main" id="{7A31902F-89F1-43D8-A34B-51A7997B4F45}"/>
              </a:ext>
            </a:extLst>
          </p:cNvPr>
          <p:cNvSpPr/>
          <p:nvPr/>
        </p:nvSpPr>
        <p:spPr bwMode="auto">
          <a:xfrm>
            <a:off x="2324064" y="6194775"/>
            <a:ext cx="870887" cy="482914"/>
          </a:xfrm>
          <a:prstGeom prst="rect">
            <a:avLst/>
          </a:prstGeom>
          <a:solidFill>
            <a:sysClr val="window" lastClr="FFFFFF"/>
          </a:solidFill>
          <a:ln w="19050" cap="flat" cmpd="sng" algn="ctr">
            <a:solidFill>
              <a:schemeClr val="accent1">
                <a:lumMod val="60000"/>
                <a:lumOff val="40000"/>
              </a:schemeClr>
            </a:solidFill>
            <a:prstDash val="solid"/>
            <a:round/>
            <a:headEnd type="none" w="med" len="med"/>
            <a:tailEnd type="none" w="med" len="med"/>
          </a:ln>
          <a:effectLst/>
        </p:spPr>
        <p:txBody>
          <a:bodyPr rot="0" spcFirstLastPara="0" vertOverflow="overflow" horzOverflow="overflow" vert="horz" wrap="square" lIns="0" tIns="36000" rIns="0" bIns="18000" numCol="1" spcCol="0" rtlCol="0" fromWordArt="0" anchor="b"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800" b="0" i="0" u="none" strike="noStrike" kern="0" cap="none" spc="0" normalizeH="0" baseline="0" noProof="0">
                <a:ln>
                  <a:noFill/>
                </a:ln>
                <a:solidFill>
                  <a:prstClr val="black"/>
                </a:solidFill>
                <a:effectLst/>
                <a:uLnTx/>
                <a:uFillTx/>
                <a:ea typeface="MS PGothic" panose="020B0600070205080204" pitchFamily="34" charset="-128"/>
                <a:cs typeface="Calibri" panose="020F0502020204030204" pitchFamily="34" charset="0"/>
              </a:rPr>
              <a:t>Captation enjeux managériaux</a:t>
            </a:r>
          </a:p>
        </p:txBody>
      </p:sp>
      <p:pic>
        <p:nvPicPr>
          <p:cNvPr id="59" name="Picture 78">
            <a:extLst>
              <a:ext uri="{FF2B5EF4-FFF2-40B4-BE49-F238E27FC236}">
                <a16:creationId xmlns:a16="http://schemas.microsoft.com/office/drawing/2014/main" id="{BAB4D364-18F3-42A0-821F-532219B4F17D}"/>
              </a:ext>
            </a:extLst>
          </p:cNvPr>
          <p:cNvPicPr>
            <a:picLocks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615507" y="5709000"/>
            <a:ext cx="288000" cy="26181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60" name="Picture 75">
            <a:extLst>
              <a:ext uri="{FF2B5EF4-FFF2-40B4-BE49-F238E27FC236}">
                <a16:creationId xmlns:a16="http://schemas.microsoft.com/office/drawing/2014/main" id="{37D07D91-3D28-4D76-B438-3DF006B0245C}"/>
              </a:ext>
            </a:extLst>
          </p:cNvPr>
          <p:cNvPicPr>
            <a:picLocks noChangeArrowheads="1"/>
          </p:cNvPicPr>
          <p:nvPr/>
        </p:nvPicPr>
        <p:blipFill>
          <a:blip r:embed="rId4" cstate="email">
            <a:extLst>
              <a:ext uri="{28A0092B-C50C-407E-A947-70E740481C1C}">
                <a14:useLocalDpi xmlns:a14="http://schemas.microsoft.com/office/drawing/2010/main"/>
              </a:ext>
            </a:extLst>
          </a:blip>
          <a:stretch>
            <a:fillRect/>
          </a:stretch>
        </p:blipFill>
        <p:spPr bwMode="auto">
          <a:xfrm>
            <a:off x="2640499" y="5122247"/>
            <a:ext cx="238016" cy="216377"/>
          </a:xfrm>
          <a:prstGeom prst="rect">
            <a:avLst/>
          </a:prstGeom>
          <a:ln w="9525">
            <a:noFill/>
            <a:miter lim="800000"/>
            <a:headEnd/>
            <a:tailEnd/>
          </a:ln>
          <a:extLst>
            <a:ext uri="{909E8E84-426E-40DD-AFC4-6F175D3DCCD1}">
              <a14:hiddenFill xmlns:a14="http://schemas.microsoft.com/office/drawing/2010/main">
                <a:solidFill>
                  <a:srgbClr val="FFFFFF"/>
                </a:solidFill>
              </a14:hiddenFill>
            </a:ext>
          </a:extLst>
        </p:spPr>
      </p:pic>
      <p:pic>
        <p:nvPicPr>
          <p:cNvPr id="61" name="Picture 60">
            <a:extLst>
              <a:ext uri="{FF2B5EF4-FFF2-40B4-BE49-F238E27FC236}">
                <a16:creationId xmlns:a16="http://schemas.microsoft.com/office/drawing/2014/main" id="{371F7A14-28B7-4834-9BCB-95D9D01D6667}"/>
              </a:ext>
            </a:extLst>
          </p:cNvPr>
          <p:cNvPicPr>
            <a:picLocks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2597507" y="6185705"/>
            <a:ext cx="324000" cy="29454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62" name="Picture 61">
            <a:extLst>
              <a:ext uri="{FF2B5EF4-FFF2-40B4-BE49-F238E27FC236}">
                <a16:creationId xmlns:a16="http://schemas.microsoft.com/office/drawing/2014/main" id="{37916118-85E0-409A-A804-80EFE0DB9CAC}"/>
              </a:ext>
            </a:extLst>
          </p:cNvPr>
          <p:cNvPicPr>
            <a:picLocks/>
          </p:cNvPicPr>
          <p:nvPr/>
        </p:nvPicPr>
        <p:blipFill>
          <a:blip r:embed="rId6" cstate="email">
            <a:extLst>
              <a:ext uri="{28A0092B-C50C-407E-A947-70E740481C1C}">
                <a14:useLocalDpi xmlns:a14="http://schemas.microsoft.com/office/drawing/2010/main"/>
              </a:ext>
            </a:extLst>
          </a:blip>
          <a:stretch>
            <a:fillRect/>
          </a:stretch>
        </p:blipFill>
        <p:spPr>
          <a:xfrm>
            <a:off x="2624419" y="4558853"/>
            <a:ext cx="270177" cy="245615"/>
          </a:xfrm>
          <a:prstGeom prst="rect">
            <a:avLst/>
          </a:prstGeom>
        </p:spPr>
      </p:pic>
      <p:sp>
        <p:nvSpPr>
          <p:cNvPr id="63" name="Rectangle 62">
            <a:extLst>
              <a:ext uri="{FF2B5EF4-FFF2-40B4-BE49-F238E27FC236}">
                <a16:creationId xmlns:a16="http://schemas.microsoft.com/office/drawing/2014/main" id="{C90861BF-196C-418D-B2A1-7BCF6B3A2AF4}"/>
              </a:ext>
            </a:extLst>
          </p:cNvPr>
          <p:cNvSpPr/>
          <p:nvPr/>
        </p:nvSpPr>
        <p:spPr bwMode="auto">
          <a:xfrm>
            <a:off x="3255558" y="4552873"/>
            <a:ext cx="870887" cy="482914"/>
          </a:xfrm>
          <a:prstGeom prst="rect">
            <a:avLst/>
          </a:prstGeom>
          <a:solidFill>
            <a:sysClr val="window" lastClr="FFFFFF"/>
          </a:solidFill>
          <a:ln w="19050" cap="flat" cmpd="sng" algn="ctr">
            <a:solidFill>
              <a:schemeClr val="accent1">
                <a:lumMod val="60000"/>
                <a:lumOff val="40000"/>
              </a:schemeClr>
            </a:solidFill>
            <a:prstDash val="solid"/>
            <a:round/>
            <a:headEnd type="none" w="med" len="med"/>
            <a:tailEnd type="none" w="med" len="med"/>
          </a:ln>
          <a:effectLst/>
        </p:spPr>
        <p:txBody>
          <a:bodyPr rot="0" spcFirstLastPara="0" vertOverflow="overflow" horzOverflow="overflow" vert="horz" wrap="square" lIns="0" tIns="36000" rIns="0" bIns="18000" numCol="1" spcCol="0" rtlCol="0" fromWordArt="0" anchor="b"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800" b="0" i="0" u="none" strike="noStrike" kern="0" cap="none" spc="0" normalizeH="0" baseline="0" noProof="0">
                <a:ln>
                  <a:noFill/>
                </a:ln>
                <a:solidFill>
                  <a:prstClr val="black"/>
                </a:solidFill>
                <a:effectLst/>
                <a:uLnTx/>
                <a:uFillTx/>
                <a:ea typeface="MS PGothic" panose="020B0600070205080204" pitchFamily="34" charset="-128"/>
                <a:cs typeface="Calibri" panose="020F0502020204030204" pitchFamily="34" charset="0"/>
              </a:rPr>
              <a:t>Voix du client (KANO, CTQ, …)</a:t>
            </a:r>
          </a:p>
        </p:txBody>
      </p:sp>
      <p:sp>
        <p:nvSpPr>
          <p:cNvPr id="64" name="Rectangle 63">
            <a:extLst>
              <a:ext uri="{FF2B5EF4-FFF2-40B4-BE49-F238E27FC236}">
                <a16:creationId xmlns:a16="http://schemas.microsoft.com/office/drawing/2014/main" id="{53F61D89-D899-4EBB-9DCE-C9C8FEE43AB0}"/>
              </a:ext>
            </a:extLst>
          </p:cNvPr>
          <p:cNvSpPr/>
          <p:nvPr/>
        </p:nvSpPr>
        <p:spPr bwMode="auto">
          <a:xfrm>
            <a:off x="3255558" y="6194775"/>
            <a:ext cx="870887" cy="482914"/>
          </a:xfrm>
          <a:prstGeom prst="rect">
            <a:avLst/>
          </a:prstGeom>
          <a:solidFill>
            <a:sysClr val="window" lastClr="FFFFFF"/>
          </a:solidFill>
          <a:ln w="19050" cap="flat" cmpd="sng" algn="ctr">
            <a:solidFill>
              <a:schemeClr val="accent1">
                <a:lumMod val="60000"/>
                <a:lumOff val="40000"/>
              </a:schemeClr>
            </a:solidFill>
            <a:prstDash val="solid"/>
            <a:round/>
            <a:headEnd type="none" w="med" len="med"/>
            <a:tailEnd type="none" w="med" len="med"/>
          </a:ln>
          <a:effectLst/>
        </p:spPr>
        <p:txBody>
          <a:bodyPr rot="0" spcFirstLastPara="0" vertOverflow="overflow" horzOverflow="overflow" vert="horz" wrap="square" lIns="0" tIns="36000" rIns="0" bIns="18000" numCol="1" spcCol="0" rtlCol="0" fromWordArt="0" anchor="b"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800" b="0" i="0" u="none" strike="noStrike" kern="0" cap="none" spc="0" normalizeH="0" baseline="0" noProof="0">
                <a:ln>
                  <a:noFill/>
                </a:ln>
                <a:solidFill>
                  <a:prstClr val="black"/>
                </a:solidFill>
                <a:effectLst/>
                <a:uLnTx/>
                <a:uFillTx/>
                <a:ea typeface="MS PGothic" panose="020B0600070205080204" pitchFamily="34" charset="-128"/>
                <a:cs typeface="Calibri" panose="020F0502020204030204" pitchFamily="34" charset="0"/>
              </a:rPr>
              <a:t>Bâtonnage</a:t>
            </a:r>
          </a:p>
        </p:txBody>
      </p:sp>
      <p:sp>
        <p:nvSpPr>
          <p:cNvPr id="65" name="Rectangle 64">
            <a:extLst>
              <a:ext uri="{FF2B5EF4-FFF2-40B4-BE49-F238E27FC236}">
                <a16:creationId xmlns:a16="http://schemas.microsoft.com/office/drawing/2014/main" id="{252B9C97-76AB-4ACD-BBCC-6F8DC60A26FC}"/>
              </a:ext>
            </a:extLst>
          </p:cNvPr>
          <p:cNvSpPr/>
          <p:nvPr/>
        </p:nvSpPr>
        <p:spPr bwMode="auto">
          <a:xfrm>
            <a:off x="3255558" y="5645197"/>
            <a:ext cx="870887" cy="482914"/>
          </a:xfrm>
          <a:prstGeom prst="rect">
            <a:avLst/>
          </a:prstGeom>
          <a:solidFill>
            <a:sysClr val="window" lastClr="FFFFFF"/>
          </a:solidFill>
          <a:ln w="19050" cap="flat" cmpd="sng" algn="ctr">
            <a:solidFill>
              <a:schemeClr val="accent1">
                <a:lumMod val="60000"/>
                <a:lumOff val="40000"/>
              </a:schemeClr>
            </a:solidFill>
            <a:prstDash val="solid"/>
            <a:round/>
            <a:headEnd type="none" w="med" len="med"/>
            <a:tailEnd type="none" w="med" len="med"/>
          </a:ln>
          <a:effectLst/>
        </p:spPr>
        <p:txBody>
          <a:bodyPr rot="0" spcFirstLastPara="0" vertOverflow="overflow" horzOverflow="overflow" vert="horz" wrap="square" lIns="0" tIns="36000" rIns="0" bIns="18000" numCol="1" spcCol="0" rtlCol="0" fromWordArt="0" anchor="b"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800" b="0" i="0" u="none" strike="noStrike" kern="0" cap="none" spc="0" normalizeH="0" baseline="0" noProof="0">
                <a:ln>
                  <a:noFill/>
                </a:ln>
                <a:solidFill>
                  <a:prstClr val="black"/>
                </a:solidFill>
                <a:effectLst/>
                <a:uLnTx/>
                <a:uFillTx/>
                <a:ea typeface="MS PGothic" panose="020B0600070205080204" pitchFamily="34" charset="-128"/>
                <a:cs typeface="Calibri" panose="020F0502020204030204" pitchFamily="34" charset="0"/>
              </a:rPr>
              <a:t>Entretiens</a:t>
            </a:r>
          </a:p>
        </p:txBody>
      </p:sp>
      <p:sp>
        <p:nvSpPr>
          <p:cNvPr id="66" name="Rectangle 65">
            <a:extLst>
              <a:ext uri="{FF2B5EF4-FFF2-40B4-BE49-F238E27FC236}">
                <a16:creationId xmlns:a16="http://schemas.microsoft.com/office/drawing/2014/main" id="{1B581F7E-8887-49E9-A516-BEDA0EB3A4F3}"/>
              </a:ext>
            </a:extLst>
          </p:cNvPr>
          <p:cNvSpPr/>
          <p:nvPr/>
        </p:nvSpPr>
        <p:spPr bwMode="auto">
          <a:xfrm>
            <a:off x="3255558" y="5101596"/>
            <a:ext cx="870887" cy="482914"/>
          </a:xfrm>
          <a:prstGeom prst="rect">
            <a:avLst/>
          </a:prstGeom>
          <a:solidFill>
            <a:sysClr val="window" lastClr="FFFFFF"/>
          </a:solidFill>
          <a:ln w="19050" cap="flat" cmpd="sng" algn="ctr">
            <a:solidFill>
              <a:schemeClr val="accent1">
                <a:lumMod val="60000"/>
                <a:lumOff val="40000"/>
              </a:schemeClr>
            </a:solidFill>
            <a:prstDash val="solid"/>
            <a:round/>
            <a:headEnd type="none" w="med" len="med"/>
            <a:tailEnd type="none" w="med" len="med"/>
          </a:ln>
          <a:effectLst/>
        </p:spPr>
        <p:txBody>
          <a:bodyPr rot="0" spcFirstLastPara="0" vertOverflow="overflow" horzOverflow="overflow" vert="horz" wrap="square" lIns="0" tIns="36000" rIns="0" bIns="18000" numCol="1" spcCol="0" rtlCol="0" fromWordArt="0" anchor="b"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800" b="0" i="0" u="none" strike="noStrike" kern="0" cap="none" spc="0" normalizeH="0" baseline="0" noProof="0">
                <a:ln>
                  <a:noFill/>
                </a:ln>
                <a:solidFill>
                  <a:prstClr val="black"/>
                </a:solidFill>
                <a:effectLst/>
                <a:uLnTx/>
                <a:uFillTx/>
                <a:ea typeface="MS PGothic" panose="020B0600070205080204" pitchFamily="34" charset="-128"/>
                <a:cs typeface="Calibri" panose="020F0502020204030204" pitchFamily="34" charset="0"/>
              </a:rPr>
              <a:t>Mur des irritants</a:t>
            </a:r>
          </a:p>
        </p:txBody>
      </p:sp>
      <p:pic>
        <p:nvPicPr>
          <p:cNvPr id="67" name="Picture 66">
            <a:extLst>
              <a:ext uri="{FF2B5EF4-FFF2-40B4-BE49-F238E27FC236}">
                <a16:creationId xmlns:a16="http://schemas.microsoft.com/office/drawing/2014/main" id="{451952F8-F0C1-490E-B262-15D09699485D}"/>
              </a:ext>
            </a:extLst>
          </p:cNvPr>
          <p:cNvPicPr>
            <a:picLocks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3547001" y="4558853"/>
            <a:ext cx="288000" cy="26181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68" name="Picture 69">
            <a:extLst>
              <a:ext uri="{FF2B5EF4-FFF2-40B4-BE49-F238E27FC236}">
                <a16:creationId xmlns:a16="http://schemas.microsoft.com/office/drawing/2014/main" id="{AA77822E-6DAB-4EBD-BF60-A0041722E2FD}"/>
              </a:ext>
            </a:extLst>
          </p:cNvPr>
          <p:cNvPicPr>
            <a:picLocks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3547001" y="5697514"/>
            <a:ext cx="288000" cy="26181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69" name="Picture 68">
            <a:extLst>
              <a:ext uri="{FF2B5EF4-FFF2-40B4-BE49-F238E27FC236}">
                <a16:creationId xmlns:a16="http://schemas.microsoft.com/office/drawing/2014/main" id="{A7CA4959-64DF-42EC-8E37-8B14BBE5CFDB}"/>
              </a:ext>
            </a:extLst>
          </p:cNvPr>
          <p:cNvPicPr>
            <a:picLocks noChangeArrowheads="1"/>
          </p:cNvPicPr>
          <p:nvPr/>
        </p:nvPicPr>
        <p:blipFill rotWithShape="1">
          <a:blip r:embed="rId9" cstate="email">
            <a:extLst>
              <a:ext uri="{28A0092B-C50C-407E-A947-70E740481C1C}">
                <a14:useLocalDpi xmlns:a14="http://schemas.microsoft.com/office/drawing/2010/main"/>
              </a:ext>
            </a:extLst>
          </a:blip>
          <a:srcRect l="18287" r="19246" b="14850"/>
          <a:stretch/>
        </p:blipFill>
        <p:spPr bwMode="auto">
          <a:xfrm>
            <a:off x="3524194" y="6220810"/>
            <a:ext cx="333614" cy="30565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70" name="Picture 69">
            <a:extLst>
              <a:ext uri="{FF2B5EF4-FFF2-40B4-BE49-F238E27FC236}">
                <a16:creationId xmlns:a16="http://schemas.microsoft.com/office/drawing/2014/main" id="{EB7CCD77-86C7-4310-A56F-35EE9D4A669B}"/>
              </a:ext>
            </a:extLst>
          </p:cNvPr>
          <p:cNvPicPr>
            <a:picLocks/>
          </p:cNvPicPr>
          <p:nvPr/>
        </p:nvPicPr>
        <p:blipFill>
          <a:blip r:embed="rId10" cstate="email">
            <a:extLst>
              <a:ext uri="{28A0092B-C50C-407E-A947-70E740481C1C}">
                <a14:useLocalDpi xmlns:a14="http://schemas.microsoft.com/office/drawing/2010/main"/>
              </a:ext>
            </a:extLst>
          </a:blip>
          <a:stretch>
            <a:fillRect/>
          </a:stretch>
        </p:blipFill>
        <p:spPr>
          <a:xfrm>
            <a:off x="3403002" y="5021965"/>
            <a:ext cx="575999" cy="450594"/>
          </a:xfrm>
          <a:prstGeom prst="rect">
            <a:avLst/>
          </a:prstGeom>
        </p:spPr>
      </p:pic>
      <p:sp>
        <p:nvSpPr>
          <p:cNvPr id="71" name="Rectangle 70">
            <a:extLst>
              <a:ext uri="{FF2B5EF4-FFF2-40B4-BE49-F238E27FC236}">
                <a16:creationId xmlns:a16="http://schemas.microsoft.com/office/drawing/2014/main" id="{045E897F-4A25-4D05-936D-B7C0AEA5B28C}"/>
              </a:ext>
            </a:extLst>
          </p:cNvPr>
          <p:cNvSpPr/>
          <p:nvPr/>
        </p:nvSpPr>
        <p:spPr bwMode="auto">
          <a:xfrm>
            <a:off x="7142264" y="4552873"/>
            <a:ext cx="870887" cy="482914"/>
          </a:xfrm>
          <a:prstGeom prst="rect">
            <a:avLst/>
          </a:prstGeom>
          <a:solidFill>
            <a:schemeClr val="accent1">
              <a:lumMod val="20000"/>
              <a:lumOff val="80000"/>
            </a:schemeClr>
          </a:solidFill>
          <a:ln w="19050" cap="flat" cmpd="sng" algn="ctr">
            <a:solidFill>
              <a:schemeClr val="accent1">
                <a:lumMod val="60000"/>
                <a:lumOff val="40000"/>
              </a:schemeClr>
            </a:solidFill>
            <a:prstDash val="solid"/>
            <a:round/>
            <a:headEnd type="none" w="med" len="med"/>
            <a:tailEnd type="none" w="med" len="med"/>
          </a:ln>
          <a:effectLst/>
        </p:spPr>
        <p:txBody>
          <a:bodyPr rot="0" spcFirstLastPara="0" vertOverflow="overflow" horzOverflow="overflow" vert="horz" wrap="square" lIns="0" tIns="36000" rIns="0" bIns="18000" numCol="1" spcCol="0" rtlCol="0" fromWordArt="0" anchor="b"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800" b="0" i="0" u="none" strike="noStrike" kern="0" cap="none" spc="0" normalizeH="0" baseline="0" noProof="0">
                <a:ln>
                  <a:noFill/>
                </a:ln>
                <a:solidFill>
                  <a:prstClr val="black"/>
                </a:solidFill>
                <a:effectLst/>
                <a:uLnTx/>
                <a:uFillTx/>
                <a:ea typeface="MS PGothic" panose="020B0600070205080204" pitchFamily="34" charset="-128"/>
                <a:cs typeface="Calibri" panose="020F0502020204030204" pitchFamily="34" charset="0"/>
              </a:rPr>
              <a:t>Matrice Enjeu / Accessibilité </a:t>
            </a:r>
          </a:p>
        </p:txBody>
      </p:sp>
      <p:sp>
        <p:nvSpPr>
          <p:cNvPr id="72" name="Rectangle 71">
            <a:extLst>
              <a:ext uri="{FF2B5EF4-FFF2-40B4-BE49-F238E27FC236}">
                <a16:creationId xmlns:a16="http://schemas.microsoft.com/office/drawing/2014/main" id="{2A31E202-F36F-48B1-B119-0A3AEB17BD8A}"/>
              </a:ext>
            </a:extLst>
          </p:cNvPr>
          <p:cNvSpPr/>
          <p:nvPr/>
        </p:nvSpPr>
        <p:spPr bwMode="auto">
          <a:xfrm>
            <a:off x="7142264" y="5101596"/>
            <a:ext cx="870887" cy="482914"/>
          </a:xfrm>
          <a:prstGeom prst="rect">
            <a:avLst/>
          </a:prstGeom>
          <a:solidFill>
            <a:sysClr val="window" lastClr="FFFFFF"/>
          </a:solidFill>
          <a:ln w="19050" cap="flat" cmpd="sng" algn="ctr">
            <a:solidFill>
              <a:schemeClr val="accent1">
                <a:lumMod val="60000"/>
                <a:lumOff val="40000"/>
              </a:schemeClr>
            </a:solidFill>
            <a:prstDash val="solid"/>
            <a:round/>
            <a:headEnd type="none" w="med" len="med"/>
            <a:tailEnd type="none" w="med" len="med"/>
          </a:ln>
          <a:effectLst/>
        </p:spPr>
        <p:txBody>
          <a:bodyPr rot="0" spcFirstLastPara="0" vertOverflow="overflow" horzOverflow="overflow" vert="horz" wrap="square" lIns="0" tIns="36000" rIns="0" bIns="18000" numCol="1" spcCol="0" rtlCol="0" fromWordArt="0" anchor="b"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800" b="0" i="0" u="none" strike="noStrike" kern="0" cap="none" spc="0" normalizeH="0" baseline="0" noProof="0">
                <a:ln>
                  <a:noFill/>
                </a:ln>
                <a:solidFill>
                  <a:prstClr val="black"/>
                </a:solidFill>
                <a:effectLst/>
                <a:uLnTx/>
                <a:uFillTx/>
                <a:ea typeface="MS PGothic" panose="020B0600070205080204" pitchFamily="34" charset="-128"/>
                <a:cs typeface="Calibri" panose="020F0502020204030204" pitchFamily="34" charset="0"/>
              </a:rPr>
              <a:t>Pareto</a:t>
            </a:r>
          </a:p>
        </p:txBody>
      </p:sp>
      <p:pic>
        <p:nvPicPr>
          <p:cNvPr id="73" name="Picture 72">
            <a:extLst>
              <a:ext uri="{FF2B5EF4-FFF2-40B4-BE49-F238E27FC236}">
                <a16:creationId xmlns:a16="http://schemas.microsoft.com/office/drawing/2014/main" id="{80A92146-F63F-47B5-8504-1FE24DA0816F}"/>
              </a:ext>
            </a:extLst>
          </p:cNvPr>
          <p:cNvPicPr>
            <a:picLocks/>
          </p:cNvPicPr>
          <p:nvPr/>
        </p:nvPicPr>
        <p:blipFill>
          <a:blip r:embed="rId11" cstate="email">
            <a:extLst>
              <a:ext uri="{28A0092B-C50C-407E-A947-70E740481C1C}">
                <a14:useLocalDpi xmlns:a14="http://schemas.microsoft.com/office/drawing/2010/main"/>
              </a:ext>
            </a:extLst>
          </a:blip>
          <a:stretch>
            <a:fillRect/>
          </a:stretch>
        </p:blipFill>
        <p:spPr>
          <a:xfrm>
            <a:off x="7397707" y="5122247"/>
            <a:ext cx="360000" cy="271177"/>
          </a:xfrm>
          <a:prstGeom prst="rect">
            <a:avLst/>
          </a:prstGeom>
        </p:spPr>
      </p:pic>
      <p:pic>
        <p:nvPicPr>
          <p:cNvPr id="74" name="Picture 73">
            <a:extLst>
              <a:ext uri="{FF2B5EF4-FFF2-40B4-BE49-F238E27FC236}">
                <a16:creationId xmlns:a16="http://schemas.microsoft.com/office/drawing/2014/main" id="{976D67F8-6BE7-450A-AD3F-69F410E4791E}"/>
              </a:ext>
            </a:extLst>
          </p:cNvPr>
          <p:cNvPicPr>
            <a:picLocks/>
          </p:cNvPicPr>
          <p:nvPr/>
        </p:nvPicPr>
        <p:blipFill>
          <a:blip r:embed="rId12" cstate="email">
            <a:extLst>
              <a:ext uri="{28A0092B-C50C-407E-A947-70E740481C1C}">
                <a14:useLocalDpi xmlns:a14="http://schemas.microsoft.com/office/drawing/2010/main"/>
              </a:ext>
            </a:extLst>
          </a:blip>
          <a:stretch>
            <a:fillRect/>
          </a:stretch>
        </p:blipFill>
        <p:spPr>
          <a:xfrm>
            <a:off x="7433707" y="4558853"/>
            <a:ext cx="288000" cy="261818"/>
          </a:xfrm>
          <a:prstGeom prst="rect">
            <a:avLst/>
          </a:prstGeom>
        </p:spPr>
      </p:pic>
      <p:sp>
        <p:nvSpPr>
          <p:cNvPr id="75" name="Rectangle 74">
            <a:extLst>
              <a:ext uri="{FF2B5EF4-FFF2-40B4-BE49-F238E27FC236}">
                <a16:creationId xmlns:a16="http://schemas.microsoft.com/office/drawing/2014/main" id="{061E2F04-B804-4AB9-BFC5-11DE1C01BCBF}"/>
              </a:ext>
            </a:extLst>
          </p:cNvPr>
          <p:cNvSpPr/>
          <p:nvPr/>
        </p:nvSpPr>
        <p:spPr bwMode="auto">
          <a:xfrm>
            <a:off x="6164316" y="5101596"/>
            <a:ext cx="870887" cy="482914"/>
          </a:xfrm>
          <a:prstGeom prst="rect">
            <a:avLst/>
          </a:prstGeom>
          <a:solidFill>
            <a:sysClr val="window" lastClr="FFFFFF"/>
          </a:solidFill>
          <a:ln w="19050" cap="flat" cmpd="sng" algn="ctr">
            <a:solidFill>
              <a:schemeClr val="accent1">
                <a:lumMod val="60000"/>
                <a:lumOff val="40000"/>
              </a:schemeClr>
            </a:solidFill>
            <a:prstDash val="solid"/>
            <a:round/>
            <a:headEnd type="none" w="med" len="med"/>
            <a:tailEnd type="none" w="med" len="med"/>
          </a:ln>
          <a:effectLst/>
        </p:spPr>
        <p:txBody>
          <a:bodyPr rot="0" spcFirstLastPara="0" vertOverflow="overflow" horzOverflow="overflow" vert="horz" wrap="square" lIns="0" tIns="36000" rIns="0" bIns="18000" numCol="1" spcCol="0" rtlCol="0" fromWordArt="0" anchor="b"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800" b="0" i="0" u="none" strike="noStrike" kern="0" cap="none" spc="0" normalizeH="0" baseline="0" noProof="0">
                <a:ln>
                  <a:noFill/>
                </a:ln>
                <a:solidFill>
                  <a:prstClr val="black"/>
                </a:solidFill>
                <a:effectLst/>
                <a:uLnTx/>
                <a:uFillTx/>
                <a:ea typeface="MS PGothic" panose="020B0600070205080204" pitchFamily="34" charset="-128"/>
                <a:cs typeface="Calibri" panose="020F0502020204030204" pitchFamily="34" charset="0"/>
              </a:rPr>
              <a:t>Ishikawa </a:t>
            </a:r>
          </a:p>
        </p:txBody>
      </p:sp>
      <p:sp>
        <p:nvSpPr>
          <p:cNvPr id="77" name="Rectangle 76">
            <a:extLst>
              <a:ext uri="{FF2B5EF4-FFF2-40B4-BE49-F238E27FC236}">
                <a16:creationId xmlns:a16="http://schemas.microsoft.com/office/drawing/2014/main" id="{C7CC794E-2B3C-4795-AAC7-1109E38C1191}"/>
              </a:ext>
            </a:extLst>
          </p:cNvPr>
          <p:cNvSpPr/>
          <p:nvPr/>
        </p:nvSpPr>
        <p:spPr bwMode="auto">
          <a:xfrm>
            <a:off x="6164316" y="5645197"/>
            <a:ext cx="870887" cy="482914"/>
          </a:xfrm>
          <a:prstGeom prst="rect">
            <a:avLst/>
          </a:prstGeom>
          <a:solidFill>
            <a:sysClr val="window" lastClr="FFFFFF"/>
          </a:solidFill>
          <a:ln w="19050" cap="flat" cmpd="sng" algn="ctr">
            <a:solidFill>
              <a:schemeClr val="accent1"/>
            </a:solidFill>
            <a:prstDash val="solid"/>
            <a:round/>
            <a:headEnd type="none" w="med" len="med"/>
            <a:tailEnd type="none" w="med" len="med"/>
          </a:ln>
          <a:effectLst/>
        </p:spPr>
        <p:txBody>
          <a:bodyPr rot="0" spcFirstLastPara="0" vertOverflow="overflow" horzOverflow="overflow" vert="horz" wrap="square" lIns="0" tIns="36000" rIns="0" bIns="18000" numCol="1" spcCol="0" rtlCol="0" fromWordArt="0" anchor="b"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800" b="0" i="0" u="none" strike="noStrike" kern="0" cap="none" spc="0" normalizeH="0" baseline="0" noProof="0">
                <a:ln>
                  <a:noFill/>
                </a:ln>
                <a:solidFill>
                  <a:prstClr val="black"/>
                </a:solidFill>
                <a:effectLst/>
                <a:uLnTx/>
                <a:uFillTx/>
                <a:ea typeface="MS PGothic" panose="020B0600070205080204" pitchFamily="34" charset="-128"/>
                <a:cs typeface="Calibri" panose="020F0502020204030204" pitchFamily="34" charset="0"/>
              </a:rPr>
              <a:t>5 pourquoi </a:t>
            </a:r>
          </a:p>
        </p:txBody>
      </p:sp>
      <p:sp>
        <p:nvSpPr>
          <p:cNvPr id="78" name="Rectangle 77">
            <a:extLst>
              <a:ext uri="{FF2B5EF4-FFF2-40B4-BE49-F238E27FC236}">
                <a16:creationId xmlns:a16="http://schemas.microsoft.com/office/drawing/2014/main" id="{74D769A4-8265-4517-854E-DFFC3662C946}"/>
              </a:ext>
            </a:extLst>
          </p:cNvPr>
          <p:cNvSpPr/>
          <p:nvPr/>
        </p:nvSpPr>
        <p:spPr bwMode="auto">
          <a:xfrm>
            <a:off x="6164316" y="6194775"/>
            <a:ext cx="870887" cy="482914"/>
          </a:xfrm>
          <a:prstGeom prst="rect">
            <a:avLst/>
          </a:prstGeom>
          <a:solidFill>
            <a:sysClr val="window" lastClr="FFFFFF"/>
          </a:solidFill>
          <a:ln w="19050" cap="flat" cmpd="sng" algn="ctr">
            <a:solidFill>
              <a:schemeClr val="accent1">
                <a:lumMod val="60000"/>
                <a:lumOff val="40000"/>
              </a:schemeClr>
            </a:solidFill>
            <a:prstDash val="solid"/>
            <a:round/>
            <a:headEnd type="none" w="med" len="med"/>
            <a:tailEnd type="none" w="med" len="med"/>
          </a:ln>
          <a:effectLst/>
        </p:spPr>
        <p:txBody>
          <a:bodyPr rot="0" spcFirstLastPara="0" vertOverflow="overflow" horzOverflow="overflow" vert="horz" wrap="square" lIns="0" tIns="36000" rIns="0" bIns="18000" numCol="1" spcCol="0" rtlCol="0" fromWordArt="0" anchor="b"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800" b="0" i="0" u="none" strike="noStrike" kern="0" cap="none" spc="0" normalizeH="0" baseline="0" noProof="0">
                <a:ln>
                  <a:noFill/>
                </a:ln>
                <a:solidFill>
                  <a:prstClr val="black"/>
                </a:solidFill>
                <a:effectLst/>
                <a:uLnTx/>
                <a:uFillTx/>
                <a:ea typeface="MS PGothic" panose="020B0600070205080204" pitchFamily="34" charset="-128"/>
                <a:cs typeface="Calibri" panose="020F0502020204030204" pitchFamily="34" charset="0"/>
              </a:rPr>
              <a:t>Arbres des causes</a:t>
            </a:r>
          </a:p>
        </p:txBody>
      </p:sp>
      <p:sp>
        <p:nvSpPr>
          <p:cNvPr id="79" name="Rectangle 78">
            <a:extLst>
              <a:ext uri="{FF2B5EF4-FFF2-40B4-BE49-F238E27FC236}">
                <a16:creationId xmlns:a16="http://schemas.microsoft.com/office/drawing/2014/main" id="{74B7E65F-789D-4F41-8E70-9E93A3F55C6C}"/>
              </a:ext>
            </a:extLst>
          </p:cNvPr>
          <p:cNvSpPr/>
          <p:nvPr/>
        </p:nvSpPr>
        <p:spPr bwMode="auto">
          <a:xfrm>
            <a:off x="6164316" y="4552873"/>
            <a:ext cx="870887" cy="482914"/>
          </a:xfrm>
          <a:prstGeom prst="rect">
            <a:avLst/>
          </a:prstGeom>
          <a:solidFill>
            <a:schemeClr val="accent1">
              <a:lumMod val="20000"/>
              <a:lumOff val="80000"/>
            </a:schemeClr>
          </a:solidFill>
          <a:ln w="19050" cap="flat" cmpd="sng" algn="ctr">
            <a:solidFill>
              <a:schemeClr val="accent1">
                <a:lumMod val="60000"/>
                <a:lumOff val="40000"/>
              </a:schemeClr>
            </a:solidFill>
            <a:prstDash val="solid"/>
            <a:round/>
            <a:headEnd type="none" w="med" len="med"/>
            <a:tailEnd type="none" w="med" len="med"/>
          </a:ln>
          <a:effectLst/>
        </p:spPr>
        <p:txBody>
          <a:bodyPr rot="0" spcFirstLastPara="0" vertOverflow="overflow" horzOverflow="overflow" vert="horz" wrap="square" lIns="0" tIns="36000" rIns="0" bIns="18000" numCol="1" spcCol="0" rtlCol="0" fromWordArt="0" anchor="b"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800" b="0" i="0" u="none" strike="noStrike" kern="0" cap="none" spc="0" normalizeH="0" baseline="0" noProof="0">
                <a:ln>
                  <a:noFill/>
                </a:ln>
                <a:solidFill>
                  <a:prstClr val="black"/>
                </a:solidFill>
                <a:effectLst/>
                <a:uLnTx/>
                <a:uFillTx/>
                <a:ea typeface="MS PGothic" panose="020B0600070205080204" pitchFamily="34" charset="-128"/>
                <a:cs typeface="Calibri" panose="020F0502020204030204" pitchFamily="34" charset="0"/>
              </a:rPr>
              <a:t>Brainstorming</a:t>
            </a:r>
          </a:p>
        </p:txBody>
      </p:sp>
      <p:pic>
        <p:nvPicPr>
          <p:cNvPr id="80" name="Picture 79">
            <a:extLst>
              <a:ext uri="{FF2B5EF4-FFF2-40B4-BE49-F238E27FC236}">
                <a16:creationId xmlns:a16="http://schemas.microsoft.com/office/drawing/2014/main" id="{714F53BA-2AF9-469E-B971-04D0BDF2FD39}"/>
              </a:ext>
            </a:extLst>
          </p:cNvPr>
          <p:cNvPicPr>
            <a:picLocks/>
          </p:cNvPicPr>
          <p:nvPr/>
        </p:nvPicPr>
        <p:blipFill>
          <a:blip r:embed="rId13" cstate="email">
            <a:extLst>
              <a:ext uri="{28A0092B-C50C-407E-A947-70E740481C1C}">
                <a14:useLocalDpi xmlns:a14="http://schemas.microsoft.com/office/drawing/2010/main"/>
              </a:ext>
            </a:extLst>
          </a:blip>
          <a:stretch>
            <a:fillRect/>
          </a:stretch>
        </p:blipFill>
        <p:spPr>
          <a:xfrm>
            <a:off x="6347759" y="4558853"/>
            <a:ext cx="504000" cy="458182"/>
          </a:xfrm>
          <a:prstGeom prst="rect">
            <a:avLst/>
          </a:prstGeom>
        </p:spPr>
      </p:pic>
      <p:pic>
        <p:nvPicPr>
          <p:cNvPr id="81" name="Picture 80">
            <a:extLst>
              <a:ext uri="{FF2B5EF4-FFF2-40B4-BE49-F238E27FC236}">
                <a16:creationId xmlns:a16="http://schemas.microsoft.com/office/drawing/2014/main" id="{E9EB6CD6-75DB-44EC-A626-C22071358826}"/>
              </a:ext>
            </a:extLst>
          </p:cNvPr>
          <p:cNvPicPr>
            <a:picLocks/>
          </p:cNvPicPr>
          <p:nvPr/>
        </p:nvPicPr>
        <p:blipFill>
          <a:blip r:embed="rId14" cstate="email">
            <a:extLst>
              <a:ext uri="{28A0092B-C50C-407E-A947-70E740481C1C}">
                <a14:useLocalDpi xmlns:a14="http://schemas.microsoft.com/office/drawing/2010/main"/>
              </a:ext>
            </a:extLst>
          </a:blip>
          <a:stretch>
            <a:fillRect/>
          </a:stretch>
        </p:blipFill>
        <p:spPr>
          <a:xfrm>
            <a:off x="6311759" y="5141023"/>
            <a:ext cx="576000" cy="253491"/>
          </a:xfrm>
          <a:prstGeom prst="rect">
            <a:avLst/>
          </a:prstGeom>
          <a:ln>
            <a:solidFill>
              <a:srgbClr val="666666"/>
            </a:solidFill>
          </a:ln>
        </p:spPr>
      </p:pic>
      <p:pic>
        <p:nvPicPr>
          <p:cNvPr id="82" name="Picture 81">
            <a:extLst>
              <a:ext uri="{FF2B5EF4-FFF2-40B4-BE49-F238E27FC236}">
                <a16:creationId xmlns:a16="http://schemas.microsoft.com/office/drawing/2014/main" id="{EF598E44-03B1-46FE-B448-31423270A1ED}"/>
              </a:ext>
            </a:extLst>
          </p:cNvPr>
          <p:cNvPicPr>
            <a:picLocks/>
          </p:cNvPicPr>
          <p:nvPr/>
        </p:nvPicPr>
        <p:blipFill>
          <a:blip r:embed="rId15" cstate="email">
            <a:extLst>
              <a:ext uri="{28A0092B-C50C-407E-A947-70E740481C1C}">
                <a14:useLocalDpi xmlns:a14="http://schemas.microsoft.com/office/drawing/2010/main"/>
              </a:ext>
            </a:extLst>
          </a:blip>
          <a:stretch>
            <a:fillRect/>
          </a:stretch>
        </p:blipFill>
        <p:spPr>
          <a:xfrm>
            <a:off x="6275759" y="6219664"/>
            <a:ext cx="648000" cy="338324"/>
          </a:xfrm>
          <a:prstGeom prst="rect">
            <a:avLst/>
          </a:prstGeom>
        </p:spPr>
      </p:pic>
      <p:pic>
        <p:nvPicPr>
          <p:cNvPr id="83" name="Picture 5" descr="page12">
            <a:extLst>
              <a:ext uri="{FF2B5EF4-FFF2-40B4-BE49-F238E27FC236}">
                <a16:creationId xmlns:a16="http://schemas.microsoft.com/office/drawing/2014/main" id="{1125F5A1-93FD-402F-BC4F-364CCF1838CE}"/>
              </a:ext>
            </a:extLst>
          </p:cNvPr>
          <p:cNvPicPr>
            <a:picLocks noChangeArrowheads="1"/>
          </p:cNvPicPr>
          <p:nvPr/>
        </p:nvPicPr>
        <p:blipFill rotWithShape="1">
          <a:blip r:embed="rId16" cstate="email">
            <a:extLst>
              <a:ext uri="{BEBA8EAE-BF5A-486C-A8C5-ECC9F3942E4B}">
                <a14:imgProps xmlns:a14="http://schemas.microsoft.com/office/drawing/2010/main">
                  <a14:imgLayer r:embed="rId17">
                    <a14:imgEffect>
                      <a14:saturation sat="0"/>
                    </a14:imgEffect>
                  </a14:imgLayer>
                </a14:imgProps>
              </a:ext>
              <a:ext uri="{28A0092B-C50C-407E-A947-70E740481C1C}">
                <a14:useLocalDpi xmlns:a14="http://schemas.microsoft.com/office/drawing/2010/main"/>
              </a:ext>
            </a:extLst>
          </a:blip>
          <a:srcRect/>
          <a:stretch/>
        </p:blipFill>
        <p:spPr bwMode="gray">
          <a:xfrm>
            <a:off x="6293759" y="5660554"/>
            <a:ext cx="612000" cy="39096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86" name="Rectangle 85">
            <a:extLst>
              <a:ext uri="{FF2B5EF4-FFF2-40B4-BE49-F238E27FC236}">
                <a16:creationId xmlns:a16="http://schemas.microsoft.com/office/drawing/2014/main" id="{3BD07DC9-3C56-4114-9324-241D50FB87CF}"/>
              </a:ext>
            </a:extLst>
          </p:cNvPr>
          <p:cNvSpPr/>
          <p:nvPr/>
        </p:nvSpPr>
        <p:spPr bwMode="auto">
          <a:xfrm>
            <a:off x="4238827" y="4552873"/>
            <a:ext cx="870887" cy="482914"/>
          </a:xfrm>
          <a:prstGeom prst="rect">
            <a:avLst/>
          </a:prstGeom>
          <a:solidFill>
            <a:schemeClr val="accent1">
              <a:lumMod val="20000"/>
              <a:lumOff val="80000"/>
            </a:schemeClr>
          </a:solidFill>
          <a:ln w="19050" cap="flat" cmpd="sng" algn="ctr">
            <a:solidFill>
              <a:schemeClr val="accent1">
                <a:lumMod val="60000"/>
                <a:lumOff val="40000"/>
              </a:schemeClr>
            </a:solidFill>
            <a:prstDash val="solid"/>
            <a:round/>
            <a:headEnd type="none" w="med" len="med"/>
            <a:tailEnd type="none" w="med" len="med"/>
          </a:ln>
          <a:effectLst/>
        </p:spPr>
        <p:txBody>
          <a:bodyPr rot="0" spcFirstLastPara="0" vertOverflow="overflow" horzOverflow="overflow" vert="horz" wrap="square" lIns="0" tIns="36000" rIns="0" bIns="18000" numCol="1" spcCol="0" rtlCol="0" fromWordArt="0" anchor="b"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800" b="0" i="0" u="none" strike="noStrike" kern="0" cap="none" spc="0" normalizeH="0" baseline="0" noProof="0">
                <a:ln>
                  <a:noFill/>
                </a:ln>
                <a:solidFill>
                  <a:prstClr val="black"/>
                </a:solidFill>
                <a:effectLst/>
                <a:uLnTx/>
                <a:uFillTx/>
                <a:ea typeface="MS PGothic" panose="020B0600070205080204" pitchFamily="34" charset="-128"/>
                <a:cs typeface="Calibri" panose="020F0502020204030204" pitchFamily="34" charset="0"/>
              </a:rPr>
              <a:t>Cartographie de processus</a:t>
            </a:r>
          </a:p>
        </p:txBody>
      </p:sp>
      <p:sp>
        <p:nvSpPr>
          <p:cNvPr id="87" name="Rectangle 86">
            <a:extLst>
              <a:ext uri="{FF2B5EF4-FFF2-40B4-BE49-F238E27FC236}">
                <a16:creationId xmlns:a16="http://schemas.microsoft.com/office/drawing/2014/main" id="{21AE1BEA-3D62-4C82-A3D6-BDE98645D2DC}"/>
              </a:ext>
            </a:extLst>
          </p:cNvPr>
          <p:cNvSpPr/>
          <p:nvPr/>
        </p:nvSpPr>
        <p:spPr bwMode="auto">
          <a:xfrm>
            <a:off x="4238827" y="5101596"/>
            <a:ext cx="870887" cy="482914"/>
          </a:xfrm>
          <a:prstGeom prst="rect">
            <a:avLst/>
          </a:prstGeom>
          <a:solidFill>
            <a:sysClr val="window" lastClr="FFFFFF"/>
          </a:solidFill>
          <a:ln w="19050" cap="flat" cmpd="sng" algn="ctr">
            <a:solidFill>
              <a:schemeClr val="accent1">
                <a:lumMod val="60000"/>
                <a:lumOff val="40000"/>
              </a:schemeClr>
            </a:solidFill>
            <a:prstDash val="solid"/>
            <a:round/>
            <a:headEnd type="none" w="med" len="med"/>
            <a:tailEnd type="none" w="med" len="med"/>
          </a:ln>
          <a:effectLst/>
        </p:spPr>
        <p:txBody>
          <a:bodyPr rot="0" spcFirstLastPara="0" vertOverflow="overflow" horzOverflow="overflow" vert="horz" wrap="square" lIns="0" tIns="36000" rIns="0" bIns="18000" numCol="1" spcCol="0" rtlCol="0" fromWordArt="0" anchor="b"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800" b="0" i="0" u="none" strike="noStrike" kern="0" cap="none" spc="0" normalizeH="0" baseline="0" noProof="0">
                <a:ln>
                  <a:noFill/>
                </a:ln>
                <a:solidFill>
                  <a:prstClr val="black"/>
                </a:solidFill>
                <a:effectLst/>
                <a:uLnTx/>
                <a:uFillTx/>
                <a:ea typeface="MS PGothic" panose="020B0600070205080204" pitchFamily="34" charset="-128"/>
                <a:cs typeface="Calibri" panose="020F0502020204030204" pitchFamily="34" charset="0"/>
              </a:rPr>
              <a:t>SIPOC</a:t>
            </a:r>
          </a:p>
        </p:txBody>
      </p:sp>
      <p:sp>
        <p:nvSpPr>
          <p:cNvPr id="91" name="Rectangle 90">
            <a:extLst>
              <a:ext uri="{FF2B5EF4-FFF2-40B4-BE49-F238E27FC236}">
                <a16:creationId xmlns:a16="http://schemas.microsoft.com/office/drawing/2014/main" id="{1C7EB2EB-C78F-4BA0-A019-423E39F545A1}"/>
              </a:ext>
            </a:extLst>
          </p:cNvPr>
          <p:cNvSpPr/>
          <p:nvPr/>
        </p:nvSpPr>
        <p:spPr bwMode="auto">
          <a:xfrm>
            <a:off x="4238827" y="5645197"/>
            <a:ext cx="870887" cy="482914"/>
          </a:xfrm>
          <a:prstGeom prst="rect">
            <a:avLst/>
          </a:prstGeom>
          <a:solidFill>
            <a:sysClr val="window" lastClr="FFFFFF"/>
          </a:solidFill>
          <a:ln w="19050" cap="flat" cmpd="sng" algn="ctr">
            <a:solidFill>
              <a:schemeClr val="accent1">
                <a:lumMod val="60000"/>
                <a:lumOff val="40000"/>
              </a:schemeClr>
            </a:solidFill>
            <a:prstDash val="solid"/>
            <a:round/>
            <a:headEnd type="none" w="med" len="med"/>
            <a:tailEnd type="none" w="med" len="med"/>
          </a:ln>
          <a:effectLst/>
        </p:spPr>
        <p:txBody>
          <a:bodyPr rot="0" spcFirstLastPara="0" vertOverflow="overflow" horzOverflow="overflow" vert="horz" wrap="square" lIns="0" tIns="36000" rIns="0" bIns="18000" numCol="1" spcCol="0" rtlCol="0" fromWordArt="0" anchor="b"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800" b="0" i="0" u="none" strike="noStrike" kern="0" cap="none" spc="0" normalizeH="0" baseline="0" noProof="0">
                <a:ln>
                  <a:noFill/>
                </a:ln>
                <a:solidFill>
                  <a:prstClr val="black"/>
                </a:solidFill>
                <a:effectLst/>
                <a:uLnTx/>
                <a:uFillTx/>
                <a:ea typeface="MS PGothic" panose="020B0600070205080204" pitchFamily="34" charset="-128"/>
                <a:cs typeface="Calibri" panose="020F0502020204030204" pitchFamily="34" charset="0"/>
              </a:rPr>
              <a:t>RACI</a:t>
            </a:r>
          </a:p>
        </p:txBody>
      </p:sp>
      <p:pic>
        <p:nvPicPr>
          <p:cNvPr id="94" name="Picture 72">
            <a:extLst>
              <a:ext uri="{FF2B5EF4-FFF2-40B4-BE49-F238E27FC236}">
                <a16:creationId xmlns:a16="http://schemas.microsoft.com/office/drawing/2014/main" id="{5EC8CF64-92D7-4016-B268-83EE9B7F8DA2}"/>
              </a:ext>
            </a:extLst>
          </p:cNvPr>
          <p:cNvPicPr>
            <a:picLocks noChangeArrowheads="1"/>
          </p:cNvPicPr>
          <p:nvPr/>
        </p:nvPicPr>
        <p:blipFill>
          <a:blip r:embed="rId18" cstate="email">
            <a:extLst>
              <a:ext uri="{28A0092B-C50C-407E-A947-70E740481C1C}">
                <a14:useLocalDpi xmlns:a14="http://schemas.microsoft.com/office/drawing/2010/main"/>
              </a:ext>
            </a:extLst>
          </a:blip>
          <a:srcRect/>
          <a:stretch>
            <a:fillRect/>
          </a:stretch>
        </p:blipFill>
        <p:spPr bwMode="auto">
          <a:xfrm>
            <a:off x="4494270" y="4558853"/>
            <a:ext cx="360001" cy="29007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95" name="Rectangle 94">
            <a:extLst>
              <a:ext uri="{FF2B5EF4-FFF2-40B4-BE49-F238E27FC236}">
                <a16:creationId xmlns:a16="http://schemas.microsoft.com/office/drawing/2014/main" id="{A4367096-9BDE-46D5-B2B2-417768265B55}"/>
              </a:ext>
            </a:extLst>
          </p:cNvPr>
          <p:cNvSpPr/>
          <p:nvPr/>
        </p:nvSpPr>
        <p:spPr bwMode="auto">
          <a:xfrm>
            <a:off x="4238827" y="6194775"/>
            <a:ext cx="870887" cy="482914"/>
          </a:xfrm>
          <a:prstGeom prst="rect">
            <a:avLst/>
          </a:prstGeom>
          <a:solidFill>
            <a:sysClr val="window" lastClr="FFFFFF"/>
          </a:solidFill>
          <a:ln w="19050" cap="flat" cmpd="sng" algn="ctr">
            <a:solidFill>
              <a:schemeClr val="accent1">
                <a:lumMod val="60000"/>
                <a:lumOff val="40000"/>
              </a:schemeClr>
            </a:solidFill>
            <a:prstDash val="solid"/>
            <a:round/>
            <a:headEnd type="none" w="med" len="med"/>
            <a:tailEnd type="none" w="med" len="med"/>
          </a:ln>
          <a:effectLst/>
        </p:spPr>
        <p:txBody>
          <a:bodyPr rot="0" spcFirstLastPara="0" vertOverflow="overflow" horzOverflow="overflow" vert="horz" wrap="square" lIns="0" tIns="36000" rIns="0" bIns="18000" numCol="1" spcCol="0" rtlCol="0" fromWordArt="0" anchor="b"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800" b="0" i="0" u="none" strike="noStrike" kern="0" cap="none" spc="0" normalizeH="0" baseline="0" noProof="0">
                <a:ln>
                  <a:noFill/>
                </a:ln>
                <a:solidFill>
                  <a:prstClr val="black"/>
                </a:solidFill>
                <a:effectLst/>
                <a:uLnTx/>
                <a:uFillTx/>
                <a:ea typeface="MS PGothic" panose="020B0600070205080204" pitchFamily="34" charset="-128"/>
                <a:cs typeface="Calibri" panose="020F0502020204030204" pitchFamily="34" charset="0"/>
              </a:rPr>
              <a:t>Digramme Spaghetti</a:t>
            </a:r>
          </a:p>
        </p:txBody>
      </p:sp>
      <p:pic>
        <p:nvPicPr>
          <p:cNvPr id="96" name="Picture 95">
            <a:extLst>
              <a:ext uri="{FF2B5EF4-FFF2-40B4-BE49-F238E27FC236}">
                <a16:creationId xmlns:a16="http://schemas.microsoft.com/office/drawing/2014/main" id="{D9C4AD92-7EE1-43C2-A9CA-B9A20E836C92}"/>
              </a:ext>
            </a:extLst>
          </p:cNvPr>
          <p:cNvPicPr>
            <a:picLocks/>
          </p:cNvPicPr>
          <p:nvPr/>
        </p:nvPicPr>
        <p:blipFill>
          <a:blip r:embed="rId19" cstate="email">
            <a:extLst>
              <a:ext uri="{28A0092B-C50C-407E-A947-70E740481C1C}">
                <a14:useLocalDpi xmlns:a14="http://schemas.microsoft.com/office/drawing/2010/main"/>
              </a:ext>
            </a:extLst>
          </a:blip>
          <a:stretch>
            <a:fillRect/>
          </a:stretch>
        </p:blipFill>
        <p:spPr>
          <a:xfrm>
            <a:off x="4512270" y="6194856"/>
            <a:ext cx="324000" cy="294285"/>
          </a:xfrm>
          <a:prstGeom prst="rect">
            <a:avLst/>
          </a:prstGeom>
        </p:spPr>
      </p:pic>
      <p:pic>
        <p:nvPicPr>
          <p:cNvPr id="98" name="Picture 97">
            <a:extLst>
              <a:ext uri="{FF2B5EF4-FFF2-40B4-BE49-F238E27FC236}">
                <a16:creationId xmlns:a16="http://schemas.microsoft.com/office/drawing/2014/main" id="{9E0AAB7D-C530-4740-8A67-DD09ADE11FFB}"/>
              </a:ext>
            </a:extLst>
          </p:cNvPr>
          <p:cNvPicPr>
            <a:picLocks/>
          </p:cNvPicPr>
          <p:nvPr/>
        </p:nvPicPr>
        <p:blipFill>
          <a:blip r:embed="rId20" cstate="email">
            <a:extLst>
              <a:ext uri="{28A0092B-C50C-407E-A947-70E740481C1C}">
                <a14:useLocalDpi xmlns:a14="http://schemas.microsoft.com/office/drawing/2010/main"/>
              </a:ext>
            </a:extLst>
          </a:blip>
          <a:stretch>
            <a:fillRect/>
          </a:stretch>
        </p:blipFill>
        <p:spPr>
          <a:xfrm>
            <a:off x="4296270" y="5117657"/>
            <a:ext cx="756000" cy="256167"/>
          </a:xfrm>
          <a:prstGeom prst="rect">
            <a:avLst/>
          </a:prstGeom>
        </p:spPr>
      </p:pic>
      <p:pic>
        <p:nvPicPr>
          <p:cNvPr id="99" name="Picture 98">
            <a:extLst>
              <a:ext uri="{FF2B5EF4-FFF2-40B4-BE49-F238E27FC236}">
                <a16:creationId xmlns:a16="http://schemas.microsoft.com/office/drawing/2014/main" id="{807469C7-1B9A-43A5-A31B-B9130BFD8D8F}"/>
              </a:ext>
            </a:extLst>
          </p:cNvPr>
          <p:cNvPicPr>
            <a:picLocks/>
          </p:cNvPicPr>
          <p:nvPr/>
        </p:nvPicPr>
        <p:blipFill>
          <a:blip r:embed="rId21" cstate="email">
            <a:clrChange>
              <a:clrFrom>
                <a:srgbClr val="FFFFFF"/>
              </a:clrFrom>
              <a:clrTo>
                <a:srgbClr val="FFFFFF">
                  <a:alpha val="0"/>
                </a:srgbClr>
              </a:clrTo>
            </a:clrChange>
            <a:extLst>
              <a:ext uri="{BEBA8EAE-BF5A-486C-A8C5-ECC9F3942E4B}">
                <a14:imgProps xmlns:a14="http://schemas.microsoft.com/office/drawing/2010/main">
                  <a14:imgLayer r:embed="rId22">
                    <a14:imgEffect>
                      <a14:saturation sat="0"/>
                    </a14:imgEffect>
                  </a14:imgLayer>
                </a14:imgProps>
              </a:ext>
              <a:ext uri="{28A0092B-C50C-407E-A947-70E740481C1C}">
                <a14:useLocalDpi xmlns:a14="http://schemas.microsoft.com/office/drawing/2010/main"/>
              </a:ext>
            </a:extLst>
          </a:blip>
          <a:stretch>
            <a:fillRect/>
          </a:stretch>
        </p:blipFill>
        <p:spPr>
          <a:xfrm>
            <a:off x="4332270" y="5701149"/>
            <a:ext cx="684000" cy="297223"/>
          </a:xfrm>
          <a:prstGeom prst="rect">
            <a:avLst/>
          </a:prstGeom>
        </p:spPr>
      </p:pic>
      <p:sp>
        <p:nvSpPr>
          <p:cNvPr id="100" name="Rectangle 99">
            <a:extLst>
              <a:ext uri="{FF2B5EF4-FFF2-40B4-BE49-F238E27FC236}">
                <a16:creationId xmlns:a16="http://schemas.microsoft.com/office/drawing/2014/main" id="{30CB25DA-9E13-4D89-AFC7-921970CB0B7A}"/>
              </a:ext>
            </a:extLst>
          </p:cNvPr>
          <p:cNvSpPr/>
          <p:nvPr/>
        </p:nvSpPr>
        <p:spPr bwMode="auto">
          <a:xfrm>
            <a:off x="5173559" y="4552873"/>
            <a:ext cx="870887" cy="482914"/>
          </a:xfrm>
          <a:prstGeom prst="rect">
            <a:avLst/>
          </a:prstGeom>
          <a:solidFill>
            <a:sysClr val="window" lastClr="FFFFFF"/>
          </a:solidFill>
          <a:ln w="19050" cap="flat" cmpd="sng" algn="ctr">
            <a:solidFill>
              <a:schemeClr val="accent1">
                <a:lumMod val="60000"/>
                <a:lumOff val="40000"/>
              </a:schemeClr>
            </a:solidFill>
            <a:prstDash val="solid"/>
            <a:round/>
            <a:headEnd type="none" w="med" len="med"/>
            <a:tailEnd type="none" w="med" len="med"/>
          </a:ln>
          <a:effectLst/>
        </p:spPr>
        <p:txBody>
          <a:bodyPr rot="0" spcFirstLastPara="0" vertOverflow="overflow" horzOverflow="overflow" vert="horz" wrap="square" lIns="0" tIns="36000" rIns="0" bIns="18000" numCol="1" spcCol="0" rtlCol="0" fromWordArt="0" anchor="b"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800" b="0" i="0" u="none" strike="noStrike" kern="0" cap="none" spc="0" normalizeH="0" baseline="0" noProof="0">
                <a:ln>
                  <a:noFill/>
                </a:ln>
                <a:solidFill>
                  <a:prstClr val="black"/>
                </a:solidFill>
                <a:effectLst/>
                <a:uLnTx/>
                <a:uFillTx/>
                <a:ea typeface="MS PGothic" panose="020B0600070205080204" pitchFamily="34" charset="-128"/>
                <a:cs typeface="Calibri" panose="020F0502020204030204" pitchFamily="34" charset="0"/>
              </a:rPr>
              <a:t>Cartographie Volume activité</a:t>
            </a:r>
          </a:p>
        </p:txBody>
      </p:sp>
      <p:sp>
        <p:nvSpPr>
          <p:cNvPr id="102" name="Rectangle 101">
            <a:extLst>
              <a:ext uri="{FF2B5EF4-FFF2-40B4-BE49-F238E27FC236}">
                <a16:creationId xmlns:a16="http://schemas.microsoft.com/office/drawing/2014/main" id="{BF894A1E-E96F-40AE-BA33-534FF2C4E73B}"/>
              </a:ext>
            </a:extLst>
          </p:cNvPr>
          <p:cNvSpPr/>
          <p:nvPr/>
        </p:nvSpPr>
        <p:spPr bwMode="auto">
          <a:xfrm>
            <a:off x="5173559" y="5645197"/>
            <a:ext cx="870887" cy="482914"/>
          </a:xfrm>
          <a:prstGeom prst="rect">
            <a:avLst/>
          </a:prstGeom>
          <a:solidFill>
            <a:sysClr val="window" lastClr="FFFFFF"/>
          </a:solidFill>
          <a:ln w="19050" cap="flat" cmpd="sng" algn="ctr">
            <a:solidFill>
              <a:schemeClr val="accent1">
                <a:lumMod val="60000"/>
                <a:lumOff val="40000"/>
              </a:schemeClr>
            </a:solidFill>
            <a:prstDash val="solid"/>
            <a:round/>
            <a:headEnd type="none" w="med" len="med"/>
            <a:tailEnd type="none" w="med" len="med"/>
          </a:ln>
          <a:effectLst/>
        </p:spPr>
        <p:txBody>
          <a:bodyPr rot="0" spcFirstLastPara="0" vertOverflow="overflow" horzOverflow="overflow" vert="horz" wrap="square" lIns="0" tIns="36000" rIns="0" bIns="18000" numCol="1" spcCol="0" rtlCol="0" fromWordArt="0" anchor="b"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800" b="0" i="0" u="none" strike="noStrike" kern="0" cap="none" spc="0" normalizeH="0" baseline="0" noProof="0">
                <a:ln>
                  <a:noFill/>
                </a:ln>
                <a:solidFill>
                  <a:prstClr val="black"/>
                </a:solidFill>
                <a:effectLst/>
                <a:uLnTx/>
                <a:uFillTx/>
                <a:ea typeface="MS PGothic" panose="020B0600070205080204" pitchFamily="34" charset="-128"/>
                <a:cs typeface="Calibri" panose="020F0502020204030204" pitchFamily="34" charset="0"/>
              </a:rPr>
              <a:t>Matrice de pré-sélection</a:t>
            </a:r>
          </a:p>
        </p:txBody>
      </p:sp>
      <p:sp>
        <p:nvSpPr>
          <p:cNvPr id="103" name="Rectangle 102">
            <a:extLst>
              <a:ext uri="{FF2B5EF4-FFF2-40B4-BE49-F238E27FC236}">
                <a16:creationId xmlns:a16="http://schemas.microsoft.com/office/drawing/2014/main" id="{2DB8C1CB-F015-453C-B8F0-C1A143CE78E6}"/>
              </a:ext>
            </a:extLst>
          </p:cNvPr>
          <p:cNvSpPr/>
          <p:nvPr/>
        </p:nvSpPr>
        <p:spPr bwMode="auto">
          <a:xfrm>
            <a:off x="5173559" y="5101596"/>
            <a:ext cx="870887" cy="482914"/>
          </a:xfrm>
          <a:prstGeom prst="rect">
            <a:avLst/>
          </a:prstGeom>
          <a:solidFill>
            <a:sysClr val="window" lastClr="FFFFFF"/>
          </a:solidFill>
          <a:ln w="19050" cap="flat" cmpd="sng" algn="ctr">
            <a:solidFill>
              <a:schemeClr val="accent1">
                <a:lumMod val="60000"/>
                <a:lumOff val="40000"/>
              </a:schemeClr>
            </a:solidFill>
            <a:prstDash val="solid"/>
            <a:round/>
            <a:headEnd type="none" w="med" len="med"/>
            <a:tailEnd type="none" w="med" len="med"/>
          </a:ln>
          <a:effectLst/>
        </p:spPr>
        <p:txBody>
          <a:bodyPr rot="0" spcFirstLastPara="0" vertOverflow="overflow" horzOverflow="overflow" vert="horz" wrap="square" lIns="0" tIns="36000" rIns="0" bIns="18000" numCol="1" spcCol="0" rtlCol="0" fromWordArt="0" anchor="b"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800" b="0" i="0" u="none" strike="noStrike" kern="0" cap="none" spc="0" normalizeH="0" baseline="0" noProof="0">
                <a:ln>
                  <a:noFill/>
                </a:ln>
                <a:solidFill>
                  <a:prstClr val="black"/>
                </a:solidFill>
                <a:effectLst/>
                <a:uLnTx/>
                <a:uFillTx/>
                <a:ea typeface="MS PGothic" panose="020B0600070205080204" pitchFamily="34" charset="-128"/>
                <a:cs typeface="Calibri" panose="020F0502020204030204" pitchFamily="34" charset="0"/>
              </a:rPr>
              <a:t>VSM</a:t>
            </a:r>
          </a:p>
        </p:txBody>
      </p:sp>
      <p:pic>
        <p:nvPicPr>
          <p:cNvPr id="105" name="Picture 61">
            <a:extLst>
              <a:ext uri="{FF2B5EF4-FFF2-40B4-BE49-F238E27FC236}">
                <a16:creationId xmlns:a16="http://schemas.microsoft.com/office/drawing/2014/main" id="{0D5CA143-655D-4EED-96E9-404A58EFE2FE}"/>
              </a:ext>
            </a:extLst>
          </p:cNvPr>
          <p:cNvPicPr>
            <a:picLocks noChangeArrowheads="1"/>
          </p:cNvPicPr>
          <p:nvPr/>
        </p:nvPicPr>
        <p:blipFill>
          <a:blip r:embed="rId23" cstate="email">
            <a:extLst>
              <a:ext uri="{28A0092B-C50C-407E-A947-70E740481C1C}">
                <a14:useLocalDpi xmlns:a14="http://schemas.microsoft.com/office/drawing/2010/main"/>
              </a:ext>
            </a:extLst>
          </a:blip>
          <a:srcRect/>
          <a:stretch>
            <a:fillRect/>
          </a:stretch>
        </p:blipFill>
        <p:spPr bwMode="auto">
          <a:xfrm>
            <a:off x="5447002" y="4558853"/>
            <a:ext cx="324000" cy="280691"/>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106" name="Picture 105">
            <a:extLst>
              <a:ext uri="{FF2B5EF4-FFF2-40B4-BE49-F238E27FC236}">
                <a16:creationId xmlns:a16="http://schemas.microsoft.com/office/drawing/2014/main" id="{37E67FDD-4ADB-4A1F-90EA-0B9ABFD1CCF8}"/>
              </a:ext>
            </a:extLst>
          </p:cNvPr>
          <p:cNvPicPr>
            <a:picLocks/>
          </p:cNvPicPr>
          <p:nvPr/>
        </p:nvPicPr>
        <p:blipFill>
          <a:blip r:embed="rId24" cstate="email">
            <a:extLst>
              <a:ext uri="{28A0092B-C50C-407E-A947-70E740481C1C}">
                <a14:useLocalDpi xmlns:a14="http://schemas.microsoft.com/office/drawing/2010/main"/>
              </a:ext>
            </a:extLst>
          </a:blip>
          <a:stretch>
            <a:fillRect/>
          </a:stretch>
        </p:blipFill>
        <p:spPr>
          <a:xfrm>
            <a:off x="5483002" y="5676462"/>
            <a:ext cx="252000" cy="228459"/>
          </a:xfrm>
          <a:prstGeom prst="rect">
            <a:avLst/>
          </a:prstGeom>
        </p:spPr>
      </p:pic>
      <p:pic>
        <p:nvPicPr>
          <p:cNvPr id="107" name="Picture 106">
            <a:extLst>
              <a:ext uri="{FF2B5EF4-FFF2-40B4-BE49-F238E27FC236}">
                <a16:creationId xmlns:a16="http://schemas.microsoft.com/office/drawing/2014/main" id="{DF417F39-24C3-430B-B967-BF4830BE9B95}"/>
              </a:ext>
            </a:extLst>
          </p:cNvPr>
          <p:cNvPicPr>
            <a:picLocks noChangeAspect="1"/>
          </p:cNvPicPr>
          <p:nvPr/>
        </p:nvPicPr>
        <p:blipFill>
          <a:blip r:embed="rId25"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5392083" y="5128556"/>
            <a:ext cx="433839" cy="265958"/>
          </a:xfrm>
          <a:prstGeom prst="rect">
            <a:avLst/>
          </a:prstGeom>
        </p:spPr>
      </p:pic>
      <p:sp>
        <p:nvSpPr>
          <p:cNvPr id="109" name="Rectangle 108">
            <a:extLst>
              <a:ext uri="{FF2B5EF4-FFF2-40B4-BE49-F238E27FC236}">
                <a16:creationId xmlns:a16="http://schemas.microsoft.com/office/drawing/2014/main" id="{4826EAEA-B447-4EF0-AF17-9AB048B3843A}"/>
              </a:ext>
            </a:extLst>
          </p:cNvPr>
          <p:cNvSpPr/>
          <p:nvPr/>
        </p:nvSpPr>
        <p:spPr bwMode="auto">
          <a:xfrm>
            <a:off x="11004793" y="4552873"/>
            <a:ext cx="870887" cy="482914"/>
          </a:xfrm>
          <a:prstGeom prst="rect">
            <a:avLst/>
          </a:prstGeom>
          <a:solidFill>
            <a:schemeClr val="accent1">
              <a:lumMod val="20000"/>
              <a:lumOff val="80000"/>
            </a:schemeClr>
          </a:solidFill>
          <a:ln w="19050" cap="flat" cmpd="sng" algn="ctr">
            <a:solidFill>
              <a:schemeClr val="accent1">
                <a:lumMod val="60000"/>
                <a:lumOff val="40000"/>
              </a:schemeClr>
            </a:solidFill>
            <a:prstDash val="solid"/>
            <a:round/>
            <a:headEnd type="none" w="med" len="med"/>
            <a:tailEnd type="none" w="med" len="med"/>
          </a:ln>
          <a:effectLst/>
        </p:spPr>
        <p:txBody>
          <a:bodyPr rot="0" spcFirstLastPara="0" vertOverflow="overflow" horzOverflow="overflow" vert="horz" wrap="square" lIns="0" tIns="36000" rIns="0" bIns="18000" numCol="1" spcCol="0" rtlCol="0" fromWordArt="0" anchor="b"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800" b="0" i="0" u="none" strike="noStrike" kern="0" cap="none" spc="0" normalizeH="0" baseline="0" noProof="0">
                <a:ln>
                  <a:noFill/>
                </a:ln>
                <a:solidFill>
                  <a:prstClr val="black"/>
                </a:solidFill>
                <a:effectLst/>
                <a:uLnTx/>
                <a:uFillTx/>
                <a:ea typeface="MS PGothic" panose="020B0600070205080204" pitchFamily="34" charset="-128"/>
                <a:cs typeface="Calibri" panose="020F0502020204030204" pitchFamily="34" charset="0"/>
              </a:rPr>
              <a:t>Data &amp; Analytics</a:t>
            </a:r>
          </a:p>
        </p:txBody>
      </p:sp>
      <p:sp>
        <p:nvSpPr>
          <p:cNvPr id="110" name="Rectangle 109">
            <a:extLst>
              <a:ext uri="{FF2B5EF4-FFF2-40B4-BE49-F238E27FC236}">
                <a16:creationId xmlns:a16="http://schemas.microsoft.com/office/drawing/2014/main" id="{4B187124-7860-40AA-9994-204E4C55FA16}"/>
              </a:ext>
            </a:extLst>
          </p:cNvPr>
          <p:cNvSpPr/>
          <p:nvPr/>
        </p:nvSpPr>
        <p:spPr bwMode="auto">
          <a:xfrm>
            <a:off x="11004793" y="5101596"/>
            <a:ext cx="870887" cy="482914"/>
          </a:xfrm>
          <a:prstGeom prst="rect">
            <a:avLst/>
          </a:prstGeom>
          <a:solidFill>
            <a:sysClr val="window" lastClr="FFFFFF"/>
          </a:solidFill>
          <a:ln w="19050" cap="flat" cmpd="sng" algn="ctr">
            <a:solidFill>
              <a:schemeClr val="accent1">
                <a:lumMod val="60000"/>
                <a:lumOff val="40000"/>
              </a:schemeClr>
            </a:solidFill>
            <a:prstDash val="solid"/>
            <a:round/>
            <a:headEnd type="none" w="med" len="med"/>
            <a:tailEnd type="none" w="med" len="med"/>
          </a:ln>
          <a:effectLst/>
        </p:spPr>
        <p:txBody>
          <a:bodyPr rot="0" spcFirstLastPara="0" vertOverflow="overflow" horzOverflow="overflow" vert="horz" wrap="square" lIns="0" tIns="36000" rIns="0" bIns="18000" numCol="1" spcCol="0" rtlCol="0" fromWordArt="0" anchor="b"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800" b="0" i="0" u="none" strike="noStrike" kern="0" cap="none" spc="0" normalizeH="0" baseline="0" noProof="0">
                <a:ln>
                  <a:noFill/>
                </a:ln>
                <a:solidFill>
                  <a:prstClr val="black"/>
                </a:solidFill>
                <a:effectLst/>
                <a:uLnTx/>
                <a:uFillTx/>
                <a:ea typeface="MS PGothic" panose="020B0600070205080204" pitchFamily="34" charset="-128"/>
                <a:cs typeface="Calibri" panose="020F0502020204030204" pitchFamily="34" charset="0"/>
              </a:rPr>
              <a:t>5S</a:t>
            </a:r>
          </a:p>
        </p:txBody>
      </p:sp>
      <p:sp>
        <p:nvSpPr>
          <p:cNvPr id="111" name="Rectangle 110">
            <a:extLst>
              <a:ext uri="{FF2B5EF4-FFF2-40B4-BE49-F238E27FC236}">
                <a16:creationId xmlns:a16="http://schemas.microsoft.com/office/drawing/2014/main" id="{43283122-84CD-4C34-AE7A-146AF19B6774}"/>
              </a:ext>
            </a:extLst>
          </p:cNvPr>
          <p:cNvSpPr/>
          <p:nvPr/>
        </p:nvSpPr>
        <p:spPr bwMode="auto">
          <a:xfrm>
            <a:off x="11004793" y="5645197"/>
            <a:ext cx="870887" cy="482914"/>
          </a:xfrm>
          <a:prstGeom prst="rect">
            <a:avLst/>
          </a:prstGeom>
          <a:solidFill>
            <a:sysClr val="window" lastClr="FFFFFF"/>
          </a:solidFill>
          <a:ln w="19050" cap="flat" cmpd="sng" algn="ctr">
            <a:solidFill>
              <a:schemeClr val="accent1">
                <a:lumMod val="60000"/>
                <a:lumOff val="40000"/>
              </a:schemeClr>
            </a:solidFill>
            <a:prstDash val="solid"/>
            <a:round/>
            <a:headEnd type="none" w="med" len="med"/>
            <a:tailEnd type="none" w="med" len="med"/>
          </a:ln>
          <a:effectLst/>
        </p:spPr>
        <p:txBody>
          <a:bodyPr rot="0" spcFirstLastPara="0" vertOverflow="overflow" horzOverflow="overflow" vert="horz" wrap="square" lIns="0" tIns="36000" rIns="0" bIns="18000" numCol="1" spcCol="0" rtlCol="0" fromWordArt="0" anchor="b"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800" b="0" i="0" u="none" strike="noStrike" kern="0" cap="none" spc="0" normalizeH="0" baseline="0" noProof="0">
                <a:ln>
                  <a:noFill/>
                </a:ln>
                <a:solidFill>
                  <a:prstClr val="black"/>
                </a:solidFill>
                <a:effectLst/>
                <a:uLnTx/>
                <a:uFillTx/>
                <a:ea typeface="MS PGothic" panose="020B0600070205080204" pitchFamily="34" charset="-128"/>
                <a:cs typeface="Calibri" panose="020F0502020204030204" pitchFamily="34" charset="0"/>
              </a:rPr>
              <a:t>Kanban</a:t>
            </a:r>
          </a:p>
        </p:txBody>
      </p:sp>
      <p:pic>
        <p:nvPicPr>
          <p:cNvPr id="112" name="Picture 111">
            <a:extLst>
              <a:ext uri="{FF2B5EF4-FFF2-40B4-BE49-F238E27FC236}">
                <a16:creationId xmlns:a16="http://schemas.microsoft.com/office/drawing/2014/main" id="{6602EDBA-BE14-45FD-83EE-0F2AAE7DADD9}"/>
              </a:ext>
            </a:extLst>
          </p:cNvPr>
          <p:cNvPicPr>
            <a:picLocks/>
          </p:cNvPicPr>
          <p:nvPr/>
        </p:nvPicPr>
        <p:blipFill>
          <a:blip r:embed="rId26" cstate="email">
            <a:extLst>
              <a:ext uri="{28A0092B-C50C-407E-A947-70E740481C1C}">
                <a14:useLocalDpi xmlns:a14="http://schemas.microsoft.com/office/drawing/2010/main"/>
              </a:ext>
            </a:extLst>
          </a:blip>
          <a:stretch>
            <a:fillRect/>
          </a:stretch>
        </p:blipFill>
        <p:spPr>
          <a:xfrm>
            <a:off x="11261724" y="5103611"/>
            <a:ext cx="357025" cy="324568"/>
          </a:xfrm>
          <a:prstGeom prst="rect">
            <a:avLst/>
          </a:prstGeom>
        </p:spPr>
      </p:pic>
      <p:pic>
        <p:nvPicPr>
          <p:cNvPr id="113" name="Picture 112">
            <a:extLst>
              <a:ext uri="{FF2B5EF4-FFF2-40B4-BE49-F238E27FC236}">
                <a16:creationId xmlns:a16="http://schemas.microsoft.com/office/drawing/2014/main" id="{FAD74228-89B1-4ED2-BD8E-A7BCB98C0B6F}"/>
              </a:ext>
            </a:extLst>
          </p:cNvPr>
          <p:cNvPicPr>
            <a:picLocks/>
          </p:cNvPicPr>
          <p:nvPr/>
        </p:nvPicPr>
        <p:blipFill>
          <a:blip r:embed="rId27" cstate="email">
            <a:extLst>
              <a:ext uri="{28A0092B-C50C-407E-A947-70E740481C1C}">
                <a14:useLocalDpi xmlns:a14="http://schemas.microsoft.com/office/drawing/2010/main"/>
              </a:ext>
            </a:extLst>
          </a:blip>
          <a:stretch>
            <a:fillRect/>
          </a:stretch>
        </p:blipFill>
        <p:spPr>
          <a:xfrm>
            <a:off x="11240498" y="4564023"/>
            <a:ext cx="386777" cy="351615"/>
          </a:xfrm>
          <a:prstGeom prst="rect">
            <a:avLst/>
          </a:prstGeom>
        </p:spPr>
      </p:pic>
      <p:pic>
        <p:nvPicPr>
          <p:cNvPr id="114" name="Picture 113">
            <a:extLst>
              <a:ext uri="{FF2B5EF4-FFF2-40B4-BE49-F238E27FC236}">
                <a16:creationId xmlns:a16="http://schemas.microsoft.com/office/drawing/2014/main" id="{A7246516-040D-4BBB-A079-90623C5DD57E}"/>
              </a:ext>
            </a:extLst>
          </p:cNvPr>
          <p:cNvPicPr>
            <a:picLocks/>
          </p:cNvPicPr>
          <p:nvPr/>
        </p:nvPicPr>
        <p:blipFill>
          <a:blip r:embed="rId28" cstate="email">
            <a:extLst>
              <a:ext uri="{28A0092B-C50C-407E-A947-70E740481C1C}">
                <a14:useLocalDpi xmlns:a14="http://schemas.microsoft.com/office/drawing/2010/main"/>
              </a:ext>
            </a:extLst>
          </a:blip>
          <a:stretch>
            <a:fillRect/>
          </a:stretch>
        </p:blipFill>
        <p:spPr>
          <a:xfrm>
            <a:off x="11243873" y="5670653"/>
            <a:ext cx="392727" cy="324568"/>
          </a:xfrm>
          <a:prstGeom prst="rect">
            <a:avLst/>
          </a:prstGeom>
        </p:spPr>
      </p:pic>
      <p:sp>
        <p:nvSpPr>
          <p:cNvPr id="115" name="Rectangle 114">
            <a:extLst>
              <a:ext uri="{FF2B5EF4-FFF2-40B4-BE49-F238E27FC236}">
                <a16:creationId xmlns:a16="http://schemas.microsoft.com/office/drawing/2014/main" id="{37CE316A-82A2-405E-95D4-DFC5E2AFC11A}"/>
              </a:ext>
            </a:extLst>
          </p:cNvPr>
          <p:cNvSpPr/>
          <p:nvPr/>
        </p:nvSpPr>
        <p:spPr bwMode="auto">
          <a:xfrm>
            <a:off x="10063155" y="5101596"/>
            <a:ext cx="870887" cy="482914"/>
          </a:xfrm>
          <a:prstGeom prst="rect">
            <a:avLst/>
          </a:prstGeom>
          <a:solidFill>
            <a:sysClr val="window" lastClr="FFFFFF"/>
          </a:solidFill>
          <a:ln w="19050" cap="flat" cmpd="sng" algn="ctr">
            <a:solidFill>
              <a:schemeClr val="accent1">
                <a:lumMod val="60000"/>
                <a:lumOff val="40000"/>
              </a:schemeClr>
            </a:solidFill>
            <a:prstDash val="solid"/>
            <a:round/>
            <a:headEnd type="none" w="med" len="med"/>
            <a:tailEnd type="none" w="med" len="med"/>
          </a:ln>
          <a:effectLst/>
        </p:spPr>
        <p:txBody>
          <a:bodyPr rot="0" spcFirstLastPara="0" vertOverflow="overflow" horzOverflow="overflow" vert="horz" wrap="square" lIns="0" tIns="36000" rIns="0" bIns="18000" numCol="1" spcCol="0" rtlCol="0" fromWordArt="0" anchor="b"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800" b="0" i="0" u="none" strike="noStrike" kern="0" cap="none" spc="0" normalizeH="0" baseline="0" noProof="0" err="1">
                <a:ln>
                  <a:noFill/>
                </a:ln>
                <a:solidFill>
                  <a:prstClr val="black"/>
                </a:solidFill>
                <a:effectLst/>
                <a:uLnTx/>
                <a:uFillTx/>
                <a:ea typeface="MS PGothic" panose="020B0600070205080204" pitchFamily="34" charset="-128"/>
                <a:cs typeface="Calibri" panose="020F0502020204030204" pitchFamily="34" charset="0"/>
              </a:rPr>
              <a:t>Andon</a:t>
            </a:r>
            <a:endParaRPr kumimoji="0" lang="fr-FR" sz="800" b="0" i="0" u="none" strike="noStrike" kern="0" cap="none" spc="0" normalizeH="0" baseline="0" noProof="0">
              <a:ln>
                <a:noFill/>
              </a:ln>
              <a:solidFill>
                <a:prstClr val="black"/>
              </a:solidFill>
              <a:effectLst/>
              <a:uLnTx/>
              <a:uFillTx/>
              <a:ea typeface="MS PGothic" panose="020B0600070205080204" pitchFamily="34" charset="-128"/>
              <a:cs typeface="Calibri" panose="020F0502020204030204" pitchFamily="34" charset="0"/>
            </a:endParaRPr>
          </a:p>
        </p:txBody>
      </p:sp>
      <p:sp>
        <p:nvSpPr>
          <p:cNvPr id="116" name="Rectangle 115">
            <a:extLst>
              <a:ext uri="{FF2B5EF4-FFF2-40B4-BE49-F238E27FC236}">
                <a16:creationId xmlns:a16="http://schemas.microsoft.com/office/drawing/2014/main" id="{3201A8E8-0F45-4BF9-965B-4B894E6DA3C6}"/>
              </a:ext>
            </a:extLst>
          </p:cNvPr>
          <p:cNvSpPr/>
          <p:nvPr/>
        </p:nvSpPr>
        <p:spPr bwMode="auto">
          <a:xfrm>
            <a:off x="10063155" y="5645197"/>
            <a:ext cx="870887" cy="482914"/>
          </a:xfrm>
          <a:prstGeom prst="rect">
            <a:avLst/>
          </a:prstGeom>
          <a:solidFill>
            <a:sysClr val="window" lastClr="FFFFFF"/>
          </a:solidFill>
          <a:ln w="19050" cap="flat" cmpd="sng" algn="ctr">
            <a:solidFill>
              <a:schemeClr val="accent1">
                <a:lumMod val="60000"/>
                <a:lumOff val="40000"/>
              </a:schemeClr>
            </a:solidFill>
            <a:prstDash val="solid"/>
            <a:round/>
            <a:headEnd type="none" w="med" len="med"/>
            <a:tailEnd type="none" w="med" len="med"/>
          </a:ln>
          <a:effectLst/>
        </p:spPr>
        <p:txBody>
          <a:bodyPr rot="0" spcFirstLastPara="0" vertOverflow="overflow" horzOverflow="overflow" vert="horz" wrap="square" lIns="0" tIns="36000" rIns="0" bIns="18000" numCol="1" spcCol="0" rtlCol="0" fromWordArt="0" anchor="b"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800" b="0" i="0" u="none" strike="noStrike" kern="0" cap="none" spc="0" normalizeH="0" baseline="0" noProof="0" err="1">
                <a:ln>
                  <a:noFill/>
                </a:ln>
                <a:solidFill>
                  <a:prstClr val="black"/>
                </a:solidFill>
                <a:effectLst/>
                <a:uLnTx/>
                <a:uFillTx/>
                <a:ea typeface="MS PGothic" panose="020B0600070205080204" pitchFamily="34" charset="-128"/>
                <a:cs typeface="Calibri" panose="020F0502020204030204" pitchFamily="34" charset="0"/>
              </a:rPr>
              <a:t>Poka</a:t>
            </a:r>
            <a:r>
              <a:rPr kumimoji="0" lang="fr-FR" sz="800" b="0" i="0" u="none" strike="noStrike" kern="0" cap="none" spc="0" normalizeH="0" baseline="0" noProof="0">
                <a:ln>
                  <a:noFill/>
                </a:ln>
                <a:solidFill>
                  <a:prstClr val="black"/>
                </a:solidFill>
                <a:effectLst/>
                <a:uLnTx/>
                <a:uFillTx/>
                <a:ea typeface="MS PGothic" panose="020B0600070205080204" pitchFamily="34" charset="-128"/>
                <a:cs typeface="Calibri" panose="020F0502020204030204" pitchFamily="34" charset="0"/>
              </a:rPr>
              <a:t> </a:t>
            </a:r>
            <a:r>
              <a:rPr kumimoji="0" lang="fr-FR" sz="800" b="0" i="0" u="none" strike="noStrike" kern="0" cap="none" spc="0" normalizeH="0" baseline="0" noProof="0" err="1">
                <a:ln>
                  <a:noFill/>
                </a:ln>
                <a:solidFill>
                  <a:prstClr val="black"/>
                </a:solidFill>
                <a:effectLst/>
                <a:uLnTx/>
                <a:uFillTx/>
                <a:ea typeface="MS PGothic" panose="020B0600070205080204" pitchFamily="34" charset="-128"/>
                <a:cs typeface="Calibri" panose="020F0502020204030204" pitchFamily="34" charset="0"/>
              </a:rPr>
              <a:t>Yoke</a:t>
            </a:r>
            <a:endParaRPr kumimoji="0" lang="fr-FR" sz="800" b="0" i="0" u="none" strike="noStrike" kern="0" cap="none" spc="0" normalizeH="0" baseline="0" noProof="0">
              <a:ln>
                <a:noFill/>
              </a:ln>
              <a:solidFill>
                <a:prstClr val="black"/>
              </a:solidFill>
              <a:effectLst/>
              <a:uLnTx/>
              <a:uFillTx/>
              <a:ea typeface="MS PGothic" panose="020B0600070205080204" pitchFamily="34" charset="-128"/>
              <a:cs typeface="Calibri" panose="020F0502020204030204" pitchFamily="34" charset="0"/>
            </a:endParaRPr>
          </a:p>
        </p:txBody>
      </p:sp>
      <p:sp>
        <p:nvSpPr>
          <p:cNvPr id="117" name="Rectangle 116">
            <a:extLst>
              <a:ext uri="{FF2B5EF4-FFF2-40B4-BE49-F238E27FC236}">
                <a16:creationId xmlns:a16="http://schemas.microsoft.com/office/drawing/2014/main" id="{C57BC806-D43F-4DFF-8B1A-4354F089844F}"/>
              </a:ext>
            </a:extLst>
          </p:cNvPr>
          <p:cNvSpPr/>
          <p:nvPr/>
        </p:nvSpPr>
        <p:spPr bwMode="auto">
          <a:xfrm>
            <a:off x="10063155" y="4552873"/>
            <a:ext cx="870887" cy="482914"/>
          </a:xfrm>
          <a:prstGeom prst="rect">
            <a:avLst/>
          </a:prstGeom>
          <a:solidFill>
            <a:sysClr val="window" lastClr="FFFFFF"/>
          </a:solidFill>
          <a:ln w="19050" cap="flat" cmpd="sng" algn="ctr">
            <a:solidFill>
              <a:schemeClr val="accent1">
                <a:lumMod val="60000"/>
                <a:lumOff val="40000"/>
              </a:schemeClr>
            </a:solidFill>
            <a:prstDash val="solid"/>
            <a:round/>
            <a:headEnd type="none" w="med" len="med"/>
            <a:tailEnd type="none" w="med" len="med"/>
          </a:ln>
          <a:effectLst/>
        </p:spPr>
        <p:txBody>
          <a:bodyPr rot="0" spcFirstLastPara="0" vertOverflow="overflow" horzOverflow="overflow" vert="horz" wrap="square" lIns="0" tIns="36000" rIns="0" bIns="18000" numCol="1" spcCol="0" rtlCol="0" fromWordArt="0" anchor="b"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800" b="0" i="0" u="none" strike="noStrike" kern="0" cap="none" spc="0" normalizeH="0" baseline="0" noProof="0">
                <a:ln>
                  <a:noFill/>
                </a:ln>
                <a:solidFill>
                  <a:prstClr val="black"/>
                </a:solidFill>
                <a:effectLst/>
                <a:uLnTx/>
                <a:uFillTx/>
                <a:ea typeface="MS PGothic" panose="020B0600070205080204" pitchFamily="34" charset="-128"/>
                <a:cs typeface="Calibri" panose="020F0502020204030204" pitchFamily="34" charset="0"/>
              </a:rPr>
              <a:t>Suivi gains (carte de contrôle, …)</a:t>
            </a:r>
          </a:p>
        </p:txBody>
      </p:sp>
      <p:sp>
        <p:nvSpPr>
          <p:cNvPr id="118" name="Rectangle 117">
            <a:extLst>
              <a:ext uri="{FF2B5EF4-FFF2-40B4-BE49-F238E27FC236}">
                <a16:creationId xmlns:a16="http://schemas.microsoft.com/office/drawing/2014/main" id="{8C8A89D7-313B-4FDF-B622-B4F85027FC5B}"/>
              </a:ext>
            </a:extLst>
          </p:cNvPr>
          <p:cNvSpPr/>
          <p:nvPr/>
        </p:nvSpPr>
        <p:spPr bwMode="auto">
          <a:xfrm>
            <a:off x="10063155" y="6194775"/>
            <a:ext cx="870887" cy="482914"/>
          </a:xfrm>
          <a:prstGeom prst="rect">
            <a:avLst/>
          </a:prstGeom>
          <a:solidFill>
            <a:sysClr val="window" lastClr="FFFFFF"/>
          </a:solidFill>
          <a:ln w="19050" cap="flat" cmpd="sng" algn="ctr">
            <a:solidFill>
              <a:schemeClr val="accent1">
                <a:lumMod val="60000"/>
                <a:lumOff val="40000"/>
              </a:schemeClr>
            </a:solidFill>
            <a:prstDash val="solid"/>
            <a:round/>
            <a:headEnd type="none" w="med" len="med"/>
            <a:tailEnd type="none" w="med" len="med"/>
          </a:ln>
          <a:effectLst/>
        </p:spPr>
        <p:txBody>
          <a:bodyPr rot="0" spcFirstLastPara="0" vertOverflow="overflow" horzOverflow="overflow" vert="horz" wrap="square" lIns="0" tIns="36000" rIns="0" bIns="18000" numCol="1" spcCol="0" rtlCol="0" fromWordArt="0" anchor="b"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800" b="0" i="0" u="none" strike="noStrike" kern="0" cap="none" spc="0" normalizeH="0" baseline="0" noProof="0">
                <a:ln>
                  <a:noFill/>
                </a:ln>
                <a:solidFill>
                  <a:prstClr val="black"/>
                </a:solidFill>
                <a:effectLst/>
                <a:uLnTx/>
                <a:uFillTx/>
                <a:ea typeface="MS PGothic" panose="020B0600070205080204" pitchFamily="34" charset="-128"/>
                <a:cs typeface="Calibri" panose="020F0502020204030204" pitchFamily="34" charset="0"/>
              </a:rPr>
              <a:t>SMED</a:t>
            </a:r>
          </a:p>
        </p:txBody>
      </p:sp>
      <p:pic>
        <p:nvPicPr>
          <p:cNvPr id="119" name="Picture 118">
            <a:extLst>
              <a:ext uri="{FF2B5EF4-FFF2-40B4-BE49-F238E27FC236}">
                <a16:creationId xmlns:a16="http://schemas.microsoft.com/office/drawing/2014/main" id="{0475A6BC-B633-4D34-A82C-2CA68A4D4F56}"/>
              </a:ext>
            </a:extLst>
          </p:cNvPr>
          <p:cNvPicPr>
            <a:picLocks/>
          </p:cNvPicPr>
          <p:nvPr/>
        </p:nvPicPr>
        <p:blipFill>
          <a:blip r:embed="rId29" cstate="email">
            <a:extLst>
              <a:ext uri="{28A0092B-C50C-407E-A947-70E740481C1C}">
                <a14:useLocalDpi xmlns:a14="http://schemas.microsoft.com/office/drawing/2010/main"/>
              </a:ext>
            </a:extLst>
          </a:blip>
          <a:stretch>
            <a:fillRect/>
          </a:stretch>
        </p:blipFill>
        <p:spPr>
          <a:xfrm>
            <a:off x="10338773" y="5106484"/>
            <a:ext cx="319650" cy="290591"/>
          </a:xfrm>
          <a:prstGeom prst="rect">
            <a:avLst/>
          </a:prstGeom>
        </p:spPr>
      </p:pic>
      <p:pic>
        <p:nvPicPr>
          <p:cNvPr id="120" name="Picture 119">
            <a:extLst>
              <a:ext uri="{FF2B5EF4-FFF2-40B4-BE49-F238E27FC236}">
                <a16:creationId xmlns:a16="http://schemas.microsoft.com/office/drawing/2014/main" id="{124F67C6-773E-4E91-BE55-4E61302571D6}"/>
              </a:ext>
            </a:extLst>
          </p:cNvPr>
          <p:cNvPicPr>
            <a:picLocks/>
          </p:cNvPicPr>
          <p:nvPr/>
        </p:nvPicPr>
        <p:blipFill>
          <a:blip r:embed="rId30" cstate="email">
            <a:extLst>
              <a:ext uri="{28A0092B-C50C-407E-A947-70E740481C1C}">
                <a14:useLocalDpi xmlns:a14="http://schemas.microsoft.com/office/drawing/2010/main"/>
              </a:ext>
            </a:extLst>
          </a:blip>
          <a:stretch>
            <a:fillRect/>
          </a:stretch>
        </p:blipFill>
        <p:spPr>
          <a:xfrm>
            <a:off x="10379590" y="4564640"/>
            <a:ext cx="238016" cy="216378"/>
          </a:xfrm>
          <a:prstGeom prst="rect">
            <a:avLst/>
          </a:prstGeom>
        </p:spPr>
      </p:pic>
      <p:pic>
        <p:nvPicPr>
          <p:cNvPr id="121" name="Picture 120">
            <a:extLst>
              <a:ext uri="{FF2B5EF4-FFF2-40B4-BE49-F238E27FC236}">
                <a16:creationId xmlns:a16="http://schemas.microsoft.com/office/drawing/2014/main" id="{16A1F54D-3CA2-464C-91FF-7E25BC6C9488}"/>
              </a:ext>
            </a:extLst>
          </p:cNvPr>
          <p:cNvPicPr>
            <a:picLocks/>
          </p:cNvPicPr>
          <p:nvPr/>
        </p:nvPicPr>
        <p:blipFill>
          <a:blip r:embed="rId31" cstate="email">
            <a:extLst>
              <a:ext uri="{28A0092B-C50C-407E-A947-70E740481C1C}">
                <a14:useLocalDpi xmlns:a14="http://schemas.microsoft.com/office/drawing/2010/main"/>
              </a:ext>
            </a:extLst>
          </a:blip>
          <a:stretch>
            <a:fillRect/>
          </a:stretch>
        </p:blipFill>
        <p:spPr>
          <a:xfrm>
            <a:off x="10318598" y="6218435"/>
            <a:ext cx="360000" cy="327273"/>
          </a:xfrm>
          <a:prstGeom prst="rect">
            <a:avLst/>
          </a:prstGeom>
        </p:spPr>
      </p:pic>
      <p:pic>
        <p:nvPicPr>
          <p:cNvPr id="122" name="Picture 121">
            <a:extLst>
              <a:ext uri="{FF2B5EF4-FFF2-40B4-BE49-F238E27FC236}">
                <a16:creationId xmlns:a16="http://schemas.microsoft.com/office/drawing/2014/main" id="{C0A3C9AD-788C-46FE-9CAF-CCD486A9670F}"/>
              </a:ext>
            </a:extLst>
          </p:cNvPr>
          <p:cNvPicPr>
            <a:picLocks/>
          </p:cNvPicPr>
          <p:nvPr/>
        </p:nvPicPr>
        <p:blipFill>
          <a:blip r:embed="rId32" cstate="email">
            <a:extLst>
              <a:ext uri="{28A0092B-C50C-407E-A947-70E740481C1C}">
                <a14:useLocalDpi xmlns:a14="http://schemas.microsoft.com/office/drawing/2010/main"/>
              </a:ext>
            </a:extLst>
          </a:blip>
          <a:stretch>
            <a:fillRect/>
          </a:stretch>
        </p:blipFill>
        <p:spPr>
          <a:xfrm>
            <a:off x="10318598" y="5677537"/>
            <a:ext cx="360000" cy="327273"/>
          </a:xfrm>
          <a:prstGeom prst="rect">
            <a:avLst/>
          </a:prstGeom>
        </p:spPr>
      </p:pic>
      <p:sp>
        <p:nvSpPr>
          <p:cNvPr id="124" name="Rectangle 123">
            <a:extLst>
              <a:ext uri="{FF2B5EF4-FFF2-40B4-BE49-F238E27FC236}">
                <a16:creationId xmlns:a16="http://schemas.microsoft.com/office/drawing/2014/main" id="{626F2312-209B-42F0-91B1-45560381E0FA}"/>
              </a:ext>
            </a:extLst>
          </p:cNvPr>
          <p:cNvSpPr/>
          <p:nvPr/>
        </p:nvSpPr>
        <p:spPr bwMode="auto">
          <a:xfrm>
            <a:off x="8130535" y="5645197"/>
            <a:ext cx="870887" cy="482914"/>
          </a:xfrm>
          <a:prstGeom prst="rect">
            <a:avLst/>
          </a:prstGeom>
          <a:solidFill>
            <a:sysClr val="window" lastClr="FFFFFF"/>
          </a:solidFill>
          <a:ln w="19050" cap="flat" cmpd="sng" algn="ctr">
            <a:solidFill>
              <a:schemeClr val="accent1">
                <a:lumMod val="60000"/>
                <a:lumOff val="40000"/>
              </a:schemeClr>
            </a:solidFill>
            <a:prstDash val="solid"/>
            <a:round/>
            <a:headEnd type="none" w="med" len="med"/>
            <a:tailEnd type="none" w="med" len="med"/>
          </a:ln>
          <a:effectLst/>
        </p:spPr>
        <p:txBody>
          <a:bodyPr rot="0" spcFirstLastPara="0" vertOverflow="overflow" horzOverflow="overflow" vert="horz" wrap="square" lIns="0" tIns="36000" rIns="0" bIns="18000" numCol="1" spcCol="0" rtlCol="0" fromWordArt="0" anchor="b"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800" b="0" i="0" u="none" strike="noStrike" kern="0" cap="none" spc="0" normalizeH="0" baseline="0" noProof="0">
                <a:ln>
                  <a:noFill/>
                </a:ln>
                <a:solidFill>
                  <a:prstClr val="black"/>
                </a:solidFill>
                <a:effectLst/>
                <a:uLnTx/>
                <a:uFillTx/>
                <a:ea typeface="MS PGothic" panose="020B0600070205080204" pitchFamily="34" charset="-128"/>
                <a:cs typeface="Calibri" panose="020F0502020204030204" pitchFamily="34" charset="0"/>
              </a:rPr>
              <a:t>A3 </a:t>
            </a:r>
            <a:r>
              <a:rPr kumimoji="0" lang="fr-FR" sz="800" b="0" i="0" u="none" strike="noStrike" kern="0" cap="none" spc="0" normalizeH="0" baseline="0" noProof="0" err="1">
                <a:ln>
                  <a:noFill/>
                </a:ln>
                <a:solidFill>
                  <a:prstClr val="black"/>
                </a:solidFill>
                <a:effectLst/>
                <a:uLnTx/>
                <a:uFillTx/>
                <a:ea typeface="MS PGothic" panose="020B0600070205080204" pitchFamily="34" charset="-128"/>
                <a:cs typeface="Calibri" panose="020F0502020204030204" pitchFamily="34" charset="0"/>
              </a:rPr>
              <a:t>Thinking</a:t>
            </a:r>
            <a:endParaRPr kumimoji="0" lang="fr-FR" sz="800" b="0" i="0" u="none" strike="noStrike" kern="0" cap="none" spc="0" normalizeH="0" baseline="0" noProof="0">
              <a:ln>
                <a:noFill/>
              </a:ln>
              <a:solidFill>
                <a:prstClr val="black"/>
              </a:solidFill>
              <a:effectLst/>
              <a:uLnTx/>
              <a:uFillTx/>
              <a:ea typeface="MS PGothic" panose="020B0600070205080204" pitchFamily="34" charset="-128"/>
              <a:cs typeface="Calibri" panose="020F0502020204030204" pitchFamily="34" charset="0"/>
            </a:endParaRPr>
          </a:p>
        </p:txBody>
      </p:sp>
      <p:sp>
        <p:nvSpPr>
          <p:cNvPr id="125" name="Rectangle 124">
            <a:extLst>
              <a:ext uri="{FF2B5EF4-FFF2-40B4-BE49-F238E27FC236}">
                <a16:creationId xmlns:a16="http://schemas.microsoft.com/office/drawing/2014/main" id="{978DBF19-E32A-4451-873E-FBEAE7ABE87E}"/>
              </a:ext>
            </a:extLst>
          </p:cNvPr>
          <p:cNvSpPr/>
          <p:nvPr/>
        </p:nvSpPr>
        <p:spPr bwMode="auto">
          <a:xfrm>
            <a:off x="8130535" y="4552873"/>
            <a:ext cx="870887" cy="482914"/>
          </a:xfrm>
          <a:prstGeom prst="rect">
            <a:avLst/>
          </a:prstGeom>
          <a:solidFill>
            <a:schemeClr val="accent1">
              <a:lumMod val="20000"/>
              <a:lumOff val="80000"/>
            </a:schemeClr>
          </a:solidFill>
          <a:ln w="19050" cap="flat" cmpd="sng" algn="ctr">
            <a:solidFill>
              <a:schemeClr val="accent1">
                <a:lumMod val="60000"/>
                <a:lumOff val="40000"/>
              </a:schemeClr>
            </a:solidFill>
            <a:prstDash val="solid"/>
            <a:round/>
            <a:headEnd type="none" w="med" len="med"/>
            <a:tailEnd type="none" w="med" len="med"/>
          </a:ln>
          <a:effectLst/>
        </p:spPr>
        <p:txBody>
          <a:bodyPr rot="0" spcFirstLastPara="0" vertOverflow="overflow" horzOverflow="overflow" vert="horz" wrap="square" lIns="0" tIns="0" rIns="0" bIns="36000" numCol="1" spcCol="0" rtlCol="0" fromWordArt="0" anchor="b"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800" b="0" i="0" u="none" strike="noStrike" kern="0" cap="none" spc="0" normalizeH="0" baseline="0" noProof="0">
                <a:ln>
                  <a:noFill/>
                </a:ln>
                <a:solidFill>
                  <a:prstClr val="black"/>
                </a:solidFill>
                <a:effectLst/>
                <a:uLnTx/>
                <a:uFillTx/>
                <a:ea typeface="MS PGothic" panose="020B0600070205080204" pitchFamily="34" charset="-128"/>
                <a:cs typeface="Calibri" panose="020F0502020204030204" pitchFamily="34" charset="0"/>
              </a:rPr>
              <a:t>Evaluation des risques</a:t>
            </a:r>
          </a:p>
        </p:txBody>
      </p:sp>
      <p:sp>
        <p:nvSpPr>
          <p:cNvPr id="126" name="Rectangle 125">
            <a:extLst>
              <a:ext uri="{FF2B5EF4-FFF2-40B4-BE49-F238E27FC236}">
                <a16:creationId xmlns:a16="http://schemas.microsoft.com/office/drawing/2014/main" id="{BAF4DF77-D8FC-4748-BD3D-C702F81D2EED}"/>
              </a:ext>
            </a:extLst>
          </p:cNvPr>
          <p:cNvSpPr/>
          <p:nvPr/>
        </p:nvSpPr>
        <p:spPr bwMode="auto">
          <a:xfrm>
            <a:off x="8130535" y="5101596"/>
            <a:ext cx="870887" cy="482914"/>
          </a:xfrm>
          <a:prstGeom prst="rect">
            <a:avLst/>
          </a:prstGeom>
          <a:solidFill>
            <a:schemeClr val="bg1"/>
          </a:solidFill>
          <a:ln w="19050" cap="flat" cmpd="sng" algn="ctr">
            <a:solidFill>
              <a:schemeClr val="accent1">
                <a:lumMod val="60000"/>
                <a:lumOff val="40000"/>
              </a:schemeClr>
            </a:solidFill>
            <a:prstDash val="solid"/>
            <a:round/>
            <a:headEnd type="none" w="med" len="med"/>
            <a:tailEnd type="none" w="med" len="med"/>
          </a:ln>
          <a:effectLst/>
        </p:spPr>
        <p:txBody>
          <a:bodyPr rot="0" spcFirstLastPara="0" vertOverflow="overflow" horzOverflow="overflow" vert="horz" wrap="square" lIns="0" tIns="36000" rIns="0" bIns="18000" numCol="1" spcCol="0" rtlCol="0" fromWordArt="0" anchor="b"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800" b="0" i="0" u="none" strike="noStrike" kern="0" cap="none" spc="0" normalizeH="0" baseline="0" noProof="0">
                <a:ln>
                  <a:noFill/>
                </a:ln>
                <a:solidFill>
                  <a:prstClr val="black"/>
                </a:solidFill>
                <a:effectLst/>
                <a:uLnTx/>
                <a:uFillTx/>
                <a:ea typeface="MS PGothic" panose="020B0600070205080204" pitchFamily="34" charset="-128"/>
                <a:cs typeface="Calibri" panose="020F0502020204030204" pitchFamily="34" charset="0"/>
              </a:rPr>
              <a:t>Estimation des gains / B-case</a:t>
            </a:r>
          </a:p>
        </p:txBody>
      </p:sp>
      <p:sp>
        <p:nvSpPr>
          <p:cNvPr id="127" name="Rectangle 126">
            <a:extLst>
              <a:ext uri="{FF2B5EF4-FFF2-40B4-BE49-F238E27FC236}">
                <a16:creationId xmlns:a16="http://schemas.microsoft.com/office/drawing/2014/main" id="{C214B9A9-EC6F-45C6-B4CB-C5F68866DD7D}"/>
              </a:ext>
            </a:extLst>
          </p:cNvPr>
          <p:cNvSpPr/>
          <p:nvPr/>
        </p:nvSpPr>
        <p:spPr bwMode="auto">
          <a:xfrm>
            <a:off x="9056802" y="4552873"/>
            <a:ext cx="870887" cy="482914"/>
          </a:xfrm>
          <a:prstGeom prst="rect">
            <a:avLst/>
          </a:prstGeom>
          <a:solidFill>
            <a:schemeClr val="accent1">
              <a:lumMod val="20000"/>
              <a:lumOff val="80000"/>
            </a:schemeClr>
          </a:solidFill>
          <a:ln w="19050" cap="flat" cmpd="sng" algn="ctr">
            <a:solidFill>
              <a:schemeClr val="accent1">
                <a:lumMod val="60000"/>
                <a:lumOff val="40000"/>
              </a:schemeClr>
            </a:solidFill>
            <a:prstDash val="solid"/>
            <a:round/>
            <a:headEnd type="none" w="med" len="med"/>
            <a:tailEnd type="none" w="med" len="med"/>
          </a:ln>
          <a:effectLst/>
        </p:spPr>
        <p:txBody>
          <a:bodyPr rot="0" spcFirstLastPara="0" vertOverflow="overflow" horzOverflow="overflow" vert="horz" wrap="square" lIns="0" tIns="36000" rIns="0" bIns="18000" numCol="1" spcCol="0" rtlCol="0" fromWordArt="0" anchor="b"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800" b="0" i="0" u="none" strike="noStrike" kern="0" cap="none" spc="0" normalizeH="0" baseline="0" noProof="0">
                <a:ln>
                  <a:noFill/>
                </a:ln>
                <a:solidFill>
                  <a:prstClr val="black"/>
                </a:solidFill>
                <a:effectLst/>
                <a:uLnTx/>
                <a:uFillTx/>
                <a:ea typeface="MS PGothic" panose="020B0600070205080204" pitchFamily="34" charset="-128"/>
                <a:cs typeface="Calibri" panose="020F0502020204030204" pitchFamily="34" charset="0"/>
              </a:rPr>
              <a:t>Quick </a:t>
            </a:r>
            <a:r>
              <a:rPr kumimoji="0" lang="fr-FR" sz="800" b="0" i="0" u="none" strike="noStrike" kern="0" cap="none" spc="0" normalizeH="0" baseline="0" noProof="0" err="1">
                <a:ln>
                  <a:noFill/>
                </a:ln>
                <a:solidFill>
                  <a:prstClr val="black"/>
                </a:solidFill>
                <a:effectLst/>
                <a:uLnTx/>
                <a:uFillTx/>
                <a:ea typeface="MS PGothic" panose="020B0600070205080204" pitchFamily="34" charset="-128"/>
                <a:cs typeface="Calibri" panose="020F0502020204030204" pitchFamily="34" charset="0"/>
              </a:rPr>
              <a:t>Wins</a:t>
            </a:r>
            <a:endParaRPr kumimoji="0" lang="fr-FR" sz="800" b="0" i="0" u="none" strike="noStrike" kern="0" cap="none" spc="0" normalizeH="0" baseline="0" noProof="0">
              <a:ln>
                <a:noFill/>
              </a:ln>
              <a:solidFill>
                <a:prstClr val="black"/>
              </a:solidFill>
              <a:effectLst/>
              <a:uLnTx/>
              <a:uFillTx/>
              <a:ea typeface="MS PGothic" panose="020B0600070205080204" pitchFamily="34" charset="-128"/>
              <a:cs typeface="Calibri" panose="020F0502020204030204" pitchFamily="34" charset="0"/>
            </a:endParaRPr>
          </a:p>
        </p:txBody>
      </p:sp>
      <p:sp>
        <p:nvSpPr>
          <p:cNvPr id="128" name="Rectangle 127">
            <a:extLst>
              <a:ext uri="{FF2B5EF4-FFF2-40B4-BE49-F238E27FC236}">
                <a16:creationId xmlns:a16="http://schemas.microsoft.com/office/drawing/2014/main" id="{989B914D-0E1A-4B70-BBAE-B726356D0374}"/>
              </a:ext>
            </a:extLst>
          </p:cNvPr>
          <p:cNvSpPr/>
          <p:nvPr/>
        </p:nvSpPr>
        <p:spPr bwMode="auto">
          <a:xfrm>
            <a:off x="9056802" y="5101596"/>
            <a:ext cx="870887" cy="482914"/>
          </a:xfrm>
          <a:prstGeom prst="rect">
            <a:avLst/>
          </a:prstGeom>
          <a:solidFill>
            <a:sysClr val="window" lastClr="FFFFFF"/>
          </a:solidFill>
          <a:ln w="19050" cap="flat" cmpd="sng" algn="ctr">
            <a:solidFill>
              <a:schemeClr val="accent1">
                <a:lumMod val="60000"/>
                <a:lumOff val="40000"/>
              </a:schemeClr>
            </a:solidFill>
            <a:prstDash val="solid"/>
            <a:round/>
            <a:headEnd type="none" w="med" len="med"/>
            <a:tailEnd type="none" w="med" len="med"/>
          </a:ln>
          <a:effectLst/>
        </p:spPr>
        <p:txBody>
          <a:bodyPr rot="0" spcFirstLastPara="0" vertOverflow="overflow" horzOverflow="overflow" vert="horz" wrap="square" lIns="0" tIns="36000" rIns="0" bIns="18000" numCol="1" spcCol="0" rtlCol="0" fromWordArt="0" anchor="b"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800" b="0" i="0" u="none" strike="noStrike" kern="0" cap="none" spc="0" normalizeH="0" baseline="0" noProof="0">
                <a:ln>
                  <a:noFill/>
                </a:ln>
                <a:solidFill>
                  <a:prstClr val="black"/>
                </a:solidFill>
                <a:effectLst/>
                <a:uLnTx/>
                <a:uFillTx/>
                <a:ea typeface="MS PGothic" panose="020B0600070205080204" pitchFamily="34" charset="-128"/>
                <a:cs typeface="Calibri" panose="020F0502020204030204" pitchFamily="34" charset="0"/>
              </a:rPr>
              <a:t>DMAIC</a:t>
            </a:r>
          </a:p>
        </p:txBody>
      </p:sp>
      <p:sp>
        <p:nvSpPr>
          <p:cNvPr id="129" name="Rectangle 128">
            <a:extLst>
              <a:ext uri="{FF2B5EF4-FFF2-40B4-BE49-F238E27FC236}">
                <a16:creationId xmlns:a16="http://schemas.microsoft.com/office/drawing/2014/main" id="{F7A10105-2BF9-40A5-8629-6BF11322A022}"/>
              </a:ext>
            </a:extLst>
          </p:cNvPr>
          <p:cNvSpPr/>
          <p:nvPr/>
        </p:nvSpPr>
        <p:spPr bwMode="auto">
          <a:xfrm>
            <a:off x="9056802" y="6194775"/>
            <a:ext cx="870887" cy="482914"/>
          </a:xfrm>
          <a:prstGeom prst="rect">
            <a:avLst/>
          </a:prstGeom>
          <a:solidFill>
            <a:sysClr val="window" lastClr="FFFFFF"/>
          </a:solidFill>
          <a:ln w="19050" cap="flat" cmpd="sng" algn="ctr">
            <a:solidFill>
              <a:schemeClr val="accent1">
                <a:lumMod val="60000"/>
                <a:lumOff val="40000"/>
              </a:schemeClr>
            </a:solidFill>
            <a:prstDash val="solid"/>
            <a:round/>
            <a:headEnd type="none" w="med" len="med"/>
            <a:tailEnd type="none" w="med" len="med"/>
          </a:ln>
          <a:effectLst/>
        </p:spPr>
        <p:txBody>
          <a:bodyPr rot="0" spcFirstLastPara="0" vertOverflow="overflow" horzOverflow="overflow" vert="horz" wrap="square" lIns="0" tIns="36000" rIns="0" bIns="18000" numCol="1" spcCol="0" rtlCol="0" fromWordArt="0" anchor="b"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800" b="0" i="0" u="none" strike="noStrike" kern="0" cap="none" spc="0" normalizeH="0" baseline="0" noProof="0">
                <a:ln>
                  <a:noFill/>
                </a:ln>
                <a:solidFill>
                  <a:prstClr val="black"/>
                </a:solidFill>
                <a:effectLst/>
                <a:uLnTx/>
                <a:uFillTx/>
                <a:ea typeface="MS PGothic" panose="020B0600070205080204" pitchFamily="34" charset="-128"/>
                <a:cs typeface="Calibri" panose="020F0502020204030204" pitchFamily="34" charset="0"/>
              </a:rPr>
              <a:t>Feuille de route</a:t>
            </a:r>
          </a:p>
        </p:txBody>
      </p:sp>
      <p:sp>
        <p:nvSpPr>
          <p:cNvPr id="130" name="Rectangle 129">
            <a:extLst>
              <a:ext uri="{FF2B5EF4-FFF2-40B4-BE49-F238E27FC236}">
                <a16:creationId xmlns:a16="http://schemas.microsoft.com/office/drawing/2014/main" id="{EBA701DC-4A45-4968-86E7-C9B94B7A1818}"/>
              </a:ext>
            </a:extLst>
          </p:cNvPr>
          <p:cNvSpPr/>
          <p:nvPr/>
        </p:nvSpPr>
        <p:spPr bwMode="auto">
          <a:xfrm>
            <a:off x="8130535" y="6194775"/>
            <a:ext cx="870887" cy="482914"/>
          </a:xfrm>
          <a:prstGeom prst="rect">
            <a:avLst/>
          </a:prstGeom>
          <a:solidFill>
            <a:sysClr val="window" lastClr="FFFFFF"/>
          </a:solidFill>
          <a:ln w="19050" cap="flat" cmpd="sng" algn="ctr">
            <a:solidFill>
              <a:schemeClr val="accent1">
                <a:lumMod val="60000"/>
                <a:lumOff val="40000"/>
              </a:schemeClr>
            </a:solidFill>
            <a:prstDash val="solid"/>
            <a:round/>
            <a:headEnd type="none" w="med" len="med"/>
            <a:tailEnd type="none" w="med" len="med"/>
          </a:ln>
          <a:effectLst/>
        </p:spPr>
        <p:txBody>
          <a:bodyPr rot="0" spcFirstLastPara="0" vertOverflow="overflow" horzOverflow="overflow" vert="horz" wrap="square" lIns="0" tIns="36000" rIns="0" bIns="18000" numCol="1" spcCol="0" rtlCol="0" fromWordArt="0" anchor="b"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800" b="0" i="0" u="none" strike="noStrike" kern="0" cap="none" spc="0" normalizeH="0" baseline="0" noProof="0">
                <a:ln>
                  <a:noFill/>
                </a:ln>
                <a:solidFill>
                  <a:prstClr val="black"/>
                </a:solidFill>
                <a:effectLst/>
                <a:uLnTx/>
                <a:uFillTx/>
                <a:ea typeface="MS PGothic" panose="020B0600070205080204" pitchFamily="34" charset="-128"/>
                <a:cs typeface="Calibri" panose="020F0502020204030204" pitchFamily="34" charset="0"/>
              </a:rPr>
              <a:t>ESOARM</a:t>
            </a:r>
          </a:p>
        </p:txBody>
      </p:sp>
      <p:sp>
        <p:nvSpPr>
          <p:cNvPr id="131" name="Rectangle 130">
            <a:extLst>
              <a:ext uri="{FF2B5EF4-FFF2-40B4-BE49-F238E27FC236}">
                <a16:creationId xmlns:a16="http://schemas.microsoft.com/office/drawing/2014/main" id="{5BA388AC-FF2E-406F-9910-D7FCE695AC25}"/>
              </a:ext>
            </a:extLst>
          </p:cNvPr>
          <p:cNvSpPr/>
          <p:nvPr/>
        </p:nvSpPr>
        <p:spPr bwMode="auto">
          <a:xfrm>
            <a:off x="9056802" y="5645197"/>
            <a:ext cx="870887" cy="482914"/>
          </a:xfrm>
          <a:prstGeom prst="rect">
            <a:avLst/>
          </a:prstGeom>
          <a:solidFill>
            <a:sysClr val="window" lastClr="FFFFFF"/>
          </a:solidFill>
          <a:ln w="19050" cap="flat" cmpd="sng" algn="ctr">
            <a:solidFill>
              <a:schemeClr val="accent1">
                <a:lumMod val="60000"/>
                <a:lumOff val="40000"/>
              </a:schemeClr>
            </a:solidFill>
            <a:prstDash val="solid"/>
            <a:round/>
            <a:headEnd type="none" w="med" len="med"/>
            <a:tailEnd type="none" w="med" len="med"/>
          </a:ln>
          <a:effectLst/>
        </p:spPr>
        <p:txBody>
          <a:bodyPr rot="0" spcFirstLastPara="0" vertOverflow="overflow" horzOverflow="overflow" vert="horz" wrap="square" lIns="0" tIns="36000" rIns="0" bIns="18000" numCol="1" spcCol="0" rtlCol="0" fromWordArt="0" anchor="b"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800" b="0" i="0" u="none" strike="noStrike" kern="0" cap="none" spc="0" normalizeH="0" baseline="0" noProof="0">
                <a:ln>
                  <a:noFill/>
                </a:ln>
                <a:solidFill>
                  <a:prstClr val="black"/>
                </a:solidFill>
                <a:effectLst/>
                <a:uLnTx/>
                <a:uFillTx/>
                <a:ea typeface="MS PGothic" panose="020B0600070205080204" pitchFamily="34" charset="-128"/>
                <a:cs typeface="Calibri" panose="020F0502020204030204" pitchFamily="34" charset="0"/>
              </a:rPr>
              <a:t>Kaizen</a:t>
            </a:r>
          </a:p>
        </p:txBody>
      </p:sp>
      <p:pic>
        <p:nvPicPr>
          <p:cNvPr id="132" name="Picture 131">
            <a:extLst>
              <a:ext uri="{FF2B5EF4-FFF2-40B4-BE49-F238E27FC236}">
                <a16:creationId xmlns:a16="http://schemas.microsoft.com/office/drawing/2014/main" id="{AE1368F1-2836-436B-B8AE-36651537B529}"/>
              </a:ext>
            </a:extLst>
          </p:cNvPr>
          <p:cNvPicPr>
            <a:picLocks/>
          </p:cNvPicPr>
          <p:nvPr/>
        </p:nvPicPr>
        <p:blipFill>
          <a:blip r:embed="rId33" cstate="email">
            <a:extLst>
              <a:ext uri="{28A0092B-C50C-407E-A947-70E740481C1C}">
                <a14:useLocalDpi xmlns:a14="http://schemas.microsoft.com/office/drawing/2010/main"/>
              </a:ext>
            </a:extLst>
          </a:blip>
          <a:stretch>
            <a:fillRect/>
          </a:stretch>
        </p:blipFill>
        <p:spPr>
          <a:xfrm>
            <a:off x="9255226" y="4558853"/>
            <a:ext cx="360001" cy="327273"/>
          </a:xfrm>
          <a:prstGeom prst="rect">
            <a:avLst/>
          </a:prstGeom>
        </p:spPr>
      </p:pic>
      <p:pic>
        <p:nvPicPr>
          <p:cNvPr id="133" name="Picture 132">
            <a:extLst>
              <a:ext uri="{FF2B5EF4-FFF2-40B4-BE49-F238E27FC236}">
                <a16:creationId xmlns:a16="http://schemas.microsoft.com/office/drawing/2014/main" id="{13AF2502-C7FB-4709-BB66-848BD766CF0C}"/>
              </a:ext>
            </a:extLst>
          </p:cNvPr>
          <p:cNvPicPr>
            <a:picLocks noChangeAspect="1"/>
          </p:cNvPicPr>
          <p:nvPr/>
        </p:nvPicPr>
        <p:blipFill>
          <a:blip r:embed="rId34" cstate="email">
            <a:extLst>
              <a:ext uri="{28A0092B-C50C-407E-A947-70E740481C1C}">
                <a14:useLocalDpi xmlns:a14="http://schemas.microsoft.com/office/drawing/2010/main"/>
              </a:ext>
            </a:extLst>
          </a:blip>
          <a:stretch>
            <a:fillRect/>
          </a:stretch>
        </p:blipFill>
        <p:spPr>
          <a:xfrm>
            <a:off x="8405199" y="5110872"/>
            <a:ext cx="321558" cy="250617"/>
          </a:xfrm>
          <a:prstGeom prst="rect">
            <a:avLst/>
          </a:prstGeom>
        </p:spPr>
      </p:pic>
      <p:pic>
        <p:nvPicPr>
          <p:cNvPr id="134" name="Picture 133">
            <a:extLst>
              <a:ext uri="{FF2B5EF4-FFF2-40B4-BE49-F238E27FC236}">
                <a16:creationId xmlns:a16="http://schemas.microsoft.com/office/drawing/2014/main" id="{D051B085-8C55-41D1-A483-7389665D4E67}"/>
              </a:ext>
            </a:extLst>
          </p:cNvPr>
          <p:cNvPicPr>
            <a:picLocks/>
          </p:cNvPicPr>
          <p:nvPr/>
        </p:nvPicPr>
        <p:blipFill>
          <a:blip r:embed="rId35" cstate="email">
            <a:extLst>
              <a:ext uri="{28A0092B-C50C-407E-A947-70E740481C1C}">
                <a14:useLocalDpi xmlns:a14="http://schemas.microsoft.com/office/drawing/2010/main"/>
              </a:ext>
            </a:extLst>
          </a:blip>
          <a:stretch>
            <a:fillRect/>
          </a:stretch>
        </p:blipFill>
        <p:spPr>
          <a:xfrm>
            <a:off x="9343485" y="5126701"/>
            <a:ext cx="297521" cy="270474"/>
          </a:xfrm>
          <a:prstGeom prst="rect">
            <a:avLst/>
          </a:prstGeom>
        </p:spPr>
      </p:pic>
      <p:pic>
        <p:nvPicPr>
          <p:cNvPr id="135" name="Picture 134">
            <a:extLst>
              <a:ext uri="{FF2B5EF4-FFF2-40B4-BE49-F238E27FC236}">
                <a16:creationId xmlns:a16="http://schemas.microsoft.com/office/drawing/2014/main" id="{33AD7EB5-6FC3-4509-8550-D4580FE59C14}"/>
              </a:ext>
            </a:extLst>
          </p:cNvPr>
          <p:cNvPicPr>
            <a:picLocks/>
          </p:cNvPicPr>
          <p:nvPr/>
        </p:nvPicPr>
        <p:blipFill>
          <a:blip r:embed="rId36" cstate="email">
            <a:extLst>
              <a:ext uri="{28A0092B-C50C-407E-A947-70E740481C1C}">
                <a14:useLocalDpi xmlns:a14="http://schemas.microsoft.com/office/drawing/2010/main"/>
              </a:ext>
            </a:extLst>
          </a:blip>
          <a:stretch>
            <a:fillRect/>
          </a:stretch>
        </p:blipFill>
        <p:spPr>
          <a:xfrm>
            <a:off x="8245431" y="5641987"/>
            <a:ext cx="556364" cy="357731"/>
          </a:xfrm>
          <a:prstGeom prst="rect">
            <a:avLst/>
          </a:prstGeom>
        </p:spPr>
      </p:pic>
      <p:pic>
        <p:nvPicPr>
          <p:cNvPr id="136" name="Picture 135">
            <a:extLst>
              <a:ext uri="{FF2B5EF4-FFF2-40B4-BE49-F238E27FC236}">
                <a16:creationId xmlns:a16="http://schemas.microsoft.com/office/drawing/2014/main" id="{944048AB-3063-45EC-B35C-407C74892898}"/>
              </a:ext>
            </a:extLst>
          </p:cNvPr>
          <p:cNvPicPr>
            <a:picLocks/>
          </p:cNvPicPr>
          <p:nvPr/>
        </p:nvPicPr>
        <p:blipFill>
          <a:blip r:embed="rId37" cstate="email">
            <a:extLst>
              <a:ext uri="{28A0092B-C50C-407E-A947-70E740481C1C}">
                <a14:useLocalDpi xmlns:a14="http://schemas.microsoft.com/office/drawing/2010/main"/>
              </a:ext>
            </a:extLst>
          </a:blip>
          <a:stretch>
            <a:fillRect/>
          </a:stretch>
        </p:blipFill>
        <p:spPr>
          <a:xfrm>
            <a:off x="8369234" y="6207919"/>
            <a:ext cx="396000" cy="360000"/>
          </a:xfrm>
          <a:prstGeom prst="rect">
            <a:avLst/>
          </a:prstGeom>
        </p:spPr>
      </p:pic>
      <p:pic>
        <p:nvPicPr>
          <p:cNvPr id="137" name="Picture 136">
            <a:extLst>
              <a:ext uri="{FF2B5EF4-FFF2-40B4-BE49-F238E27FC236}">
                <a16:creationId xmlns:a16="http://schemas.microsoft.com/office/drawing/2014/main" id="{26EF0A1B-90E0-4549-99F1-05369484CB4F}"/>
              </a:ext>
            </a:extLst>
          </p:cNvPr>
          <p:cNvPicPr>
            <a:picLocks/>
          </p:cNvPicPr>
          <p:nvPr/>
        </p:nvPicPr>
        <p:blipFill>
          <a:blip r:embed="rId38" cstate="email">
            <a:extLst>
              <a:ext uri="{BEBA8EAE-BF5A-486C-A8C5-ECC9F3942E4B}">
                <a14:imgProps xmlns:a14="http://schemas.microsoft.com/office/drawing/2010/main">
                  <a14:imgLayer r:embed="rId39">
                    <a14:imgEffect>
                      <a14:saturation sat="0"/>
                    </a14:imgEffect>
                  </a14:imgLayer>
                </a14:imgProps>
              </a:ext>
              <a:ext uri="{28A0092B-C50C-407E-A947-70E740481C1C}">
                <a14:useLocalDpi xmlns:a14="http://schemas.microsoft.com/office/drawing/2010/main"/>
              </a:ext>
            </a:extLst>
          </a:blip>
          <a:stretch>
            <a:fillRect/>
          </a:stretch>
        </p:blipFill>
        <p:spPr>
          <a:xfrm>
            <a:off x="9118601" y="6253098"/>
            <a:ext cx="648000" cy="319290"/>
          </a:xfrm>
          <a:prstGeom prst="rect">
            <a:avLst/>
          </a:prstGeom>
        </p:spPr>
      </p:pic>
      <p:pic>
        <p:nvPicPr>
          <p:cNvPr id="138" name="Picture 137">
            <a:extLst>
              <a:ext uri="{FF2B5EF4-FFF2-40B4-BE49-F238E27FC236}">
                <a16:creationId xmlns:a16="http://schemas.microsoft.com/office/drawing/2014/main" id="{9DF5D78F-3F79-4A24-84AA-501BE59B8D98}"/>
              </a:ext>
            </a:extLst>
          </p:cNvPr>
          <p:cNvPicPr>
            <a:picLocks/>
          </p:cNvPicPr>
          <p:nvPr/>
        </p:nvPicPr>
        <p:blipFill>
          <a:blip r:embed="rId40" cstate="email">
            <a:extLst>
              <a:ext uri="{28A0092B-C50C-407E-A947-70E740481C1C}">
                <a14:useLocalDpi xmlns:a14="http://schemas.microsoft.com/office/drawing/2010/main"/>
              </a:ext>
            </a:extLst>
          </a:blip>
          <a:stretch>
            <a:fillRect/>
          </a:stretch>
        </p:blipFill>
        <p:spPr>
          <a:xfrm>
            <a:off x="9324611" y="5702536"/>
            <a:ext cx="324000" cy="293366"/>
          </a:xfrm>
          <a:prstGeom prst="rect">
            <a:avLst/>
          </a:prstGeom>
        </p:spPr>
      </p:pic>
      <p:pic>
        <p:nvPicPr>
          <p:cNvPr id="139" name="Graphic 138">
            <a:extLst>
              <a:ext uri="{FF2B5EF4-FFF2-40B4-BE49-F238E27FC236}">
                <a16:creationId xmlns:a16="http://schemas.microsoft.com/office/drawing/2014/main" id="{A49FE8BD-DCC3-46A8-8B94-FAA33D731830}"/>
              </a:ext>
            </a:extLst>
          </p:cNvPr>
          <p:cNvPicPr>
            <a:picLocks/>
          </p:cNvPicPr>
          <p:nvPr/>
        </p:nvPicPr>
        <p:blipFill>
          <a:blip r:embed="rId41" cstate="email">
            <a:extLst>
              <a:ext uri="{28A0092B-C50C-407E-A947-70E740481C1C}">
                <a14:useLocalDpi xmlns:a14="http://schemas.microsoft.com/office/drawing/2010/main"/>
              </a:ext>
              <a:ext uri="{96DAC541-7B7A-43D3-8B79-37D633B846F1}">
                <asvg:svgBlip xmlns:asvg="http://schemas.microsoft.com/office/drawing/2016/SVG/main" r:embed="rId42"/>
              </a:ext>
            </a:extLst>
          </a:blip>
          <a:stretch>
            <a:fillRect/>
          </a:stretch>
        </p:blipFill>
        <p:spPr>
          <a:xfrm>
            <a:off x="8474311" y="4579173"/>
            <a:ext cx="192440" cy="174945"/>
          </a:xfrm>
          <a:prstGeom prst="rect">
            <a:avLst/>
          </a:prstGeom>
        </p:spPr>
      </p:pic>
      <p:sp>
        <p:nvSpPr>
          <p:cNvPr id="143" name="Rectangle 142">
            <a:extLst>
              <a:ext uri="{FF2B5EF4-FFF2-40B4-BE49-F238E27FC236}">
                <a16:creationId xmlns:a16="http://schemas.microsoft.com/office/drawing/2014/main" id="{4D9490D4-C07D-409A-84C8-954D00681D8E}"/>
              </a:ext>
            </a:extLst>
          </p:cNvPr>
          <p:cNvSpPr/>
          <p:nvPr/>
        </p:nvSpPr>
        <p:spPr>
          <a:xfrm>
            <a:off x="92295" y="4659782"/>
            <a:ext cx="2050599" cy="1849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50000"/>
              </a:lnSpc>
              <a:spcBef>
                <a:spcPts val="600"/>
              </a:spcBef>
              <a:spcAft>
                <a:spcPts val="1200"/>
              </a:spcAft>
              <a:buClr>
                <a:srgbClr val="E74E0F"/>
              </a:buClr>
              <a:buSzTx/>
              <a:buFontTx/>
              <a:buNone/>
              <a:tabLst/>
              <a:defRPr/>
            </a:pPr>
            <a:r>
              <a:rPr kumimoji="0" lang="fr-FR" sz="1600" b="1" i="1" u="none" strike="noStrike" kern="1200" cap="none" spc="0" normalizeH="0" baseline="0" noProof="0">
                <a:ln>
                  <a:noFill/>
                </a:ln>
                <a:solidFill>
                  <a:prstClr val="black"/>
                </a:solidFill>
                <a:effectLst/>
                <a:uLnTx/>
                <a:uFillTx/>
                <a:ea typeface="MS PGothic" pitchFamily="34" charset="-128"/>
                <a:cs typeface="Arial" charset="0"/>
              </a:rPr>
              <a:t>Les méthodes et outils principaux pour l’optimisation de processus</a:t>
            </a:r>
          </a:p>
        </p:txBody>
      </p:sp>
      <p:sp>
        <p:nvSpPr>
          <p:cNvPr id="4" name="TextBox 3">
            <a:extLst>
              <a:ext uri="{FF2B5EF4-FFF2-40B4-BE49-F238E27FC236}">
                <a16:creationId xmlns:a16="http://schemas.microsoft.com/office/drawing/2014/main" id="{C638260E-82C4-4627-9DEE-94784BC9C5AD}"/>
              </a:ext>
            </a:extLst>
          </p:cNvPr>
          <p:cNvSpPr txBox="1"/>
          <p:nvPr/>
        </p:nvSpPr>
        <p:spPr>
          <a:xfrm>
            <a:off x="243254" y="3214585"/>
            <a:ext cx="1972207" cy="738664"/>
          </a:xfrm>
          <a:prstGeom prst="rect">
            <a:avLst/>
          </a:prstGeom>
          <a:noFill/>
        </p:spPr>
        <p:txBody>
          <a:bodyPr wrap="square" rtlCol="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fr-FR" sz="1400" b="1" i="0" u="none" strike="noStrike" kern="1200" cap="none" spc="0" normalizeH="0" baseline="0" noProof="0">
                <a:ln>
                  <a:noFill/>
                </a:ln>
                <a:solidFill>
                  <a:prstClr val="black"/>
                </a:solidFill>
                <a:effectLst/>
                <a:uLnTx/>
                <a:uFillTx/>
                <a:ea typeface="+mn-ea"/>
                <a:cs typeface="Arial" charset="0"/>
              </a:rPr>
              <a:t>Irritants</a:t>
            </a:r>
          </a:p>
          <a:p>
            <a:pPr marL="0" marR="0" lvl="0" indent="0" algn="r" defTabSz="914400" rtl="0" eaLnBrk="1" fontAlgn="base" latinLnBrk="0" hangingPunct="1">
              <a:lnSpc>
                <a:spcPct val="100000"/>
              </a:lnSpc>
              <a:spcBef>
                <a:spcPct val="0"/>
              </a:spcBef>
              <a:spcAft>
                <a:spcPct val="0"/>
              </a:spcAft>
              <a:buClrTx/>
              <a:buSzTx/>
              <a:buFontTx/>
              <a:buNone/>
              <a:tabLst/>
              <a:defRPr/>
            </a:pPr>
            <a:r>
              <a:rPr kumimoji="0" lang="fr-FR" sz="1400" b="0" i="1" u="none" strike="noStrike" kern="1200" cap="none" spc="0" normalizeH="0" baseline="0" noProof="0">
                <a:ln>
                  <a:noFill/>
                </a:ln>
                <a:solidFill>
                  <a:prstClr val="black"/>
                </a:solidFill>
                <a:effectLst/>
                <a:uLnTx/>
                <a:uFillTx/>
                <a:ea typeface="+mn-ea"/>
                <a:cs typeface="Arial" charset="0"/>
              </a:rPr>
              <a:t>= dysfonctionnements du processus</a:t>
            </a:r>
          </a:p>
        </p:txBody>
      </p:sp>
      <p:sp>
        <p:nvSpPr>
          <p:cNvPr id="145" name="TextBox 144">
            <a:extLst>
              <a:ext uri="{FF2B5EF4-FFF2-40B4-BE49-F238E27FC236}">
                <a16:creationId xmlns:a16="http://schemas.microsoft.com/office/drawing/2014/main" id="{305818EA-0ECD-443B-91B8-DC0BB9A5DF97}"/>
              </a:ext>
            </a:extLst>
          </p:cNvPr>
          <p:cNvSpPr txBox="1"/>
          <p:nvPr/>
        </p:nvSpPr>
        <p:spPr>
          <a:xfrm>
            <a:off x="8023140" y="3146869"/>
            <a:ext cx="3519596" cy="1169551"/>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FR" sz="1400" b="1" i="0" u="none" strike="noStrike" kern="1200" cap="none" spc="0" normalizeH="0" baseline="0" noProof="0">
                <a:ln>
                  <a:noFill/>
                </a:ln>
                <a:solidFill>
                  <a:prstClr val="black"/>
                </a:solidFill>
                <a:effectLst/>
                <a:uLnTx/>
                <a:uFillTx/>
                <a:ea typeface="+mn-ea"/>
                <a:cs typeface="Arial" charset="0"/>
              </a:rPr>
              <a:t>Solutions</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fr-FR" sz="1400" b="0" i="1" u="none" strike="noStrike" kern="1200" cap="none" spc="0" normalizeH="0" baseline="0" noProof="0">
                <a:ln>
                  <a:noFill/>
                </a:ln>
                <a:solidFill>
                  <a:prstClr val="black"/>
                </a:solidFill>
                <a:effectLst/>
                <a:uLnTx/>
                <a:uFillTx/>
                <a:ea typeface="+mn-ea"/>
                <a:cs typeface="Arial" charset="0"/>
              </a:rPr>
              <a:t>Appelant la transformation : </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fr-FR" sz="1400" b="0" i="1" u="none" strike="noStrike" kern="1200" cap="none" spc="0" normalizeH="0" baseline="0" noProof="0">
                <a:ln>
                  <a:noFill/>
                </a:ln>
                <a:solidFill>
                  <a:prstClr val="black"/>
                </a:solidFill>
                <a:effectLst/>
                <a:uLnTx/>
                <a:uFillTx/>
                <a:ea typeface="+mn-ea"/>
                <a:cs typeface="Arial" charset="0"/>
              </a:rPr>
              <a:t>des processus, </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fr-FR" sz="1400" b="0" i="1" u="none" strike="noStrike" kern="1200" cap="none" spc="0" normalizeH="0" baseline="0" noProof="0">
                <a:ln>
                  <a:noFill/>
                </a:ln>
                <a:solidFill>
                  <a:prstClr val="black"/>
                </a:solidFill>
                <a:effectLst/>
                <a:uLnTx/>
                <a:uFillTx/>
                <a:ea typeface="+mn-ea"/>
                <a:cs typeface="Arial" charset="0"/>
              </a:rPr>
              <a:t>des organisations, </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fr-FR" sz="1400" b="0" i="1" u="none" strike="noStrike" kern="1200" cap="none" spc="0" normalizeH="0" baseline="0" noProof="0">
                <a:ln>
                  <a:noFill/>
                </a:ln>
                <a:solidFill>
                  <a:prstClr val="black"/>
                </a:solidFill>
                <a:effectLst/>
                <a:uLnTx/>
                <a:uFillTx/>
                <a:ea typeface="+mn-ea"/>
                <a:cs typeface="Arial" charset="0"/>
              </a:rPr>
              <a:t>des technologies </a:t>
            </a:r>
          </a:p>
        </p:txBody>
      </p:sp>
      <mc:AlternateContent xmlns:mc="http://schemas.openxmlformats.org/markup-compatibility/2006" xmlns:pslz="http://schemas.microsoft.com/office/powerpoint/2016/slidezoom">
        <mc:Choice Requires="pslz">
          <p:graphicFrame>
            <p:nvGraphicFramePr>
              <p:cNvPr id="7" name="Slide Zoom 6">
                <a:extLst>
                  <a:ext uri="{FF2B5EF4-FFF2-40B4-BE49-F238E27FC236}">
                    <a16:creationId xmlns:a16="http://schemas.microsoft.com/office/drawing/2014/main" id="{EAD38AAF-6E84-477E-B46C-6B4CBF879003}"/>
                  </a:ext>
                </a:extLst>
              </p:cNvPr>
              <p:cNvGraphicFramePr>
                <a:graphicFrameLocks noChangeAspect="1"/>
              </p:cNvGraphicFramePr>
              <p:nvPr/>
            </p:nvGraphicFramePr>
            <p:xfrm>
              <a:off x="10843440" y="3782937"/>
              <a:ext cx="1193591" cy="671395"/>
            </p:xfrm>
            <a:graphic>
              <a:graphicData uri="http://schemas.microsoft.com/office/powerpoint/2016/slidezoom">
                <pslz:sldZm>
                  <pslz:sldZmObj sldId="2808" cId="3274350114">
                    <pslz:zmPr id="{68C52E88-6C0B-4910-92F8-40D39E12826F}" returnToParent="0" transitionDur="1000">
                      <p166:blipFill xmlns:p166="http://schemas.microsoft.com/office/powerpoint/2016/6/main">
                        <a:blip r:embed="rId43"/>
                        <a:stretch>
                          <a:fillRect/>
                        </a:stretch>
                      </p166:blipFill>
                      <p166:spPr xmlns:p166="http://schemas.microsoft.com/office/powerpoint/2016/6/main">
                        <a:xfrm>
                          <a:off x="0" y="0"/>
                          <a:ext cx="1193591" cy="671395"/>
                        </a:xfrm>
                        <a:prstGeom prst="rect">
                          <a:avLst/>
                        </a:prstGeom>
                        <a:ln w="3175">
                          <a:solidFill>
                            <a:prstClr val="ltGray"/>
                          </a:solidFill>
                        </a:ln>
                      </p166:spPr>
                    </pslz:zmPr>
                  </pslz:sldZmObj>
                </pslz:sldZm>
              </a:graphicData>
            </a:graphic>
          </p:graphicFrame>
        </mc:Choice>
        <mc:Fallback xmlns="">
          <p:pic>
            <p:nvPicPr>
              <p:cNvPr id="7" name="Slide Zoom 6">
                <a:extLst>
                  <a:ext uri="{FF2B5EF4-FFF2-40B4-BE49-F238E27FC236}">
                    <a16:creationId xmlns:a16="http://schemas.microsoft.com/office/drawing/2014/main" id="{EAD38AAF-6E84-477E-B46C-6B4CBF879003}"/>
                  </a:ext>
                </a:extLst>
              </p:cNvPr>
              <p:cNvPicPr>
                <a:picLocks noGrp="1" noRot="1" noChangeAspect="1" noMove="1" noResize="1" noEditPoints="1" noAdjustHandles="1" noChangeArrowheads="1" noChangeShapeType="1"/>
              </p:cNvPicPr>
              <p:nvPr/>
            </p:nvPicPr>
            <p:blipFill>
              <a:blip r:embed="rId44" cstate="email">
                <a:extLst>
                  <a:ext uri="{28A0092B-C50C-407E-A947-70E740481C1C}">
                    <a14:useLocalDpi xmlns:a14="http://schemas.microsoft.com/office/drawing/2010/main"/>
                  </a:ext>
                </a:extLst>
              </a:blip>
              <a:stretch>
                <a:fillRect/>
              </a:stretch>
            </p:blipFill>
            <p:spPr>
              <a:xfrm>
                <a:off x="10843440" y="3782937"/>
                <a:ext cx="1193591" cy="671395"/>
              </a:xfrm>
              <a:prstGeom prst="rect">
                <a:avLst/>
              </a:prstGeom>
              <a:ln w="3175">
                <a:solidFill>
                  <a:prstClr val="ltGray"/>
                </a:solidFill>
              </a:ln>
            </p:spPr>
          </p:pic>
        </mc:Fallback>
      </mc:AlternateContent>
      <p:sp>
        <p:nvSpPr>
          <p:cNvPr id="8" name="Arrow: Right 7">
            <a:extLst>
              <a:ext uri="{FF2B5EF4-FFF2-40B4-BE49-F238E27FC236}">
                <a16:creationId xmlns:a16="http://schemas.microsoft.com/office/drawing/2014/main" id="{6F983155-105C-46FB-9FD9-C51439F6FD85}"/>
              </a:ext>
            </a:extLst>
          </p:cNvPr>
          <p:cNvSpPr/>
          <p:nvPr/>
        </p:nvSpPr>
        <p:spPr>
          <a:xfrm rot="16200000">
            <a:off x="11531759" y="4344120"/>
            <a:ext cx="391959" cy="244139"/>
          </a:xfrm>
          <a:prstGeom prst="rightArrow">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73050" marR="0" lvl="0" indent="-273050" algn="l" defTabSz="914400" rtl="0" eaLnBrk="1" fontAlgn="base" latinLnBrk="0" hangingPunct="1">
              <a:lnSpc>
                <a:spcPct val="100000"/>
              </a:lnSpc>
              <a:spcBef>
                <a:spcPts val="600"/>
              </a:spcBef>
              <a:spcAft>
                <a:spcPct val="0"/>
              </a:spcAft>
              <a:buClr>
                <a:srgbClr val="0070AD"/>
              </a:buClr>
              <a:buSzTx/>
              <a:buFont typeface="Wingdings" panose="05000000000000000000" pitchFamily="2" charset="2"/>
              <a:buChar char="§"/>
              <a:tabLst/>
              <a:defRPr/>
            </a:pPr>
            <a:endParaRPr kumimoji="0" lang="fr-FR" sz="1800" b="0" i="0" u="none" strike="noStrike" kern="1200" cap="none" spc="0" normalizeH="0" baseline="0" noProof="0">
              <a:ln>
                <a:noFill/>
              </a:ln>
              <a:solidFill>
                <a:prstClr val="black"/>
              </a:solidFill>
              <a:effectLst/>
              <a:uLnTx/>
              <a:uFillTx/>
              <a:ea typeface="+mn-ea"/>
              <a:cs typeface="+mn-cs"/>
            </a:endParaRPr>
          </a:p>
        </p:txBody>
      </p:sp>
      <p:sp>
        <p:nvSpPr>
          <p:cNvPr id="9" name="TextBox 8">
            <a:extLst>
              <a:ext uri="{FF2B5EF4-FFF2-40B4-BE49-F238E27FC236}">
                <a16:creationId xmlns:a16="http://schemas.microsoft.com/office/drawing/2014/main" id="{07C2A495-4F0A-4A2D-8530-A38812BD3E72}"/>
              </a:ext>
            </a:extLst>
          </p:cNvPr>
          <p:cNvSpPr txBox="1"/>
          <p:nvPr/>
        </p:nvSpPr>
        <p:spPr>
          <a:xfrm>
            <a:off x="10795431" y="3537751"/>
            <a:ext cx="1297150" cy="253916"/>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FR" sz="1050" b="0" i="1" u="none" strike="noStrike" kern="1200" cap="none" spc="0" normalizeH="0" baseline="0" noProof="0">
                <a:ln>
                  <a:noFill/>
                </a:ln>
                <a:solidFill>
                  <a:prstClr val="black"/>
                </a:solidFill>
                <a:effectLst/>
                <a:uLnTx/>
                <a:uFillTx/>
                <a:ea typeface="+mn-ea"/>
                <a:cs typeface="Arial" charset="0"/>
              </a:rPr>
              <a:t>Voir slide suivante</a:t>
            </a:r>
          </a:p>
        </p:txBody>
      </p:sp>
      <mc:AlternateContent xmlns:mc="http://schemas.openxmlformats.org/markup-compatibility/2006" xmlns:pslz="http://schemas.microsoft.com/office/powerpoint/2016/slidezoom">
        <mc:Choice Requires="pslz">
          <p:graphicFrame>
            <p:nvGraphicFramePr>
              <p:cNvPr id="10" name="Slide Zoom 9">
                <a:extLst>
                  <a:ext uri="{FF2B5EF4-FFF2-40B4-BE49-F238E27FC236}">
                    <a16:creationId xmlns:a16="http://schemas.microsoft.com/office/drawing/2014/main" id="{5B16F258-72C0-B06B-D15F-B78CC44BC471}"/>
                  </a:ext>
                </a:extLst>
              </p:cNvPr>
              <p:cNvGraphicFramePr>
                <a:graphicFrameLocks noChangeAspect="1"/>
              </p:cNvGraphicFramePr>
              <p:nvPr/>
            </p:nvGraphicFramePr>
            <p:xfrm>
              <a:off x="10843353" y="3778596"/>
              <a:ext cx="1201307" cy="675736"/>
            </p:xfrm>
            <a:graphic>
              <a:graphicData uri="http://schemas.microsoft.com/office/powerpoint/2016/slidezoom">
                <pslz:sldZm>
                  <pslz:sldZmObj sldId="2808" cId="3274350114">
                    <pslz:zmPr id="{3ABB4F9D-1040-4A4C-89CD-33A5B5461AC8}" returnToParent="0" transitionDur="1000">
                      <p166:blipFill xmlns:p166="http://schemas.microsoft.com/office/powerpoint/2016/6/main">
                        <a:blip r:embed="rId45"/>
                        <a:stretch>
                          <a:fillRect/>
                        </a:stretch>
                      </p166:blipFill>
                      <p166:spPr xmlns:p166="http://schemas.microsoft.com/office/powerpoint/2016/6/main">
                        <a:xfrm>
                          <a:off x="0" y="0"/>
                          <a:ext cx="1201307" cy="675736"/>
                        </a:xfrm>
                        <a:prstGeom prst="rect">
                          <a:avLst/>
                        </a:prstGeom>
                        <a:ln w="3175">
                          <a:solidFill>
                            <a:prstClr val="ltGray"/>
                          </a:solidFill>
                        </a:ln>
                      </p166:spPr>
                    </pslz:zmPr>
                  </pslz:sldZmObj>
                </pslz:sldZm>
              </a:graphicData>
            </a:graphic>
          </p:graphicFrame>
        </mc:Choice>
        <mc:Fallback xmlns="">
          <p:pic>
            <p:nvPicPr>
              <p:cNvPr id="10" name="Slide Zoom 9">
                <a:extLst>
                  <a:ext uri="{FF2B5EF4-FFF2-40B4-BE49-F238E27FC236}">
                    <a16:creationId xmlns:a16="http://schemas.microsoft.com/office/drawing/2014/main" id="{5B16F258-72C0-B06B-D15F-B78CC44BC471}"/>
                  </a:ext>
                </a:extLst>
              </p:cNvPr>
              <p:cNvPicPr>
                <a:picLocks noGrp="1" noRot="1" noChangeAspect="1" noMove="1" noResize="1" noEditPoints="1" noAdjustHandles="1" noChangeArrowheads="1" noChangeShapeType="1"/>
              </p:cNvPicPr>
              <p:nvPr/>
            </p:nvPicPr>
            <p:blipFill>
              <a:blip r:embed="rId46" cstate="email">
                <a:extLst>
                  <a:ext uri="{28A0092B-C50C-407E-A947-70E740481C1C}">
                    <a14:useLocalDpi xmlns:a14="http://schemas.microsoft.com/office/drawing/2010/main"/>
                  </a:ext>
                </a:extLst>
              </a:blip>
              <a:stretch>
                <a:fillRect/>
              </a:stretch>
            </p:blipFill>
            <p:spPr>
              <a:xfrm>
                <a:off x="10843353" y="3778596"/>
                <a:ext cx="1201307" cy="675736"/>
              </a:xfrm>
              <a:prstGeom prst="rect">
                <a:avLst/>
              </a:prstGeom>
              <a:ln w="3175">
                <a:solidFill>
                  <a:prstClr val="ltGray"/>
                </a:solidFill>
              </a:ln>
            </p:spPr>
          </p:pic>
        </mc:Fallback>
      </mc:AlternateContent>
    </p:spTree>
    <p:extLst>
      <p:ext uri="{BB962C8B-B14F-4D97-AF65-F5344CB8AC3E}">
        <p14:creationId xmlns:p14="http://schemas.microsoft.com/office/powerpoint/2010/main" val="154088239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 name="Title 107">
            <a:extLst>
              <a:ext uri="{FF2B5EF4-FFF2-40B4-BE49-F238E27FC236}">
                <a16:creationId xmlns:a16="http://schemas.microsoft.com/office/drawing/2014/main" id="{A5FFCCE8-21FE-4867-BE65-7E34C24F06E2}"/>
              </a:ext>
            </a:extLst>
          </p:cNvPr>
          <p:cNvSpPr>
            <a:spLocks noGrp="1"/>
          </p:cNvSpPr>
          <p:nvPr>
            <p:ph type="title"/>
          </p:nvPr>
        </p:nvSpPr>
        <p:spPr/>
        <p:txBody>
          <a:bodyPr vert="horz" lIns="0" tIns="216000" rIns="0" bIns="0" rtlCol="0" anchor="t">
            <a:noAutofit/>
          </a:bodyPr>
          <a:lstStyle/>
          <a:p>
            <a:pPr>
              <a:lnSpc>
                <a:spcPct val="90000"/>
              </a:lnSpc>
            </a:pPr>
            <a:r>
              <a:rPr lang="fr-FR">
                <a:solidFill>
                  <a:schemeClr val="tx1"/>
                </a:solidFill>
              </a:rPr>
              <a:t>Les solutions « Data &amp; Analytics » permettent l’optimisation des processus</a:t>
            </a:r>
          </a:p>
        </p:txBody>
      </p:sp>
      <p:grpSp>
        <p:nvGrpSpPr>
          <p:cNvPr id="2" name="Group 1">
            <a:extLst>
              <a:ext uri="{FF2B5EF4-FFF2-40B4-BE49-F238E27FC236}">
                <a16:creationId xmlns:a16="http://schemas.microsoft.com/office/drawing/2014/main" id="{B4DE9179-F14F-4881-9696-185E0A302CF1}"/>
              </a:ext>
            </a:extLst>
          </p:cNvPr>
          <p:cNvGrpSpPr/>
          <p:nvPr/>
        </p:nvGrpSpPr>
        <p:grpSpPr>
          <a:xfrm>
            <a:off x="1410389" y="1"/>
            <a:ext cx="10336854" cy="5117701"/>
            <a:chOff x="1710830" y="1465483"/>
            <a:chExt cx="9215859" cy="4562707"/>
          </a:xfrm>
        </p:grpSpPr>
        <p:grpSp>
          <p:nvGrpSpPr>
            <p:cNvPr id="73" name="Group 72">
              <a:extLst>
                <a:ext uri="{FF2B5EF4-FFF2-40B4-BE49-F238E27FC236}">
                  <a16:creationId xmlns:a16="http://schemas.microsoft.com/office/drawing/2014/main" id="{AF1C2BC1-12C4-49FA-BBCE-03FFCBDDAB29}"/>
                </a:ext>
              </a:extLst>
            </p:cNvPr>
            <p:cNvGrpSpPr/>
            <p:nvPr/>
          </p:nvGrpSpPr>
          <p:grpSpPr>
            <a:xfrm>
              <a:off x="1710830" y="2342349"/>
              <a:ext cx="9215859" cy="3685841"/>
              <a:chOff x="2257543" y="2133743"/>
              <a:chExt cx="10553654" cy="4220888"/>
            </a:xfrm>
          </p:grpSpPr>
          <p:sp>
            <p:nvSpPr>
              <p:cNvPr id="20" name="Rectangle 16">
                <a:extLst>
                  <a:ext uri="{FF2B5EF4-FFF2-40B4-BE49-F238E27FC236}">
                    <a16:creationId xmlns:a16="http://schemas.microsoft.com/office/drawing/2014/main" id="{8D6E8A41-7C20-411C-B1C8-62E8E9518301}"/>
                  </a:ext>
                </a:extLst>
              </p:cNvPr>
              <p:cNvSpPr>
                <a:spLocks noChangeArrowheads="1"/>
              </p:cNvSpPr>
              <p:nvPr/>
            </p:nvSpPr>
            <p:spPr bwMode="auto">
              <a:xfrm>
                <a:off x="4056778" y="4950662"/>
                <a:ext cx="975052" cy="608891"/>
              </a:xfrm>
              <a:prstGeom prst="rect">
                <a:avLst/>
              </a:prstGeom>
              <a:solidFill>
                <a:srgbClr val="E7F6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050" b="0" i="0" u="none" strike="noStrike" kern="1200" cap="none" spc="0" normalizeH="0" baseline="0" noProof="0">
                  <a:ln>
                    <a:noFill/>
                  </a:ln>
                  <a:solidFill>
                    <a:prstClr val="black"/>
                  </a:solidFill>
                  <a:effectLst/>
                  <a:uLnTx/>
                  <a:uFillTx/>
                  <a:ea typeface="+mn-ea"/>
                  <a:cs typeface="Arial" charset="0"/>
                </a:endParaRPr>
              </a:p>
            </p:txBody>
          </p:sp>
          <p:sp>
            <p:nvSpPr>
              <p:cNvPr id="3" name="Rectangle 19">
                <a:extLst>
                  <a:ext uri="{FF2B5EF4-FFF2-40B4-BE49-F238E27FC236}">
                    <a16:creationId xmlns:a16="http://schemas.microsoft.com/office/drawing/2014/main" id="{363142DF-B80E-4FBB-9EAC-8137C251A0BE}"/>
                  </a:ext>
                </a:extLst>
              </p:cNvPr>
              <p:cNvSpPr>
                <a:spLocks noChangeArrowheads="1"/>
              </p:cNvSpPr>
              <p:nvPr/>
            </p:nvSpPr>
            <p:spPr bwMode="auto">
              <a:xfrm>
                <a:off x="8915180" y="3589887"/>
                <a:ext cx="975052" cy="1969663"/>
              </a:xfrm>
              <a:prstGeom prst="rect">
                <a:avLst/>
              </a:pr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050" b="0" i="0" u="none" strike="noStrike" kern="1200" cap="none" spc="0" normalizeH="0" baseline="0" noProof="0">
                  <a:ln>
                    <a:noFill/>
                  </a:ln>
                  <a:solidFill>
                    <a:prstClr val="black"/>
                  </a:solidFill>
                  <a:effectLst/>
                  <a:uLnTx/>
                  <a:uFillTx/>
                  <a:ea typeface="+mn-ea"/>
                  <a:cs typeface="Arial" charset="0"/>
                </a:endParaRPr>
              </a:p>
            </p:txBody>
          </p:sp>
          <p:sp>
            <p:nvSpPr>
              <p:cNvPr id="4" name="Rectangle 20">
                <a:extLst>
                  <a:ext uri="{FF2B5EF4-FFF2-40B4-BE49-F238E27FC236}">
                    <a16:creationId xmlns:a16="http://schemas.microsoft.com/office/drawing/2014/main" id="{37576E87-7B17-4AD0-AC5C-516A07A05EAA}"/>
                  </a:ext>
                </a:extLst>
              </p:cNvPr>
              <p:cNvSpPr>
                <a:spLocks noChangeArrowheads="1"/>
              </p:cNvSpPr>
              <p:nvPr/>
            </p:nvSpPr>
            <p:spPr bwMode="auto">
              <a:xfrm>
                <a:off x="10063944" y="5670262"/>
                <a:ext cx="1545059" cy="550994"/>
              </a:xfrm>
              <a:prstGeom prst="rect">
                <a:avLst/>
              </a:pr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050" b="0" i="0" u="none" strike="noStrike" kern="1200" cap="none" spc="0" normalizeH="0" baseline="0" noProof="0">
                  <a:ln>
                    <a:noFill/>
                  </a:ln>
                  <a:solidFill>
                    <a:srgbClr val="FFFFFF"/>
                  </a:solidFill>
                  <a:effectLst/>
                  <a:uLnTx/>
                  <a:uFillTx/>
                  <a:ea typeface="+mn-ea"/>
                  <a:cs typeface="Arial" charset="0"/>
                </a:endParaRPr>
              </a:p>
            </p:txBody>
          </p:sp>
          <p:sp>
            <p:nvSpPr>
              <p:cNvPr id="5" name="Rectangle 16">
                <a:extLst>
                  <a:ext uri="{FF2B5EF4-FFF2-40B4-BE49-F238E27FC236}">
                    <a16:creationId xmlns:a16="http://schemas.microsoft.com/office/drawing/2014/main" id="{38D634C2-EF97-4EC0-97B8-800E705B589A}"/>
                  </a:ext>
                </a:extLst>
              </p:cNvPr>
              <p:cNvSpPr>
                <a:spLocks noChangeArrowheads="1"/>
              </p:cNvSpPr>
              <p:nvPr/>
            </p:nvSpPr>
            <p:spPr bwMode="auto">
              <a:xfrm>
                <a:off x="5030356" y="4789502"/>
                <a:ext cx="975052" cy="770050"/>
              </a:xfrm>
              <a:prstGeom prst="rect">
                <a:avLst/>
              </a:pr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050" b="0" i="0" u="none" strike="noStrike" kern="1200" cap="none" spc="0" normalizeH="0" baseline="0" noProof="0">
                  <a:ln>
                    <a:noFill/>
                  </a:ln>
                  <a:solidFill>
                    <a:prstClr val="black"/>
                  </a:solidFill>
                  <a:effectLst/>
                  <a:uLnTx/>
                  <a:uFillTx/>
                  <a:ea typeface="+mn-ea"/>
                  <a:cs typeface="Arial" charset="0"/>
                </a:endParaRPr>
              </a:p>
            </p:txBody>
          </p:sp>
          <p:sp>
            <p:nvSpPr>
              <p:cNvPr id="6" name="Rectangle 17">
                <a:extLst>
                  <a:ext uri="{FF2B5EF4-FFF2-40B4-BE49-F238E27FC236}">
                    <a16:creationId xmlns:a16="http://schemas.microsoft.com/office/drawing/2014/main" id="{293691E7-ACB2-4A5E-A6E1-46B79F6A00D3}"/>
                  </a:ext>
                </a:extLst>
              </p:cNvPr>
              <p:cNvSpPr>
                <a:spLocks noChangeArrowheads="1"/>
              </p:cNvSpPr>
              <p:nvPr/>
            </p:nvSpPr>
            <p:spPr bwMode="auto">
              <a:xfrm>
                <a:off x="6005409" y="4594312"/>
                <a:ext cx="973418" cy="965241"/>
              </a:xfrm>
              <a:prstGeom prst="rect">
                <a:avLst/>
              </a:prstGeom>
              <a:solidFill>
                <a:schemeClr val="accent1">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050" b="0" i="0" u="none" strike="noStrike" kern="1200" cap="none" spc="0" normalizeH="0" baseline="0" noProof="0">
                  <a:ln>
                    <a:noFill/>
                  </a:ln>
                  <a:solidFill>
                    <a:prstClr val="black"/>
                  </a:solidFill>
                  <a:effectLst/>
                  <a:uLnTx/>
                  <a:uFillTx/>
                  <a:ea typeface="+mn-ea"/>
                  <a:cs typeface="Arial" charset="0"/>
                </a:endParaRPr>
              </a:p>
            </p:txBody>
          </p:sp>
          <p:sp>
            <p:nvSpPr>
              <p:cNvPr id="7" name="Rectangle 18">
                <a:extLst>
                  <a:ext uri="{FF2B5EF4-FFF2-40B4-BE49-F238E27FC236}">
                    <a16:creationId xmlns:a16="http://schemas.microsoft.com/office/drawing/2014/main" id="{25EB84A6-693C-4428-93C2-24830A0287A4}"/>
                  </a:ext>
                </a:extLst>
              </p:cNvPr>
              <p:cNvSpPr>
                <a:spLocks noChangeArrowheads="1"/>
              </p:cNvSpPr>
              <p:nvPr/>
            </p:nvSpPr>
            <p:spPr bwMode="auto">
              <a:xfrm>
                <a:off x="6978828" y="4399125"/>
                <a:ext cx="973418" cy="1160431"/>
              </a:xfrm>
              <a:prstGeom prst="rect">
                <a:avLst/>
              </a:pr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050" b="0" i="0" u="none" strike="noStrike" kern="1200" cap="none" spc="0" normalizeH="0" baseline="0" noProof="0">
                  <a:ln>
                    <a:noFill/>
                  </a:ln>
                  <a:solidFill>
                    <a:prstClr val="black"/>
                  </a:solidFill>
                  <a:effectLst/>
                  <a:uLnTx/>
                  <a:uFillTx/>
                  <a:ea typeface="+mn-ea"/>
                  <a:cs typeface="Arial" charset="0"/>
                </a:endParaRPr>
              </a:p>
            </p:txBody>
          </p:sp>
          <p:sp>
            <p:nvSpPr>
              <p:cNvPr id="8" name="Rectangle 19">
                <a:extLst>
                  <a:ext uri="{FF2B5EF4-FFF2-40B4-BE49-F238E27FC236}">
                    <a16:creationId xmlns:a16="http://schemas.microsoft.com/office/drawing/2014/main" id="{C7A98D2E-737F-44D5-891B-5A4B12478CE1}"/>
                  </a:ext>
                </a:extLst>
              </p:cNvPr>
              <p:cNvSpPr>
                <a:spLocks noChangeArrowheads="1"/>
              </p:cNvSpPr>
              <p:nvPr/>
            </p:nvSpPr>
            <p:spPr bwMode="auto">
              <a:xfrm>
                <a:off x="7946517" y="4069113"/>
                <a:ext cx="975052" cy="1490440"/>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050" b="0" i="0" u="none" strike="noStrike" kern="1200" cap="none" spc="0" normalizeH="0" baseline="0" noProof="0">
                  <a:ln>
                    <a:noFill/>
                  </a:ln>
                  <a:solidFill>
                    <a:prstClr val="black"/>
                  </a:solidFill>
                  <a:effectLst/>
                  <a:uLnTx/>
                  <a:uFillTx/>
                  <a:ea typeface="+mn-ea"/>
                  <a:cs typeface="Arial" charset="0"/>
                </a:endParaRPr>
              </a:p>
            </p:txBody>
          </p:sp>
          <p:sp>
            <p:nvSpPr>
              <p:cNvPr id="9" name="Rectangle 20">
                <a:extLst>
                  <a:ext uri="{FF2B5EF4-FFF2-40B4-BE49-F238E27FC236}">
                    <a16:creationId xmlns:a16="http://schemas.microsoft.com/office/drawing/2014/main" id="{A34D00ED-1BE4-465A-83B3-33887F2999C5}"/>
                  </a:ext>
                </a:extLst>
              </p:cNvPr>
              <p:cNvSpPr>
                <a:spLocks noChangeArrowheads="1"/>
              </p:cNvSpPr>
              <p:nvPr/>
            </p:nvSpPr>
            <p:spPr bwMode="auto">
              <a:xfrm>
                <a:off x="8518782" y="5670264"/>
                <a:ext cx="1545059" cy="550994"/>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050" b="0" i="0" u="none" strike="noStrike" kern="1200" cap="none" spc="0" normalizeH="0" baseline="0" noProof="0">
                  <a:ln>
                    <a:noFill/>
                  </a:ln>
                  <a:solidFill>
                    <a:prstClr val="black"/>
                  </a:solidFill>
                  <a:effectLst/>
                  <a:uLnTx/>
                  <a:uFillTx/>
                  <a:ea typeface="+mn-ea"/>
                  <a:cs typeface="Arial" charset="0"/>
                </a:endParaRPr>
              </a:p>
            </p:txBody>
          </p:sp>
          <p:sp>
            <p:nvSpPr>
              <p:cNvPr id="10" name="Rectangle 21">
                <a:extLst>
                  <a:ext uri="{FF2B5EF4-FFF2-40B4-BE49-F238E27FC236}">
                    <a16:creationId xmlns:a16="http://schemas.microsoft.com/office/drawing/2014/main" id="{AD93207C-2BDA-491B-AC25-94C7D96C4B70}"/>
                  </a:ext>
                </a:extLst>
              </p:cNvPr>
              <p:cNvSpPr>
                <a:spLocks noChangeArrowheads="1"/>
              </p:cNvSpPr>
              <p:nvPr/>
            </p:nvSpPr>
            <p:spPr bwMode="auto">
              <a:xfrm>
                <a:off x="6978828" y="5670264"/>
                <a:ext cx="1546693" cy="550994"/>
              </a:xfrm>
              <a:prstGeom prst="rect">
                <a:avLst/>
              </a:pr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050" b="0" i="0" u="none" strike="noStrike" kern="1200" cap="none" spc="0" normalizeH="0" baseline="0" noProof="0">
                  <a:ln>
                    <a:noFill/>
                  </a:ln>
                  <a:solidFill>
                    <a:prstClr val="black"/>
                  </a:solidFill>
                  <a:effectLst/>
                  <a:uLnTx/>
                  <a:uFillTx/>
                  <a:ea typeface="+mn-ea"/>
                  <a:cs typeface="Arial" charset="0"/>
                </a:endParaRPr>
              </a:p>
            </p:txBody>
          </p:sp>
          <p:sp>
            <p:nvSpPr>
              <p:cNvPr id="11" name="Rectangle 22">
                <a:extLst>
                  <a:ext uri="{FF2B5EF4-FFF2-40B4-BE49-F238E27FC236}">
                    <a16:creationId xmlns:a16="http://schemas.microsoft.com/office/drawing/2014/main" id="{F6615DA8-69FC-4F48-A3B9-F50AE717AB62}"/>
                  </a:ext>
                </a:extLst>
              </p:cNvPr>
              <p:cNvSpPr>
                <a:spLocks noChangeArrowheads="1"/>
              </p:cNvSpPr>
              <p:nvPr/>
            </p:nvSpPr>
            <p:spPr bwMode="auto">
              <a:xfrm>
                <a:off x="5433769" y="5670264"/>
                <a:ext cx="1545059" cy="550994"/>
              </a:xfrm>
              <a:prstGeom prst="rect">
                <a:avLst/>
              </a:prstGeom>
              <a:solidFill>
                <a:schemeClr val="accent1">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050" b="0" i="0" u="none" strike="noStrike" kern="1200" cap="none" spc="0" normalizeH="0" baseline="0" noProof="0">
                  <a:ln>
                    <a:noFill/>
                  </a:ln>
                  <a:solidFill>
                    <a:prstClr val="black"/>
                  </a:solidFill>
                  <a:effectLst/>
                  <a:uLnTx/>
                  <a:uFillTx/>
                  <a:ea typeface="+mn-ea"/>
                  <a:cs typeface="Arial" charset="0"/>
                </a:endParaRPr>
              </a:p>
            </p:txBody>
          </p:sp>
          <p:sp>
            <p:nvSpPr>
              <p:cNvPr id="12" name="Rectangle 23">
                <a:extLst>
                  <a:ext uri="{FF2B5EF4-FFF2-40B4-BE49-F238E27FC236}">
                    <a16:creationId xmlns:a16="http://schemas.microsoft.com/office/drawing/2014/main" id="{3B798A2A-0D02-4E8A-8441-A23F3AD1C8F0}"/>
                  </a:ext>
                </a:extLst>
              </p:cNvPr>
              <p:cNvSpPr>
                <a:spLocks noChangeArrowheads="1"/>
              </p:cNvSpPr>
              <p:nvPr/>
            </p:nvSpPr>
            <p:spPr bwMode="auto">
              <a:xfrm>
                <a:off x="3887078" y="5670264"/>
                <a:ext cx="1546693" cy="550994"/>
              </a:xfrm>
              <a:prstGeom prst="rect">
                <a:avLst/>
              </a:pr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050" b="0" i="0" u="none" strike="noStrike" kern="1200" cap="none" spc="0" normalizeH="0" baseline="0" noProof="0">
                  <a:ln>
                    <a:noFill/>
                  </a:ln>
                  <a:solidFill>
                    <a:prstClr val="black"/>
                  </a:solidFill>
                  <a:effectLst/>
                  <a:uLnTx/>
                  <a:uFillTx/>
                  <a:ea typeface="+mn-ea"/>
                  <a:cs typeface="Arial" charset="0"/>
                </a:endParaRPr>
              </a:p>
            </p:txBody>
          </p:sp>
          <p:sp>
            <p:nvSpPr>
              <p:cNvPr id="14" name="Freeform 26">
                <a:extLst>
                  <a:ext uri="{FF2B5EF4-FFF2-40B4-BE49-F238E27FC236}">
                    <a16:creationId xmlns:a16="http://schemas.microsoft.com/office/drawing/2014/main" id="{22124BB7-6BD5-4EF0-BC3D-3DDA0E9FB12F}"/>
                  </a:ext>
                </a:extLst>
              </p:cNvPr>
              <p:cNvSpPr>
                <a:spLocks/>
              </p:cNvSpPr>
              <p:nvPr/>
            </p:nvSpPr>
            <p:spPr bwMode="auto">
              <a:xfrm>
                <a:off x="8428880" y="5548760"/>
                <a:ext cx="3188055" cy="122180"/>
              </a:xfrm>
              <a:custGeom>
                <a:avLst/>
                <a:gdLst>
                  <a:gd name="T0" fmla="*/ 1297 w 1297"/>
                  <a:gd name="T1" fmla="*/ 559 h 559"/>
                  <a:gd name="T2" fmla="*/ 597 w 1297"/>
                  <a:gd name="T3" fmla="*/ 0 h 559"/>
                  <a:gd name="T4" fmla="*/ 0 w 1297"/>
                  <a:gd name="T5" fmla="*/ 0 h 559"/>
                  <a:gd name="T6" fmla="*/ 351 w 1297"/>
                  <a:gd name="T7" fmla="*/ 559 h 559"/>
                  <a:gd name="T8" fmla="*/ 1297 w 1297"/>
                  <a:gd name="T9" fmla="*/ 559 h 559"/>
                </a:gdLst>
                <a:ahLst/>
                <a:cxnLst>
                  <a:cxn ang="0">
                    <a:pos x="T0" y="T1"/>
                  </a:cxn>
                  <a:cxn ang="0">
                    <a:pos x="T2" y="T3"/>
                  </a:cxn>
                  <a:cxn ang="0">
                    <a:pos x="T4" y="T5"/>
                  </a:cxn>
                  <a:cxn ang="0">
                    <a:pos x="T6" y="T7"/>
                  </a:cxn>
                  <a:cxn ang="0">
                    <a:pos x="T8" y="T9"/>
                  </a:cxn>
                </a:cxnLst>
                <a:rect l="0" t="0" r="r" b="b"/>
                <a:pathLst>
                  <a:path w="1297" h="559">
                    <a:moveTo>
                      <a:pt x="1297" y="559"/>
                    </a:moveTo>
                    <a:lnTo>
                      <a:pt x="597" y="0"/>
                    </a:lnTo>
                    <a:lnTo>
                      <a:pt x="0" y="0"/>
                    </a:lnTo>
                    <a:lnTo>
                      <a:pt x="351" y="559"/>
                    </a:lnTo>
                    <a:lnTo>
                      <a:pt x="1297" y="559"/>
                    </a:lnTo>
                    <a:close/>
                  </a:path>
                </a:pathLst>
              </a:custGeom>
              <a:solidFill>
                <a:srgbClr val="001E2E"/>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050" b="0" i="0" u="none" strike="noStrike" kern="1200" cap="none" spc="0" normalizeH="0" baseline="0" noProof="0">
                  <a:ln>
                    <a:noFill/>
                  </a:ln>
                  <a:solidFill>
                    <a:prstClr val="black"/>
                  </a:solidFill>
                  <a:effectLst/>
                  <a:uLnTx/>
                  <a:uFillTx/>
                  <a:ea typeface="+mn-ea"/>
                  <a:cs typeface="Arial" charset="0"/>
                </a:endParaRPr>
              </a:p>
            </p:txBody>
          </p:sp>
          <p:sp>
            <p:nvSpPr>
              <p:cNvPr id="15" name="Freeform 24">
                <a:extLst>
                  <a:ext uri="{FF2B5EF4-FFF2-40B4-BE49-F238E27FC236}">
                    <a16:creationId xmlns:a16="http://schemas.microsoft.com/office/drawing/2014/main" id="{64AF0F6D-FB8D-4855-9012-700D73F3A72A}"/>
                  </a:ext>
                </a:extLst>
              </p:cNvPr>
              <p:cNvSpPr>
                <a:spLocks/>
              </p:cNvSpPr>
              <p:nvPr/>
            </p:nvSpPr>
            <p:spPr bwMode="auto">
              <a:xfrm>
                <a:off x="2333713" y="5548875"/>
                <a:ext cx="3218471" cy="122399"/>
              </a:xfrm>
              <a:custGeom>
                <a:avLst/>
                <a:gdLst>
                  <a:gd name="T0" fmla="*/ 0 w 1297"/>
                  <a:gd name="T1" fmla="*/ 559 h 559"/>
                  <a:gd name="T2" fmla="*/ 700 w 1297"/>
                  <a:gd name="T3" fmla="*/ 0 h 559"/>
                  <a:gd name="T4" fmla="*/ 1297 w 1297"/>
                  <a:gd name="T5" fmla="*/ 0 h 559"/>
                  <a:gd name="T6" fmla="*/ 947 w 1297"/>
                  <a:gd name="T7" fmla="*/ 559 h 559"/>
                  <a:gd name="T8" fmla="*/ 0 w 1297"/>
                  <a:gd name="T9" fmla="*/ 559 h 559"/>
                </a:gdLst>
                <a:ahLst/>
                <a:cxnLst>
                  <a:cxn ang="0">
                    <a:pos x="T0" y="T1"/>
                  </a:cxn>
                  <a:cxn ang="0">
                    <a:pos x="T2" y="T3"/>
                  </a:cxn>
                  <a:cxn ang="0">
                    <a:pos x="T4" y="T5"/>
                  </a:cxn>
                  <a:cxn ang="0">
                    <a:pos x="T6" y="T7"/>
                  </a:cxn>
                  <a:cxn ang="0">
                    <a:pos x="T8" y="T9"/>
                  </a:cxn>
                </a:cxnLst>
                <a:rect l="0" t="0" r="r" b="b"/>
                <a:pathLst>
                  <a:path w="1297" h="559">
                    <a:moveTo>
                      <a:pt x="0" y="559"/>
                    </a:moveTo>
                    <a:lnTo>
                      <a:pt x="700" y="0"/>
                    </a:lnTo>
                    <a:lnTo>
                      <a:pt x="1297" y="0"/>
                    </a:lnTo>
                    <a:lnTo>
                      <a:pt x="947" y="559"/>
                    </a:lnTo>
                    <a:lnTo>
                      <a:pt x="0" y="559"/>
                    </a:lnTo>
                    <a:close/>
                  </a:path>
                </a:pathLst>
              </a:custGeom>
              <a:solidFill>
                <a:srgbClr val="BCE7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050" b="0" i="0" u="none" strike="noStrike" kern="1200" cap="none" spc="0" normalizeH="0" baseline="0" noProof="0">
                  <a:ln>
                    <a:noFill/>
                  </a:ln>
                  <a:solidFill>
                    <a:prstClr val="black"/>
                  </a:solidFill>
                  <a:effectLst/>
                  <a:uLnTx/>
                  <a:uFillTx/>
                  <a:ea typeface="+mn-ea"/>
                  <a:cs typeface="Arial" charset="0"/>
                </a:endParaRPr>
              </a:p>
            </p:txBody>
          </p:sp>
          <p:sp>
            <p:nvSpPr>
              <p:cNvPr id="16" name="Freeform 24">
                <a:extLst>
                  <a:ext uri="{FF2B5EF4-FFF2-40B4-BE49-F238E27FC236}">
                    <a16:creationId xmlns:a16="http://schemas.microsoft.com/office/drawing/2014/main" id="{44946EF1-F5DE-40F0-B8FA-D79D1A612729}"/>
                  </a:ext>
                </a:extLst>
              </p:cNvPr>
              <p:cNvSpPr>
                <a:spLocks/>
              </p:cNvSpPr>
              <p:nvPr/>
            </p:nvSpPr>
            <p:spPr bwMode="auto">
              <a:xfrm>
                <a:off x="3887078" y="5548760"/>
                <a:ext cx="2118332" cy="122180"/>
              </a:xfrm>
              <a:custGeom>
                <a:avLst/>
                <a:gdLst>
                  <a:gd name="T0" fmla="*/ 0 w 1297"/>
                  <a:gd name="T1" fmla="*/ 559 h 559"/>
                  <a:gd name="T2" fmla="*/ 700 w 1297"/>
                  <a:gd name="T3" fmla="*/ 0 h 559"/>
                  <a:gd name="T4" fmla="*/ 1297 w 1297"/>
                  <a:gd name="T5" fmla="*/ 0 h 559"/>
                  <a:gd name="T6" fmla="*/ 947 w 1297"/>
                  <a:gd name="T7" fmla="*/ 559 h 559"/>
                  <a:gd name="T8" fmla="*/ 0 w 1297"/>
                  <a:gd name="T9" fmla="*/ 559 h 559"/>
                </a:gdLst>
                <a:ahLst/>
                <a:cxnLst>
                  <a:cxn ang="0">
                    <a:pos x="T0" y="T1"/>
                  </a:cxn>
                  <a:cxn ang="0">
                    <a:pos x="T2" y="T3"/>
                  </a:cxn>
                  <a:cxn ang="0">
                    <a:pos x="T4" y="T5"/>
                  </a:cxn>
                  <a:cxn ang="0">
                    <a:pos x="T6" y="T7"/>
                  </a:cxn>
                  <a:cxn ang="0">
                    <a:pos x="T8" y="T9"/>
                  </a:cxn>
                </a:cxnLst>
                <a:rect l="0" t="0" r="r" b="b"/>
                <a:pathLst>
                  <a:path w="1297" h="559">
                    <a:moveTo>
                      <a:pt x="0" y="559"/>
                    </a:moveTo>
                    <a:lnTo>
                      <a:pt x="700" y="0"/>
                    </a:lnTo>
                    <a:lnTo>
                      <a:pt x="1297" y="0"/>
                    </a:lnTo>
                    <a:lnTo>
                      <a:pt x="947" y="559"/>
                    </a:lnTo>
                    <a:lnTo>
                      <a:pt x="0" y="559"/>
                    </a:lnTo>
                    <a:close/>
                  </a:path>
                </a:pathLst>
              </a:custGeom>
              <a:solidFill>
                <a:srgbClr val="78C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050" b="0" i="0" u="none" strike="noStrike" kern="1200" cap="none" spc="0" normalizeH="0" baseline="0" noProof="0">
                  <a:ln>
                    <a:noFill/>
                  </a:ln>
                  <a:solidFill>
                    <a:prstClr val="black"/>
                  </a:solidFill>
                  <a:effectLst/>
                  <a:uLnTx/>
                  <a:uFillTx/>
                  <a:ea typeface="+mn-ea"/>
                  <a:cs typeface="Arial" charset="0"/>
                </a:endParaRPr>
              </a:p>
            </p:txBody>
          </p:sp>
          <p:sp>
            <p:nvSpPr>
              <p:cNvPr id="17" name="Freeform 25">
                <a:extLst>
                  <a:ext uri="{FF2B5EF4-FFF2-40B4-BE49-F238E27FC236}">
                    <a16:creationId xmlns:a16="http://schemas.microsoft.com/office/drawing/2014/main" id="{F8303BAB-2D8D-4576-95C6-BA5D8B708141}"/>
                  </a:ext>
                </a:extLst>
              </p:cNvPr>
              <p:cNvSpPr>
                <a:spLocks/>
              </p:cNvSpPr>
              <p:nvPr/>
            </p:nvSpPr>
            <p:spPr bwMode="auto">
              <a:xfrm>
                <a:off x="5433769" y="5548760"/>
                <a:ext cx="1545059" cy="122180"/>
              </a:xfrm>
              <a:custGeom>
                <a:avLst/>
                <a:gdLst>
                  <a:gd name="T0" fmla="*/ 350 w 946"/>
                  <a:gd name="T1" fmla="*/ 0 h 559"/>
                  <a:gd name="T2" fmla="*/ 946 w 946"/>
                  <a:gd name="T3" fmla="*/ 0 h 559"/>
                  <a:gd name="T4" fmla="*/ 946 w 946"/>
                  <a:gd name="T5" fmla="*/ 559 h 559"/>
                  <a:gd name="T6" fmla="*/ 0 w 946"/>
                  <a:gd name="T7" fmla="*/ 559 h 559"/>
                  <a:gd name="T8" fmla="*/ 350 w 946"/>
                  <a:gd name="T9" fmla="*/ 0 h 559"/>
                </a:gdLst>
                <a:ahLst/>
                <a:cxnLst>
                  <a:cxn ang="0">
                    <a:pos x="T0" y="T1"/>
                  </a:cxn>
                  <a:cxn ang="0">
                    <a:pos x="T2" y="T3"/>
                  </a:cxn>
                  <a:cxn ang="0">
                    <a:pos x="T4" y="T5"/>
                  </a:cxn>
                  <a:cxn ang="0">
                    <a:pos x="T6" y="T7"/>
                  </a:cxn>
                  <a:cxn ang="0">
                    <a:pos x="T8" y="T9"/>
                  </a:cxn>
                </a:cxnLst>
                <a:rect l="0" t="0" r="r" b="b"/>
                <a:pathLst>
                  <a:path w="946" h="559">
                    <a:moveTo>
                      <a:pt x="350" y="0"/>
                    </a:moveTo>
                    <a:lnTo>
                      <a:pt x="946" y="0"/>
                    </a:lnTo>
                    <a:lnTo>
                      <a:pt x="946" y="559"/>
                    </a:lnTo>
                    <a:lnTo>
                      <a:pt x="0" y="559"/>
                    </a:lnTo>
                    <a:lnTo>
                      <a:pt x="350" y="0"/>
                    </a:lnTo>
                    <a:close/>
                  </a:path>
                </a:pathLst>
              </a:custGeom>
              <a:solidFill>
                <a:srgbClr val="35B8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050" b="0" i="0" u="none" strike="noStrike" kern="1200" cap="none" spc="0" normalizeH="0" baseline="0" noProof="0">
                  <a:ln>
                    <a:noFill/>
                  </a:ln>
                  <a:solidFill>
                    <a:prstClr val="black"/>
                  </a:solidFill>
                  <a:effectLst/>
                  <a:uLnTx/>
                  <a:uFillTx/>
                  <a:ea typeface="+mn-ea"/>
                  <a:cs typeface="Arial" charset="0"/>
                </a:endParaRPr>
              </a:p>
            </p:txBody>
          </p:sp>
          <p:sp>
            <p:nvSpPr>
              <p:cNvPr id="18" name="Freeform 26">
                <a:extLst>
                  <a:ext uri="{FF2B5EF4-FFF2-40B4-BE49-F238E27FC236}">
                    <a16:creationId xmlns:a16="http://schemas.microsoft.com/office/drawing/2014/main" id="{E0450B49-B33E-4E1F-BA2C-16C16D7AC895}"/>
                  </a:ext>
                </a:extLst>
              </p:cNvPr>
              <p:cNvSpPr>
                <a:spLocks/>
              </p:cNvSpPr>
              <p:nvPr/>
            </p:nvSpPr>
            <p:spPr bwMode="auto">
              <a:xfrm>
                <a:off x="7945510" y="5548760"/>
                <a:ext cx="2118332" cy="122180"/>
              </a:xfrm>
              <a:custGeom>
                <a:avLst/>
                <a:gdLst>
                  <a:gd name="T0" fmla="*/ 1297 w 1297"/>
                  <a:gd name="T1" fmla="*/ 559 h 559"/>
                  <a:gd name="T2" fmla="*/ 597 w 1297"/>
                  <a:gd name="T3" fmla="*/ 0 h 559"/>
                  <a:gd name="T4" fmla="*/ 0 w 1297"/>
                  <a:gd name="T5" fmla="*/ 0 h 559"/>
                  <a:gd name="T6" fmla="*/ 351 w 1297"/>
                  <a:gd name="T7" fmla="*/ 559 h 559"/>
                  <a:gd name="T8" fmla="*/ 1297 w 1297"/>
                  <a:gd name="T9" fmla="*/ 559 h 559"/>
                </a:gdLst>
                <a:ahLst/>
                <a:cxnLst>
                  <a:cxn ang="0">
                    <a:pos x="T0" y="T1"/>
                  </a:cxn>
                  <a:cxn ang="0">
                    <a:pos x="T2" y="T3"/>
                  </a:cxn>
                  <a:cxn ang="0">
                    <a:pos x="T4" y="T5"/>
                  </a:cxn>
                  <a:cxn ang="0">
                    <a:pos x="T6" y="T7"/>
                  </a:cxn>
                  <a:cxn ang="0">
                    <a:pos x="T8" y="T9"/>
                  </a:cxn>
                </a:cxnLst>
                <a:rect l="0" t="0" r="r" b="b"/>
                <a:pathLst>
                  <a:path w="1297" h="559">
                    <a:moveTo>
                      <a:pt x="1297" y="559"/>
                    </a:moveTo>
                    <a:lnTo>
                      <a:pt x="597" y="0"/>
                    </a:lnTo>
                    <a:lnTo>
                      <a:pt x="0" y="0"/>
                    </a:lnTo>
                    <a:lnTo>
                      <a:pt x="351" y="559"/>
                    </a:lnTo>
                    <a:lnTo>
                      <a:pt x="1297" y="559"/>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050" b="0" i="0" u="none" strike="noStrike" kern="1200" cap="none" spc="0" normalizeH="0" baseline="0" noProof="0">
                  <a:ln>
                    <a:noFill/>
                  </a:ln>
                  <a:solidFill>
                    <a:prstClr val="black"/>
                  </a:solidFill>
                  <a:effectLst/>
                  <a:uLnTx/>
                  <a:uFillTx/>
                  <a:ea typeface="+mn-ea"/>
                  <a:cs typeface="Arial" charset="0"/>
                </a:endParaRPr>
              </a:p>
            </p:txBody>
          </p:sp>
          <p:sp>
            <p:nvSpPr>
              <p:cNvPr id="19" name="Freeform 27">
                <a:extLst>
                  <a:ext uri="{FF2B5EF4-FFF2-40B4-BE49-F238E27FC236}">
                    <a16:creationId xmlns:a16="http://schemas.microsoft.com/office/drawing/2014/main" id="{50BE9952-07AC-4F9C-BF1F-137EBE6C2883}"/>
                  </a:ext>
                </a:extLst>
              </p:cNvPr>
              <p:cNvSpPr>
                <a:spLocks/>
              </p:cNvSpPr>
              <p:nvPr/>
            </p:nvSpPr>
            <p:spPr bwMode="auto">
              <a:xfrm>
                <a:off x="6978828" y="5548760"/>
                <a:ext cx="1546693" cy="122180"/>
              </a:xfrm>
              <a:custGeom>
                <a:avLst/>
                <a:gdLst>
                  <a:gd name="T0" fmla="*/ 596 w 947"/>
                  <a:gd name="T1" fmla="*/ 0 h 559"/>
                  <a:gd name="T2" fmla="*/ 0 w 947"/>
                  <a:gd name="T3" fmla="*/ 0 h 559"/>
                  <a:gd name="T4" fmla="*/ 0 w 947"/>
                  <a:gd name="T5" fmla="*/ 559 h 559"/>
                  <a:gd name="T6" fmla="*/ 947 w 947"/>
                  <a:gd name="T7" fmla="*/ 559 h 559"/>
                  <a:gd name="T8" fmla="*/ 596 w 947"/>
                  <a:gd name="T9" fmla="*/ 0 h 559"/>
                </a:gdLst>
                <a:ahLst/>
                <a:cxnLst>
                  <a:cxn ang="0">
                    <a:pos x="T0" y="T1"/>
                  </a:cxn>
                  <a:cxn ang="0">
                    <a:pos x="T2" y="T3"/>
                  </a:cxn>
                  <a:cxn ang="0">
                    <a:pos x="T4" y="T5"/>
                  </a:cxn>
                  <a:cxn ang="0">
                    <a:pos x="T6" y="T7"/>
                  </a:cxn>
                  <a:cxn ang="0">
                    <a:pos x="T8" y="T9"/>
                  </a:cxn>
                </a:cxnLst>
                <a:rect l="0" t="0" r="r" b="b"/>
                <a:pathLst>
                  <a:path w="947" h="559">
                    <a:moveTo>
                      <a:pt x="596" y="0"/>
                    </a:moveTo>
                    <a:lnTo>
                      <a:pt x="0" y="0"/>
                    </a:lnTo>
                    <a:lnTo>
                      <a:pt x="0" y="559"/>
                    </a:lnTo>
                    <a:lnTo>
                      <a:pt x="947" y="559"/>
                    </a:lnTo>
                    <a:lnTo>
                      <a:pt x="596" y="0"/>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050" b="0" i="0" u="none" strike="noStrike" kern="1200" cap="none" spc="0" normalizeH="0" baseline="0" noProof="0">
                  <a:ln>
                    <a:noFill/>
                  </a:ln>
                  <a:solidFill>
                    <a:prstClr val="black"/>
                  </a:solidFill>
                  <a:effectLst/>
                  <a:uLnTx/>
                  <a:uFillTx/>
                  <a:ea typeface="+mn-ea"/>
                  <a:cs typeface="Arial" charset="0"/>
                </a:endParaRPr>
              </a:p>
            </p:txBody>
          </p:sp>
          <p:sp>
            <p:nvSpPr>
              <p:cNvPr id="21" name="Rectangle 23">
                <a:extLst>
                  <a:ext uri="{FF2B5EF4-FFF2-40B4-BE49-F238E27FC236}">
                    <a16:creationId xmlns:a16="http://schemas.microsoft.com/office/drawing/2014/main" id="{3ABDB1F6-DBD7-434B-BBA3-CEEA40FF2476}"/>
                  </a:ext>
                </a:extLst>
              </p:cNvPr>
              <p:cNvSpPr>
                <a:spLocks noChangeArrowheads="1"/>
              </p:cNvSpPr>
              <p:nvPr/>
            </p:nvSpPr>
            <p:spPr bwMode="auto">
              <a:xfrm>
                <a:off x="2340385" y="5670264"/>
                <a:ext cx="1546693" cy="550994"/>
              </a:xfrm>
              <a:prstGeom prst="rect">
                <a:avLst/>
              </a:prstGeom>
              <a:solidFill>
                <a:srgbClr val="E7F6FF"/>
              </a:soli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050" b="0" i="0" u="none" strike="noStrike" kern="1200" cap="none" spc="0" normalizeH="0" baseline="0" noProof="0">
                  <a:ln>
                    <a:noFill/>
                  </a:ln>
                  <a:solidFill>
                    <a:prstClr val="black"/>
                  </a:solidFill>
                  <a:effectLst/>
                  <a:uLnTx/>
                  <a:uFillTx/>
                  <a:ea typeface="+mn-ea"/>
                  <a:cs typeface="Arial" charset="0"/>
                </a:endParaRPr>
              </a:p>
            </p:txBody>
          </p:sp>
          <p:pic>
            <p:nvPicPr>
              <p:cNvPr id="24" name="Picture 23">
                <a:extLst>
                  <a:ext uri="{FF2B5EF4-FFF2-40B4-BE49-F238E27FC236}">
                    <a16:creationId xmlns:a16="http://schemas.microsoft.com/office/drawing/2014/main" id="{B023732B-8BF4-4912-9A99-8D99FFBF35A1}"/>
                  </a:ext>
                </a:extLst>
              </p:cNvPr>
              <p:cNvPicPr>
                <a:picLocks/>
              </p:cNvPicPr>
              <p:nvPr/>
            </p:nvPicPr>
            <p:blipFill>
              <a:blip r:embed="rId3" cstate="email">
                <a:extLst>
                  <a:ext uri="{28A0092B-C50C-407E-A947-70E740481C1C}">
                    <a14:useLocalDpi xmlns:a14="http://schemas.microsoft.com/office/drawing/2010/main"/>
                  </a:ext>
                </a:extLst>
              </a:blip>
              <a:stretch>
                <a:fillRect/>
              </a:stretch>
            </p:blipFill>
            <p:spPr>
              <a:xfrm>
                <a:off x="7201763" y="4504846"/>
                <a:ext cx="481765" cy="481765"/>
              </a:xfrm>
              <a:prstGeom prst="rect">
                <a:avLst/>
              </a:prstGeom>
            </p:spPr>
          </p:pic>
          <p:pic>
            <p:nvPicPr>
              <p:cNvPr id="49" name="Picture 48">
                <a:extLst>
                  <a:ext uri="{FF2B5EF4-FFF2-40B4-BE49-F238E27FC236}">
                    <a16:creationId xmlns:a16="http://schemas.microsoft.com/office/drawing/2014/main" id="{B00FFCCA-9BAB-4342-B882-6658329CAC18}"/>
                  </a:ext>
                </a:extLst>
              </p:cNvPr>
              <p:cNvPicPr>
                <a:picLocks/>
              </p:cNvPicPr>
              <p:nvPr/>
            </p:nvPicPr>
            <p:blipFill>
              <a:blip r:embed="rId4" cstate="email">
                <a:extLst>
                  <a:ext uri="{28A0092B-C50C-407E-A947-70E740481C1C}">
                    <a14:useLocalDpi xmlns:a14="http://schemas.microsoft.com/office/drawing/2010/main"/>
                  </a:ext>
                </a:extLst>
              </a:blip>
              <a:stretch>
                <a:fillRect/>
              </a:stretch>
            </p:blipFill>
            <p:spPr>
              <a:xfrm>
                <a:off x="8171506" y="4253564"/>
                <a:ext cx="481765" cy="481765"/>
              </a:xfrm>
              <a:prstGeom prst="rect">
                <a:avLst/>
              </a:prstGeom>
            </p:spPr>
          </p:pic>
          <p:pic>
            <p:nvPicPr>
              <p:cNvPr id="51" name="Picture 50" descr="A close up of a logo&#10;&#10;Description automatically generated">
                <a:extLst>
                  <a:ext uri="{FF2B5EF4-FFF2-40B4-BE49-F238E27FC236}">
                    <a16:creationId xmlns:a16="http://schemas.microsoft.com/office/drawing/2014/main" id="{60EE7EB1-6DE9-4A02-AE24-FFDD58F0D864}"/>
                  </a:ext>
                </a:extLst>
              </p:cNvPr>
              <p:cNvPicPr>
                <a:picLocks/>
              </p:cNvPicPr>
              <p:nvPr/>
            </p:nvPicPr>
            <p:blipFill>
              <a:blip r:embed="rId5" cstate="email">
                <a:extLst>
                  <a:ext uri="{28A0092B-C50C-407E-A947-70E740481C1C}">
                    <a14:useLocalDpi xmlns:a14="http://schemas.microsoft.com/office/drawing/2010/main"/>
                  </a:ext>
                </a:extLst>
              </a:blip>
              <a:stretch>
                <a:fillRect/>
              </a:stretch>
            </p:blipFill>
            <p:spPr>
              <a:xfrm>
                <a:off x="6232020" y="4756128"/>
                <a:ext cx="481765" cy="481765"/>
              </a:xfrm>
              <a:prstGeom prst="rect">
                <a:avLst/>
              </a:prstGeom>
            </p:spPr>
          </p:pic>
          <p:pic>
            <p:nvPicPr>
              <p:cNvPr id="53" name="Picture 52">
                <a:extLst>
                  <a:ext uri="{FF2B5EF4-FFF2-40B4-BE49-F238E27FC236}">
                    <a16:creationId xmlns:a16="http://schemas.microsoft.com/office/drawing/2014/main" id="{3607D7F7-FEB1-4619-A533-43A6CC56DC13}"/>
                  </a:ext>
                </a:extLst>
              </p:cNvPr>
              <p:cNvPicPr>
                <a:picLocks/>
              </p:cNvPicPr>
              <p:nvPr/>
            </p:nvPicPr>
            <p:blipFill>
              <a:blip r:embed="rId6" cstate="email">
                <a:extLst>
                  <a:ext uri="{28A0092B-C50C-407E-A947-70E740481C1C}">
                    <a14:useLocalDpi xmlns:a14="http://schemas.microsoft.com/office/drawing/2010/main"/>
                  </a:ext>
                </a:extLst>
              </a:blip>
              <a:stretch>
                <a:fillRect/>
              </a:stretch>
            </p:blipFill>
            <p:spPr>
              <a:xfrm>
                <a:off x="5262277" y="5007410"/>
                <a:ext cx="481765" cy="481765"/>
              </a:xfrm>
              <a:prstGeom prst="rect">
                <a:avLst/>
              </a:prstGeom>
            </p:spPr>
          </p:pic>
          <p:pic>
            <p:nvPicPr>
              <p:cNvPr id="55" name="Picture 54" descr="A picture containing object&#10;&#10;Description automatically generated">
                <a:extLst>
                  <a:ext uri="{FF2B5EF4-FFF2-40B4-BE49-F238E27FC236}">
                    <a16:creationId xmlns:a16="http://schemas.microsoft.com/office/drawing/2014/main" id="{49F44ACE-4577-4E23-9480-0E5CC832FE49}"/>
                  </a:ext>
                </a:extLst>
              </p:cNvPr>
              <p:cNvPicPr>
                <a:picLocks/>
              </p:cNvPicPr>
              <p:nvPr/>
            </p:nvPicPr>
            <p:blipFill>
              <a:blip r:embed="rId7" cstate="email">
                <a:extLst>
                  <a:ext uri="{28A0092B-C50C-407E-A947-70E740481C1C}">
                    <a14:useLocalDpi xmlns:a14="http://schemas.microsoft.com/office/drawing/2010/main"/>
                  </a:ext>
                </a:extLst>
              </a:blip>
              <a:stretch>
                <a:fillRect/>
              </a:stretch>
            </p:blipFill>
            <p:spPr>
              <a:xfrm flipH="1">
                <a:off x="4292534" y="4992030"/>
                <a:ext cx="481765" cy="481765"/>
              </a:xfrm>
              <a:prstGeom prst="rect">
                <a:avLst/>
              </a:prstGeom>
            </p:spPr>
          </p:pic>
          <p:grpSp>
            <p:nvGrpSpPr>
              <p:cNvPr id="13" name="Group 12">
                <a:extLst>
                  <a:ext uri="{FF2B5EF4-FFF2-40B4-BE49-F238E27FC236}">
                    <a16:creationId xmlns:a16="http://schemas.microsoft.com/office/drawing/2014/main" id="{F3678607-5EF2-484B-8224-9C5AD1C7C4EC}"/>
                  </a:ext>
                </a:extLst>
              </p:cNvPr>
              <p:cNvGrpSpPr>
                <a:grpSpLocks/>
              </p:cNvGrpSpPr>
              <p:nvPr/>
            </p:nvGrpSpPr>
            <p:grpSpPr>
              <a:xfrm>
                <a:off x="9141251" y="3735621"/>
                <a:ext cx="481765" cy="481765"/>
                <a:chOff x="8033313" y="4197633"/>
                <a:chExt cx="794425" cy="769470"/>
              </a:xfrm>
            </p:grpSpPr>
            <p:pic>
              <p:nvPicPr>
                <p:cNvPr id="57" name="Picture 56">
                  <a:extLst>
                    <a:ext uri="{FF2B5EF4-FFF2-40B4-BE49-F238E27FC236}">
                      <a16:creationId xmlns:a16="http://schemas.microsoft.com/office/drawing/2014/main" id="{E36C4108-94BF-471A-A704-F789F173569A}"/>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rot="21085176">
                  <a:off x="8033313" y="4197633"/>
                  <a:ext cx="580304" cy="580304"/>
                </a:xfrm>
                <a:prstGeom prst="rect">
                  <a:avLst/>
                </a:prstGeom>
              </p:spPr>
            </p:pic>
            <p:pic>
              <p:nvPicPr>
                <p:cNvPr id="59" name="Picture 58">
                  <a:extLst>
                    <a:ext uri="{FF2B5EF4-FFF2-40B4-BE49-F238E27FC236}">
                      <a16:creationId xmlns:a16="http://schemas.microsoft.com/office/drawing/2014/main" id="{A15FBFA9-058D-440A-BEAB-221CE5EFD784}"/>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8234941" y="4374306"/>
                  <a:ext cx="592797" cy="592797"/>
                </a:xfrm>
                <a:prstGeom prst="rect">
                  <a:avLst/>
                </a:prstGeom>
              </p:spPr>
            </p:pic>
          </p:grpSp>
          <p:sp>
            <p:nvSpPr>
              <p:cNvPr id="60" name="TextBox 59">
                <a:extLst>
                  <a:ext uri="{FF2B5EF4-FFF2-40B4-BE49-F238E27FC236}">
                    <a16:creationId xmlns:a16="http://schemas.microsoft.com/office/drawing/2014/main" id="{63F57957-B8EB-421C-8776-4086F5AEEC93}"/>
                  </a:ext>
                </a:extLst>
              </p:cNvPr>
              <p:cNvSpPr txBox="1"/>
              <p:nvPr/>
            </p:nvSpPr>
            <p:spPr>
              <a:xfrm>
                <a:off x="2257543" y="5789014"/>
                <a:ext cx="1708262" cy="56561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a:ln>
                      <a:noFill/>
                    </a:ln>
                    <a:solidFill>
                      <a:prstClr val="black"/>
                    </a:solidFill>
                    <a:effectLst/>
                    <a:uLnTx/>
                    <a:uFillTx/>
                    <a:ea typeface="+mn-ea"/>
                    <a:cs typeface="Arial" charset="0"/>
                  </a:rPr>
                  <a:t>CONSOLIDATION</a:t>
                </a:r>
                <a:br>
                  <a:rPr kumimoji="0" lang="fr-FR" sz="1000" b="1" i="0" u="none" strike="noStrike" kern="1200" cap="none" spc="0" normalizeH="0" baseline="0" noProof="0">
                    <a:ln>
                      <a:noFill/>
                    </a:ln>
                    <a:solidFill>
                      <a:prstClr val="black"/>
                    </a:solidFill>
                    <a:effectLst/>
                    <a:uLnTx/>
                    <a:uFillTx/>
                    <a:ea typeface="+mn-ea"/>
                    <a:cs typeface="Arial" charset="0"/>
                  </a:rPr>
                </a:br>
                <a:r>
                  <a:rPr kumimoji="0" lang="fr-FR" sz="1000" b="0" i="0" u="none" strike="noStrike" kern="1200" cap="none" spc="0" normalizeH="0" baseline="0" noProof="0">
                    <a:ln>
                      <a:noFill/>
                    </a:ln>
                    <a:solidFill>
                      <a:prstClr val="black"/>
                    </a:solidFill>
                    <a:effectLst/>
                    <a:uLnTx/>
                    <a:uFillTx/>
                    <a:ea typeface="+mn-ea"/>
                    <a:cs typeface="Arial" charset="0"/>
                  </a:rPr>
                  <a:t>/ INTEGRATION</a:t>
                </a:r>
                <a:br>
                  <a:rPr kumimoji="0" lang="fr-FR" sz="1000" b="1" i="0" u="none" strike="noStrike" kern="1200" cap="none" spc="0" normalizeH="0" baseline="0" noProof="0">
                    <a:ln>
                      <a:noFill/>
                    </a:ln>
                    <a:solidFill>
                      <a:prstClr val="black"/>
                    </a:solidFill>
                    <a:effectLst/>
                    <a:uLnTx/>
                    <a:uFillTx/>
                    <a:ea typeface="+mn-ea"/>
                    <a:cs typeface="Arial" charset="0"/>
                  </a:rPr>
                </a:br>
                <a:endParaRPr kumimoji="0" lang="fr-FR" sz="1000" b="1" i="0" u="none" strike="noStrike" kern="1200" cap="none" spc="0" normalizeH="0" baseline="0" noProof="0">
                  <a:ln>
                    <a:noFill/>
                  </a:ln>
                  <a:solidFill>
                    <a:prstClr val="black"/>
                  </a:solidFill>
                  <a:effectLst/>
                  <a:uLnTx/>
                  <a:uFillTx/>
                  <a:ea typeface="+mn-ea"/>
                  <a:cs typeface="Arial" charset="0"/>
                </a:endParaRPr>
              </a:p>
            </p:txBody>
          </p:sp>
          <p:sp>
            <p:nvSpPr>
              <p:cNvPr id="62" name="TextBox 61">
                <a:extLst>
                  <a:ext uri="{FF2B5EF4-FFF2-40B4-BE49-F238E27FC236}">
                    <a16:creationId xmlns:a16="http://schemas.microsoft.com/office/drawing/2014/main" id="{3124F24B-5648-4D61-99F6-C99999D6F1DA}"/>
                  </a:ext>
                </a:extLst>
              </p:cNvPr>
              <p:cNvSpPr txBox="1"/>
              <p:nvPr/>
            </p:nvSpPr>
            <p:spPr>
              <a:xfrm>
                <a:off x="3879146" y="5789014"/>
                <a:ext cx="1546693" cy="40850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a:ln>
                      <a:noFill/>
                    </a:ln>
                    <a:solidFill>
                      <a:prstClr val="black"/>
                    </a:solidFill>
                    <a:effectLst/>
                    <a:uLnTx/>
                    <a:uFillTx/>
                    <a:ea typeface="+mn-ea"/>
                    <a:cs typeface="Arial" charset="0"/>
                  </a:rPr>
                  <a:t>NETTOYAGE</a:t>
                </a:r>
                <a:br>
                  <a:rPr kumimoji="0" lang="fr-FR" sz="1000" b="1" i="0" u="none" strike="noStrike" kern="1200" cap="none" spc="0" normalizeH="0" baseline="0" noProof="0">
                    <a:ln>
                      <a:noFill/>
                    </a:ln>
                    <a:solidFill>
                      <a:prstClr val="black"/>
                    </a:solidFill>
                    <a:effectLst/>
                    <a:uLnTx/>
                    <a:uFillTx/>
                    <a:ea typeface="+mn-ea"/>
                    <a:cs typeface="Arial" charset="0"/>
                  </a:rPr>
                </a:br>
                <a:r>
                  <a:rPr kumimoji="0" lang="fr-FR" sz="1000" b="0" i="0" u="none" strike="noStrike" kern="1200" cap="none" spc="0" normalizeH="0" baseline="0" noProof="0">
                    <a:ln>
                      <a:noFill/>
                    </a:ln>
                    <a:solidFill>
                      <a:prstClr val="black"/>
                    </a:solidFill>
                    <a:effectLst/>
                    <a:uLnTx/>
                    <a:uFillTx/>
                    <a:ea typeface="+mn-ea"/>
                    <a:cs typeface="Arial" charset="0"/>
                  </a:rPr>
                  <a:t>/ STRUCTURATION</a:t>
                </a:r>
              </a:p>
            </p:txBody>
          </p:sp>
          <p:sp>
            <p:nvSpPr>
              <p:cNvPr id="87" name="TextBox 86">
                <a:extLst>
                  <a:ext uri="{FF2B5EF4-FFF2-40B4-BE49-F238E27FC236}">
                    <a16:creationId xmlns:a16="http://schemas.microsoft.com/office/drawing/2014/main" id="{EE27F31B-A1E0-4929-8D1B-7B22748A8D39}"/>
                  </a:ext>
                </a:extLst>
              </p:cNvPr>
              <p:cNvSpPr txBox="1"/>
              <p:nvPr/>
            </p:nvSpPr>
            <p:spPr>
              <a:xfrm>
                <a:off x="5398429" y="5792555"/>
                <a:ext cx="1603648" cy="40850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a:ln>
                      <a:noFill/>
                    </a:ln>
                    <a:solidFill>
                      <a:srgbClr val="FFFFFF"/>
                    </a:solidFill>
                    <a:effectLst/>
                    <a:uLnTx/>
                    <a:uFillTx/>
                    <a:ea typeface="+mn-ea"/>
                    <a:cs typeface="Arial" charset="0"/>
                  </a:rPr>
                  <a:t>VISUALISATION</a:t>
                </a:r>
                <a:br>
                  <a:rPr kumimoji="0" lang="fr-FR" sz="1000" b="1" i="0" u="none" strike="noStrike" kern="1200" cap="none" spc="0" normalizeH="0" baseline="0" noProof="0">
                    <a:ln>
                      <a:noFill/>
                    </a:ln>
                    <a:solidFill>
                      <a:srgbClr val="FFFFFF"/>
                    </a:solidFill>
                    <a:effectLst/>
                    <a:uLnTx/>
                    <a:uFillTx/>
                    <a:ea typeface="+mn-ea"/>
                    <a:cs typeface="Arial" charset="0"/>
                  </a:rPr>
                </a:br>
                <a:r>
                  <a:rPr kumimoji="0" lang="fr-FR" sz="1000" b="0" i="0" u="none" strike="noStrike" kern="1200" cap="none" spc="0" normalizeH="0" baseline="0" noProof="0">
                    <a:ln>
                      <a:noFill/>
                    </a:ln>
                    <a:solidFill>
                      <a:srgbClr val="FFFFFF"/>
                    </a:solidFill>
                    <a:effectLst/>
                    <a:uLnTx/>
                    <a:uFillTx/>
                    <a:ea typeface="+mn-ea"/>
                    <a:cs typeface="Arial" charset="0"/>
                  </a:rPr>
                  <a:t>/ RESTITUTION</a:t>
                </a:r>
              </a:p>
            </p:txBody>
          </p:sp>
          <p:sp>
            <p:nvSpPr>
              <p:cNvPr id="88" name="TextBox 87">
                <a:extLst>
                  <a:ext uri="{FF2B5EF4-FFF2-40B4-BE49-F238E27FC236}">
                    <a16:creationId xmlns:a16="http://schemas.microsoft.com/office/drawing/2014/main" id="{485EF377-FEFB-4CB2-8680-98F3C4EF16F3}"/>
                  </a:ext>
                </a:extLst>
              </p:cNvPr>
              <p:cNvSpPr txBox="1"/>
              <p:nvPr/>
            </p:nvSpPr>
            <p:spPr>
              <a:xfrm>
                <a:off x="6978828" y="5783675"/>
                <a:ext cx="1546693" cy="40850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a:ln>
                      <a:noFill/>
                    </a:ln>
                    <a:solidFill>
                      <a:srgbClr val="FFFFFF"/>
                    </a:solidFill>
                    <a:effectLst/>
                    <a:uLnTx/>
                    <a:uFillTx/>
                    <a:ea typeface="+mn-ea"/>
                    <a:cs typeface="Arial" charset="0"/>
                  </a:rPr>
                  <a:t>ANALYSE</a:t>
                </a:r>
                <a:br>
                  <a:rPr kumimoji="0" lang="fr-FR" sz="1000" b="1" i="0" u="none" strike="noStrike" kern="1200" cap="none" spc="0" normalizeH="0" baseline="0" noProof="0">
                    <a:ln>
                      <a:noFill/>
                    </a:ln>
                    <a:solidFill>
                      <a:srgbClr val="FFFFFF"/>
                    </a:solidFill>
                    <a:effectLst/>
                    <a:uLnTx/>
                    <a:uFillTx/>
                    <a:ea typeface="+mn-ea"/>
                    <a:cs typeface="Arial" charset="0"/>
                  </a:rPr>
                </a:br>
                <a:endParaRPr kumimoji="0" lang="fr-FR" sz="1000" b="1" i="0" u="none" strike="noStrike" kern="1200" cap="none" spc="0" normalizeH="0" baseline="0" noProof="0">
                  <a:ln>
                    <a:noFill/>
                  </a:ln>
                  <a:solidFill>
                    <a:srgbClr val="FFFFFF"/>
                  </a:solidFill>
                  <a:effectLst/>
                  <a:uLnTx/>
                  <a:uFillTx/>
                  <a:ea typeface="+mn-ea"/>
                  <a:cs typeface="Arial" charset="0"/>
                </a:endParaRPr>
              </a:p>
            </p:txBody>
          </p:sp>
          <p:sp>
            <p:nvSpPr>
              <p:cNvPr id="89" name="TextBox 88">
                <a:extLst>
                  <a:ext uri="{FF2B5EF4-FFF2-40B4-BE49-F238E27FC236}">
                    <a16:creationId xmlns:a16="http://schemas.microsoft.com/office/drawing/2014/main" id="{5EA4DB14-7B1A-496A-B13C-C405EE3CA89C}"/>
                  </a:ext>
                </a:extLst>
              </p:cNvPr>
              <p:cNvSpPr txBox="1"/>
              <p:nvPr/>
            </p:nvSpPr>
            <p:spPr>
              <a:xfrm>
                <a:off x="8474696" y="5782092"/>
                <a:ext cx="1633230" cy="25138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a:ln>
                      <a:noFill/>
                    </a:ln>
                    <a:solidFill>
                      <a:srgbClr val="FFFFFF"/>
                    </a:solidFill>
                    <a:effectLst/>
                    <a:uLnTx/>
                    <a:uFillTx/>
                    <a:ea typeface="+mn-ea"/>
                    <a:cs typeface="Arial" charset="0"/>
                  </a:rPr>
                  <a:t>MODELISATION</a:t>
                </a:r>
              </a:p>
            </p:txBody>
          </p:sp>
          <p:sp>
            <p:nvSpPr>
              <p:cNvPr id="90" name="TextBox 89">
                <a:extLst>
                  <a:ext uri="{FF2B5EF4-FFF2-40B4-BE49-F238E27FC236}">
                    <a16:creationId xmlns:a16="http://schemas.microsoft.com/office/drawing/2014/main" id="{59196A81-C833-4725-81DE-7610D7040EB7}"/>
                  </a:ext>
                </a:extLst>
              </p:cNvPr>
              <p:cNvSpPr txBox="1"/>
              <p:nvPr/>
            </p:nvSpPr>
            <p:spPr>
              <a:xfrm>
                <a:off x="10008570" y="5789123"/>
                <a:ext cx="1633230" cy="25138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a:ln>
                      <a:noFill/>
                    </a:ln>
                    <a:solidFill>
                      <a:srgbClr val="FFFFFF"/>
                    </a:solidFill>
                    <a:effectLst/>
                    <a:uLnTx/>
                    <a:uFillTx/>
                    <a:ea typeface="+mn-ea"/>
                    <a:cs typeface="Arial" charset="0"/>
                  </a:rPr>
                  <a:t>OPTIMISATION &amp; IA</a:t>
                </a:r>
              </a:p>
            </p:txBody>
          </p:sp>
          <p:cxnSp>
            <p:nvCxnSpPr>
              <p:cNvPr id="93" name="Straight Connector 92">
                <a:extLst>
                  <a:ext uri="{FF2B5EF4-FFF2-40B4-BE49-F238E27FC236}">
                    <a16:creationId xmlns:a16="http://schemas.microsoft.com/office/drawing/2014/main" id="{039FE814-5E4E-40E0-908D-7D80850487AA}"/>
                  </a:ext>
                </a:extLst>
              </p:cNvPr>
              <p:cNvCxnSpPr>
                <a:cxnSpLocks/>
                <a:stCxn id="29" idx="6"/>
              </p:cNvCxnSpPr>
              <p:nvPr/>
            </p:nvCxnSpPr>
            <p:spPr>
              <a:xfrm flipV="1">
                <a:off x="3499198" y="4880551"/>
                <a:ext cx="568756" cy="8452"/>
              </a:xfrm>
              <a:prstGeom prst="line">
                <a:avLst/>
              </a:prstGeom>
              <a:ln w="38100">
                <a:solidFill>
                  <a:srgbClr val="0F999C"/>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D19F377F-44CA-4D3A-A8F1-EA75A19EAE38}"/>
                  </a:ext>
                </a:extLst>
              </p:cNvPr>
              <p:cNvCxnSpPr>
                <a:cxnSpLocks/>
              </p:cNvCxnSpPr>
              <p:nvPr/>
            </p:nvCxnSpPr>
            <p:spPr>
              <a:xfrm flipV="1">
                <a:off x="4056778" y="3727168"/>
                <a:ext cx="4462004" cy="1153050"/>
              </a:xfrm>
              <a:prstGeom prst="line">
                <a:avLst/>
              </a:prstGeom>
              <a:ln w="38100">
                <a:solidFill>
                  <a:srgbClr val="0F999C"/>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68C87C08-BA16-41A9-B48B-C02C7C02EDA2}"/>
                  </a:ext>
                </a:extLst>
              </p:cNvPr>
              <p:cNvCxnSpPr>
                <a:cxnSpLocks/>
              </p:cNvCxnSpPr>
              <p:nvPr/>
            </p:nvCxnSpPr>
            <p:spPr>
              <a:xfrm flipV="1">
                <a:off x="8498874" y="2617572"/>
                <a:ext cx="1198948" cy="1118049"/>
              </a:xfrm>
              <a:prstGeom prst="line">
                <a:avLst/>
              </a:prstGeom>
              <a:ln w="38100">
                <a:solidFill>
                  <a:srgbClr val="0F999C"/>
                </a:solidFill>
              </a:ln>
            </p:spPr>
            <p:style>
              <a:lnRef idx="1">
                <a:schemeClr val="accent1"/>
              </a:lnRef>
              <a:fillRef idx="0">
                <a:schemeClr val="accent1"/>
              </a:fillRef>
              <a:effectRef idx="0">
                <a:schemeClr val="accent1"/>
              </a:effectRef>
              <a:fontRef idx="minor">
                <a:schemeClr val="tx1"/>
              </a:fontRef>
            </p:style>
          </p:cxnSp>
          <p:sp>
            <p:nvSpPr>
              <p:cNvPr id="106" name="TextBox 105">
                <a:extLst>
                  <a:ext uri="{FF2B5EF4-FFF2-40B4-BE49-F238E27FC236}">
                    <a16:creationId xmlns:a16="http://schemas.microsoft.com/office/drawing/2014/main" id="{48292033-49F4-4233-9C14-66F5F4C211CD}"/>
                  </a:ext>
                </a:extLst>
              </p:cNvPr>
              <p:cNvSpPr txBox="1"/>
              <p:nvPr/>
            </p:nvSpPr>
            <p:spPr>
              <a:xfrm rot="20693621">
                <a:off x="5240969" y="3694731"/>
                <a:ext cx="3218471" cy="25924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50" b="1" i="0" u="none" strike="noStrike" kern="1200" cap="none" spc="0" normalizeH="0" baseline="0" noProof="0">
                    <a:ln>
                      <a:noFill/>
                    </a:ln>
                    <a:solidFill>
                      <a:srgbClr val="0F999C"/>
                    </a:solidFill>
                    <a:effectLst/>
                    <a:uLnTx/>
                    <a:uFillTx/>
                    <a:ea typeface="+mn-ea"/>
                    <a:cs typeface="Arial" charset="0"/>
                  </a:rPr>
                  <a:t>CRÉATION DE VALEUR POUR L’ENTREPRISE</a:t>
                </a:r>
              </a:p>
            </p:txBody>
          </p:sp>
          <p:sp>
            <p:nvSpPr>
              <p:cNvPr id="109" name="TextBox 108">
                <a:extLst>
                  <a:ext uri="{FF2B5EF4-FFF2-40B4-BE49-F238E27FC236}">
                    <a16:creationId xmlns:a16="http://schemas.microsoft.com/office/drawing/2014/main" id="{90F6A3A8-4349-4A7C-B609-B41238AEAECD}"/>
                  </a:ext>
                </a:extLst>
              </p:cNvPr>
              <p:cNvSpPr txBox="1"/>
              <p:nvPr/>
            </p:nvSpPr>
            <p:spPr>
              <a:xfrm>
                <a:off x="9663621" y="2133743"/>
                <a:ext cx="1845752" cy="42421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50" b="1" i="0" u="none" strike="noStrike" kern="1200" cap="none" spc="0" normalizeH="0" baseline="0" noProof="0">
                    <a:ln>
                      <a:noFill/>
                    </a:ln>
                    <a:solidFill>
                      <a:srgbClr val="0F999C"/>
                    </a:solidFill>
                    <a:effectLst/>
                    <a:uLnTx/>
                    <a:uFillTx/>
                    <a:ea typeface="+mn-ea"/>
                    <a:cs typeface="Arial" charset="0"/>
                  </a:rPr>
                  <a:t>« Insights » Informations </a:t>
                </a:r>
                <a:br>
                  <a:rPr kumimoji="0" lang="fr-FR" sz="1050" b="1" i="0" u="none" strike="noStrike" kern="1200" cap="none" spc="0" normalizeH="0" baseline="0" noProof="0">
                    <a:ln>
                      <a:noFill/>
                    </a:ln>
                    <a:solidFill>
                      <a:srgbClr val="0F999C"/>
                    </a:solidFill>
                    <a:effectLst/>
                    <a:uLnTx/>
                    <a:uFillTx/>
                    <a:ea typeface="+mn-ea"/>
                    <a:cs typeface="Arial" charset="0"/>
                  </a:rPr>
                </a:br>
                <a:r>
                  <a:rPr kumimoji="0" lang="fr-FR" sz="1050" b="1" i="0" u="none" strike="noStrike" kern="1200" cap="none" spc="0" normalizeH="0" baseline="0" noProof="0">
                    <a:ln>
                      <a:noFill/>
                    </a:ln>
                    <a:solidFill>
                      <a:srgbClr val="0F999C"/>
                    </a:solidFill>
                    <a:effectLst/>
                    <a:uLnTx/>
                    <a:uFillTx/>
                    <a:ea typeface="+mn-ea"/>
                    <a:cs typeface="Arial" charset="0"/>
                  </a:rPr>
                  <a:t>Recommandations</a:t>
                </a:r>
              </a:p>
            </p:txBody>
          </p:sp>
          <p:sp>
            <p:nvSpPr>
              <p:cNvPr id="116" name="TextBox 115">
                <a:extLst>
                  <a:ext uri="{FF2B5EF4-FFF2-40B4-BE49-F238E27FC236}">
                    <a16:creationId xmlns:a16="http://schemas.microsoft.com/office/drawing/2014/main" id="{FF9E7C7A-E217-4C31-9F44-3EC213DFD3D2}"/>
                  </a:ext>
                </a:extLst>
              </p:cNvPr>
              <p:cNvSpPr txBox="1"/>
              <p:nvPr/>
            </p:nvSpPr>
            <p:spPr>
              <a:xfrm>
                <a:off x="3388148" y="4305076"/>
                <a:ext cx="1054710" cy="42421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50" b="1" i="0" u="none" strike="noStrike" kern="1200" cap="none" spc="0" normalizeH="0" baseline="0" noProof="0">
                    <a:ln>
                      <a:noFill/>
                    </a:ln>
                    <a:solidFill>
                      <a:srgbClr val="0F999C"/>
                    </a:solidFill>
                    <a:effectLst/>
                    <a:uLnTx/>
                    <a:uFillTx/>
                    <a:ea typeface="+mn-ea"/>
                    <a:cs typeface="Arial" charset="0"/>
                  </a:rPr>
                  <a:t>Données brutes</a:t>
                </a:r>
              </a:p>
            </p:txBody>
          </p:sp>
          <p:pic>
            <p:nvPicPr>
              <p:cNvPr id="25" name="Picture 24" descr="A close up of a sign&#10;&#10;Description automatically generated">
                <a:extLst>
                  <a:ext uri="{FF2B5EF4-FFF2-40B4-BE49-F238E27FC236}">
                    <a16:creationId xmlns:a16="http://schemas.microsoft.com/office/drawing/2014/main" id="{16773DAE-F7D8-44DB-953E-79C41B123D8E}"/>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2585739" y="4464922"/>
                <a:ext cx="736037" cy="736037"/>
              </a:xfrm>
              <a:prstGeom prst="rect">
                <a:avLst/>
              </a:prstGeom>
            </p:spPr>
          </p:pic>
          <p:sp>
            <p:nvSpPr>
              <p:cNvPr id="29" name="Oval 28">
                <a:extLst>
                  <a:ext uri="{FF2B5EF4-FFF2-40B4-BE49-F238E27FC236}">
                    <a16:creationId xmlns:a16="http://schemas.microsoft.com/office/drawing/2014/main" id="{301F88A9-5019-4A83-A2AD-DDC63BEEDB32}"/>
                  </a:ext>
                </a:extLst>
              </p:cNvPr>
              <p:cNvSpPr/>
              <p:nvPr/>
            </p:nvSpPr>
            <p:spPr>
              <a:xfrm>
                <a:off x="2408318" y="4375520"/>
                <a:ext cx="1090880" cy="1026967"/>
              </a:xfrm>
              <a:prstGeom prst="ellipse">
                <a:avLst/>
              </a:prstGeom>
              <a:noFill/>
              <a:ln w="28575">
                <a:solidFill>
                  <a:srgbClr val="0F999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050" b="0" i="0" u="none" strike="noStrike" kern="1200" cap="none" spc="0" normalizeH="0" baseline="0" noProof="0">
                  <a:ln>
                    <a:noFill/>
                  </a:ln>
                  <a:solidFill>
                    <a:srgbClr val="FFFFFF"/>
                  </a:solidFill>
                  <a:effectLst/>
                  <a:uLnTx/>
                  <a:uFillTx/>
                  <a:ea typeface="+mn-ea"/>
                  <a:cs typeface="+mn-cs"/>
                </a:endParaRPr>
              </a:p>
            </p:txBody>
          </p:sp>
          <p:cxnSp>
            <p:nvCxnSpPr>
              <p:cNvPr id="52" name="Straight Connector 51">
                <a:extLst>
                  <a:ext uri="{FF2B5EF4-FFF2-40B4-BE49-F238E27FC236}">
                    <a16:creationId xmlns:a16="http://schemas.microsoft.com/office/drawing/2014/main" id="{C946B3DD-E732-4565-B799-DFACC8EF3E6C}"/>
                  </a:ext>
                </a:extLst>
              </p:cNvPr>
              <p:cNvCxnSpPr>
                <a:cxnSpLocks/>
              </p:cNvCxnSpPr>
              <p:nvPr/>
            </p:nvCxnSpPr>
            <p:spPr>
              <a:xfrm flipV="1">
                <a:off x="10534875" y="2722928"/>
                <a:ext cx="0" cy="287152"/>
              </a:xfrm>
              <a:prstGeom prst="line">
                <a:avLst/>
              </a:prstGeom>
              <a:ln w="38100">
                <a:solidFill>
                  <a:srgbClr val="0F999C"/>
                </a:solidFill>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C7E0FFE6-B94B-46AC-8728-48DF33F23B4B}"/>
                  </a:ext>
                </a:extLst>
              </p:cNvPr>
              <p:cNvSpPr txBox="1"/>
              <p:nvPr/>
            </p:nvSpPr>
            <p:spPr>
              <a:xfrm>
                <a:off x="10965445" y="2862588"/>
                <a:ext cx="1845752" cy="25924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50" b="1" i="0" u="none" strike="noStrike" kern="1200" cap="none" spc="0" normalizeH="0" baseline="0" noProof="0">
                    <a:ln>
                      <a:noFill/>
                    </a:ln>
                    <a:solidFill>
                      <a:srgbClr val="0F999C"/>
                    </a:solidFill>
                    <a:effectLst/>
                    <a:uLnTx/>
                    <a:uFillTx/>
                    <a:ea typeface="+mn-ea"/>
                    <a:cs typeface="Arial" charset="0"/>
                  </a:rPr>
                  <a:t>Décisions / Actions</a:t>
                </a:r>
              </a:p>
            </p:txBody>
          </p:sp>
        </p:grpSp>
        <p:sp>
          <p:nvSpPr>
            <p:cNvPr id="100" name="Title 1">
              <a:extLst>
                <a:ext uri="{FF2B5EF4-FFF2-40B4-BE49-F238E27FC236}">
                  <a16:creationId xmlns:a16="http://schemas.microsoft.com/office/drawing/2014/main" id="{14290429-3E80-4DEF-A05F-5A8CF94EA818}"/>
                </a:ext>
              </a:extLst>
            </p:cNvPr>
            <p:cNvSpPr txBox="1">
              <a:spLocks/>
            </p:cNvSpPr>
            <p:nvPr/>
          </p:nvSpPr>
          <p:spPr>
            <a:xfrm>
              <a:off x="4478703" y="1465483"/>
              <a:ext cx="5938690" cy="480710"/>
            </a:xfrm>
            <a:prstGeom prst="rect">
              <a:avLst/>
            </a:prstGeom>
          </p:spPr>
          <p:txBody>
            <a:bodyPr vert="horz" lIns="0" tIns="216000" rIns="0" bIns="0" rtlCol="0" anchor="ctr">
              <a:noAutofit/>
            </a:bodyPr>
            <a:lstStyle>
              <a:lvl1pPr marL="0" marR="0" indent="0" algn="l" defTabSz="914400" rtl="0" eaLnBrk="1" fontAlgn="auto" latinLnBrk="0" hangingPunct="1">
                <a:lnSpc>
                  <a:spcPct val="100000"/>
                </a:lnSpc>
                <a:spcBef>
                  <a:spcPct val="0"/>
                </a:spcBef>
                <a:spcAft>
                  <a:spcPts val="0"/>
                </a:spcAft>
                <a:buClrTx/>
                <a:buSzTx/>
                <a:buFontTx/>
                <a:buNone/>
                <a:tabLst/>
                <a:defRPr kumimoji="0" lang="en-US" sz="2600" b="0" i="0" u="none" strike="noStrike" kern="1200" cap="none" spc="200" normalizeH="0" baseline="0" noProof="0" dirty="0">
                  <a:ln>
                    <a:noFill/>
                  </a:ln>
                  <a:solidFill>
                    <a:schemeClr val="tx2"/>
                  </a:solidFill>
                  <a:effectLst/>
                  <a:uLnTx/>
                  <a:uFillTx/>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fr-FR" sz="1400" b="1" i="0" u="none" strike="noStrike" kern="1200" cap="none" spc="200" normalizeH="0" baseline="0" noProof="0">
                <a:ln>
                  <a:noFill/>
                </a:ln>
                <a:solidFill>
                  <a:srgbClr val="0070AD"/>
                </a:solidFill>
                <a:effectLst/>
                <a:uLnTx/>
                <a:uFillTx/>
                <a:latin typeface="+mn-lt"/>
                <a:ea typeface="+mj-ea"/>
                <a:cs typeface="+mj-cs"/>
              </a:endParaRPr>
            </a:p>
          </p:txBody>
        </p:sp>
      </p:grpSp>
      <p:sp>
        <p:nvSpPr>
          <p:cNvPr id="22" name="Rectangle 21">
            <a:extLst>
              <a:ext uri="{FF2B5EF4-FFF2-40B4-BE49-F238E27FC236}">
                <a16:creationId xmlns:a16="http://schemas.microsoft.com/office/drawing/2014/main" id="{217529DA-DA3A-412F-AECD-4691BBB684FE}"/>
              </a:ext>
            </a:extLst>
          </p:cNvPr>
          <p:cNvSpPr/>
          <p:nvPr/>
        </p:nvSpPr>
        <p:spPr>
          <a:xfrm>
            <a:off x="564495" y="5307566"/>
            <a:ext cx="11182745" cy="959681"/>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
                <a:srgbClr val="0070AD"/>
              </a:buClr>
              <a:buSzTx/>
              <a:buFontTx/>
              <a:buNone/>
              <a:tabLst/>
              <a:defRPr/>
            </a:pPr>
            <a:r>
              <a:rPr kumimoji="0" lang="fr-FR" sz="13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Une “solution Data &amp; Analytics” </a:t>
            </a:r>
            <a:r>
              <a:rPr kumimoji="0" lang="fr-FR" sz="13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est un </a:t>
            </a:r>
            <a:r>
              <a:rPr kumimoji="0" lang="fr-FR" sz="13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produit/service digital </a:t>
            </a:r>
            <a:r>
              <a:rPr kumimoji="0" lang="fr-FR" sz="13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permettant à l’utilisateur de </a:t>
            </a:r>
            <a:r>
              <a:rPr kumimoji="0" lang="fr-FR" sz="13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prendre de meilleures décisions </a:t>
            </a:r>
            <a:r>
              <a:rPr kumimoji="0" lang="fr-FR" sz="13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réactivité, pertinence des hypothèses,…) en tirant partie des </a:t>
            </a:r>
            <a:r>
              <a:rPr kumimoji="0" lang="fr-FR" sz="13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techniques </a:t>
            </a:r>
            <a:r>
              <a:rPr kumimoji="0" lang="fr-FR" sz="13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de </a:t>
            </a:r>
            <a:r>
              <a:rPr kumimoji="0" lang="fr-FR" sz="13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préparation, transformation, et visualisation des données</a:t>
            </a:r>
          </a:p>
        </p:txBody>
      </p:sp>
      <p:sp>
        <p:nvSpPr>
          <p:cNvPr id="50" name="TextBox 49">
            <a:extLst>
              <a:ext uri="{FF2B5EF4-FFF2-40B4-BE49-F238E27FC236}">
                <a16:creationId xmlns:a16="http://schemas.microsoft.com/office/drawing/2014/main" id="{151F440F-A050-4BC6-8CBB-E54822F8A788}"/>
              </a:ext>
            </a:extLst>
          </p:cNvPr>
          <p:cNvSpPr txBox="1"/>
          <p:nvPr/>
        </p:nvSpPr>
        <p:spPr>
          <a:xfrm>
            <a:off x="470027" y="1404801"/>
            <a:ext cx="6360288" cy="338554"/>
          </a:xfrm>
          <a:prstGeom prst="rect">
            <a:avLst/>
          </a:prstGeom>
          <a:noFill/>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FR" sz="1600" b="1" i="0" u="none" strike="noStrike" kern="1200" cap="none" spc="0" normalizeH="0" baseline="0" noProof="0">
                <a:ln>
                  <a:noFill/>
                </a:ln>
                <a:solidFill>
                  <a:prstClr val="black"/>
                </a:solidFill>
                <a:effectLst/>
                <a:uLnTx/>
                <a:uFillTx/>
                <a:latin typeface="Ubuntu" panose="020B0504030602030204" pitchFamily="34" charset="0"/>
                <a:ea typeface="+mn-ea"/>
                <a:cs typeface="Arial" charset="0"/>
              </a:rPr>
              <a:t>Comment créer de la valeur avec la data et </a:t>
            </a:r>
            <a:r>
              <a:rPr kumimoji="0" lang="fr-FR" sz="1600" b="1" i="0" u="none" strike="noStrike" kern="1200" cap="none" spc="0" normalizeH="0" baseline="0" noProof="0" err="1">
                <a:ln>
                  <a:noFill/>
                </a:ln>
                <a:solidFill>
                  <a:prstClr val="black"/>
                </a:solidFill>
                <a:effectLst/>
                <a:uLnTx/>
                <a:uFillTx/>
                <a:latin typeface="Ubuntu" panose="020B0504030602030204" pitchFamily="34" charset="0"/>
                <a:ea typeface="+mn-ea"/>
                <a:cs typeface="Arial" charset="0"/>
              </a:rPr>
              <a:t>l’analytics</a:t>
            </a:r>
            <a:r>
              <a:rPr kumimoji="0" lang="fr-FR" sz="1600" b="1" i="0" u="none" strike="noStrike" kern="1200" cap="none" spc="0" normalizeH="0" baseline="0" noProof="0">
                <a:ln>
                  <a:noFill/>
                </a:ln>
                <a:solidFill>
                  <a:prstClr val="black"/>
                </a:solidFill>
                <a:effectLst/>
                <a:uLnTx/>
                <a:uFillTx/>
                <a:latin typeface="Ubuntu" panose="020B0504030602030204" pitchFamily="34" charset="0"/>
                <a:ea typeface="+mn-ea"/>
                <a:cs typeface="Arial" charset="0"/>
              </a:rPr>
              <a:t>?</a:t>
            </a:r>
          </a:p>
        </p:txBody>
      </p:sp>
      <p:cxnSp>
        <p:nvCxnSpPr>
          <p:cNvPr id="54" name="Straight Connector 53">
            <a:extLst>
              <a:ext uri="{FF2B5EF4-FFF2-40B4-BE49-F238E27FC236}">
                <a16:creationId xmlns:a16="http://schemas.microsoft.com/office/drawing/2014/main" id="{CB399408-EF22-4FA0-8138-3A352587DD16}"/>
              </a:ext>
            </a:extLst>
          </p:cNvPr>
          <p:cNvCxnSpPr>
            <a:cxnSpLocks/>
          </p:cNvCxnSpPr>
          <p:nvPr/>
        </p:nvCxnSpPr>
        <p:spPr>
          <a:xfrm flipH="1">
            <a:off x="9507520" y="1829469"/>
            <a:ext cx="421506" cy="8265"/>
          </a:xfrm>
          <a:prstGeom prst="line">
            <a:avLst/>
          </a:prstGeom>
          <a:ln w="38100">
            <a:solidFill>
              <a:srgbClr val="0F999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5369334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F0916364-2A47-ABBE-88BA-BEE30D35516C}"/>
              </a:ext>
            </a:extLst>
          </p:cNvPr>
          <p:cNvSpPr>
            <a:spLocks noGrp="1"/>
          </p:cNvSpPr>
          <p:nvPr>
            <p:ph type="title"/>
          </p:nvPr>
        </p:nvSpPr>
        <p:spPr/>
        <p:txBody>
          <a:bodyPr/>
          <a:lstStyle/>
          <a:p>
            <a:r>
              <a:rPr lang="fr-FR"/>
              <a:t>Flux et utilisation d’énergie</a:t>
            </a:r>
          </a:p>
        </p:txBody>
      </p:sp>
      <p:grpSp>
        <p:nvGrpSpPr>
          <p:cNvPr id="21" name="Groupe 20">
            <a:extLst>
              <a:ext uri="{FF2B5EF4-FFF2-40B4-BE49-F238E27FC236}">
                <a16:creationId xmlns:a16="http://schemas.microsoft.com/office/drawing/2014/main" id="{B1A38F28-3AE9-0F73-D59F-F915D68C24DC}"/>
              </a:ext>
            </a:extLst>
          </p:cNvPr>
          <p:cNvGrpSpPr/>
          <p:nvPr/>
        </p:nvGrpSpPr>
        <p:grpSpPr>
          <a:xfrm>
            <a:off x="172122" y="1650704"/>
            <a:ext cx="11779848" cy="3864050"/>
            <a:chOff x="172121" y="1592594"/>
            <a:chExt cx="12381313" cy="4061344"/>
          </a:xfrm>
        </p:grpSpPr>
        <p:sp>
          <p:nvSpPr>
            <p:cNvPr id="4" name="Rectangle 3">
              <a:extLst>
                <a:ext uri="{FF2B5EF4-FFF2-40B4-BE49-F238E27FC236}">
                  <a16:creationId xmlns:a16="http://schemas.microsoft.com/office/drawing/2014/main" id="{6C07CD79-9B0D-5F2D-2167-E22FB202B9D7}"/>
                </a:ext>
              </a:extLst>
            </p:cNvPr>
            <p:cNvSpPr/>
            <p:nvPr/>
          </p:nvSpPr>
          <p:spPr>
            <a:xfrm>
              <a:off x="852385" y="1855304"/>
              <a:ext cx="231602" cy="231602"/>
            </a:xfrm>
            <a:prstGeom prst="rect">
              <a:avLst/>
            </a:prstGeom>
            <a:solidFill>
              <a:schemeClr val="accent1">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r-FR" sz="900"/>
                <a:t>1</a:t>
              </a:r>
            </a:p>
          </p:txBody>
        </p:sp>
        <p:grpSp>
          <p:nvGrpSpPr>
            <p:cNvPr id="20" name="Groupe 19">
              <a:extLst>
                <a:ext uri="{FF2B5EF4-FFF2-40B4-BE49-F238E27FC236}">
                  <a16:creationId xmlns:a16="http://schemas.microsoft.com/office/drawing/2014/main" id="{26F4085F-4F63-49A4-157A-A27146EEFD46}"/>
                </a:ext>
              </a:extLst>
            </p:cNvPr>
            <p:cNvGrpSpPr/>
            <p:nvPr/>
          </p:nvGrpSpPr>
          <p:grpSpPr>
            <a:xfrm>
              <a:off x="331926" y="1592594"/>
              <a:ext cx="12221508" cy="4061344"/>
              <a:chOff x="331926" y="1592594"/>
              <a:chExt cx="12221508" cy="4061344"/>
            </a:xfrm>
          </p:grpSpPr>
          <p:grpSp>
            <p:nvGrpSpPr>
              <p:cNvPr id="6" name="Groupe 5">
                <a:extLst>
                  <a:ext uri="{FF2B5EF4-FFF2-40B4-BE49-F238E27FC236}">
                    <a16:creationId xmlns:a16="http://schemas.microsoft.com/office/drawing/2014/main" id="{AEE69B89-EDA2-7F06-5A7B-358F8A9F231C}"/>
                  </a:ext>
                </a:extLst>
              </p:cNvPr>
              <p:cNvGrpSpPr/>
              <p:nvPr/>
            </p:nvGrpSpPr>
            <p:grpSpPr>
              <a:xfrm>
                <a:off x="331926" y="1592594"/>
                <a:ext cx="7241692" cy="4061344"/>
                <a:chOff x="358430" y="1543877"/>
                <a:chExt cx="7523656" cy="4219477"/>
              </a:xfrm>
            </p:grpSpPr>
            <p:pic>
              <p:nvPicPr>
                <p:cNvPr id="1026" name="Picture 2">
                  <a:extLst>
                    <a:ext uri="{FF2B5EF4-FFF2-40B4-BE49-F238E27FC236}">
                      <a16:creationId xmlns:a16="http://schemas.microsoft.com/office/drawing/2014/main" id="{492510D7-B807-92D8-E0F2-FB813766921A}"/>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358430" y="1543877"/>
                  <a:ext cx="7523656" cy="4207565"/>
                </a:xfrm>
                <a:prstGeom prst="rect">
                  <a:avLst/>
                </a:prstGeom>
                <a:noFill/>
                <a:extLst>
                  <a:ext uri="{909E8E84-426E-40DD-AFC4-6F175D3DCCD1}">
                    <a14:hiddenFill xmlns:a14="http://schemas.microsoft.com/office/drawing/2010/main">
                      <a:solidFill>
                        <a:srgbClr val="FFFFFF"/>
                      </a:solidFill>
                    </a14:hiddenFill>
                  </a:ext>
                </a:extLst>
              </p:spPr>
            </p:pic>
            <p:sp>
              <p:nvSpPr>
                <p:cNvPr id="5" name="ZoneTexte 4">
                  <a:extLst>
                    <a:ext uri="{FF2B5EF4-FFF2-40B4-BE49-F238E27FC236}">
                      <a16:creationId xmlns:a16="http://schemas.microsoft.com/office/drawing/2014/main" id="{FE492790-C732-025E-0211-274A67D6A7E1}"/>
                    </a:ext>
                  </a:extLst>
                </p:cNvPr>
                <p:cNvSpPr txBox="1"/>
                <p:nvPr/>
              </p:nvSpPr>
              <p:spPr>
                <a:xfrm>
                  <a:off x="2928509" y="5467888"/>
                  <a:ext cx="2775384" cy="295466"/>
                </a:xfrm>
                <a:prstGeom prst="rect">
                  <a:avLst/>
                </a:prstGeom>
                <a:noFill/>
              </p:spPr>
              <p:txBody>
                <a:bodyPr wrap="square" rtlCol="0">
                  <a:spAutoFit/>
                </a:bodyPr>
                <a:lstStyle/>
                <a:p>
                  <a:pPr algn="ctr"/>
                  <a:r>
                    <a:rPr lang="fr-FR" sz="1050">
                      <a:hlinkClick r:id="rId3"/>
                    </a:rPr>
                    <a:t>Diagramme interactif</a:t>
                  </a:r>
                  <a:r>
                    <a:rPr lang="fr-FR" sz="1050"/>
                    <a:t>              Source :</a:t>
                  </a:r>
                </a:p>
              </p:txBody>
            </p:sp>
          </p:grpSp>
          <p:sp>
            <p:nvSpPr>
              <p:cNvPr id="8" name="Rectangle : avec coins rognés en diagonale 7">
                <a:extLst>
                  <a:ext uri="{FF2B5EF4-FFF2-40B4-BE49-F238E27FC236}">
                    <a16:creationId xmlns:a16="http://schemas.microsoft.com/office/drawing/2014/main" id="{98689356-EABA-2DC3-1526-EF665AB19A1E}"/>
                  </a:ext>
                </a:extLst>
              </p:cNvPr>
              <p:cNvSpPr/>
              <p:nvPr/>
            </p:nvSpPr>
            <p:spPr>
              <a:xfrm>
                <a:off x="8094077" y="1592594"/>
                <a:ext cx="4459357" cy="4049878"/>
              </a:xfrm>
              <a:prstGeom prst="snip2DiagRect">
                <a:avLst>
                  <a:gd name="adj1" fmla="val 0"/>
                  <a:gd name="adj2" fmla="val 8719"/>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sz="1050" b="1">
                  <a:solidFill>
                    <a:schemeClr val="tx1"/>
                  </a:solidFill>
                </a:endParaRPr>
              </a:p>
              <a:p>
                <a:pPr algn="ctr"/>
                <a:r>
                  <a:rPr lang="fr-FR" sz="1050">
                    <a:solidFill>
                      <a:schemeClr val="tx1"/>
                    </a:solidFill>
                  </a:rPr>
                  <a:t>L’industrie </a:t>
                </a:r>
                <a:r>
                  <a:rPr lang="fr-FR" sz="1050" b="1">
                    <a:solidFill>
                      <a:schemeClr val="tx1"/>
                    </a:solidFill>
                  </a:rPr>
                  <a:t>consomme des ressources (1) </a:t>
                </a:r>
                <a:r>
                  <a:rPr lang="fr-FR" sz="1050">
                    <a:solidFill>
                      <a:schemeClr val="tx1"/>
                    </a:solidFill>
                  </a:rPr>
                  <a:t>et</a:t>
                </a:r>
                <a:r>
                  <a:rPr lang="fr-FR" sz="1050" b="1">
                    <a:solidFill>
                      <a:schemeClr val="tx1"/>
                    </a:solidFill>
                  </a:rPr>
                  <a:t> du stock (1bis)</a:t>
                </a:r>
              </a:p>
              <a:p>
                <a:pPr algn="ctr"/>
                <a:endParaRPr lang="fr-FR" sz="1050">
                  <a:solidFill>
                    <a:schemeClr val="tx1"/>
                  </a:solidFill>
                </a:endParaRPr>
              </a:p>
              <a:p>
                <a:pPr algn="ctr"/>
                <a:r>
                  <a:rPr lang="fr-FR" sz="1050">
                    <a:solidFill>
                      <a:schemeClr val="tx1"/>
                    </a:solidFill>
                  </a:rPr>
                  <a:t>Où elle </a:t>
                </a:r>
                <a:r>
                  <a:rPr lang="fr-FR" sz="1050" b="1">
                    <a:solidFill>
                      <a:schemeClr val="tx1"/>
                    </a:solidFill>
                  </a:rPr>
                  <a:t>puise de l’énergie (2) </a:t>
                </a:r>
              </a:p>
              <a:p>
                <a:pPr algn="ctr"/>
                <a:endParaRPr lang="fr-FR" sz="1050" b="1">
                  <a:solidFill>
                    <a:schemeClr val="tx1"/>
                  </a:solidFill>
                </a:endParaRPr>
              </a:p>
              <a:p>
                <a:pPr algn="ctr"/>
                <a:r>
                  <a:rPr lang="fr-FR" sz="1050">
                    <a:solidFill>
                      <a:schemeClr val="tx1"/>
                    </a:solidFill>
                  </a:rPr>
                  <a:t>Qu’elle </a:t>
                </a:r>
                <a:r>
                  <a:rPr lang="fr-FR" sz="1050" b="1">
                    <a:solidFill>
                      <a:schemeClr val="tx1"/>
                    </a:solidFill>
                  </a:rPr>
                  <a:t>transporte (3)</a:t>
                </a:r>
                <a:r>
                  <a:rPr lang="fr-FR" sz="1050">
                    <a:solidFill>
                      <a:schemeClr val="tx1"/>
                    </a:solidFill>
                  </a:rPr>
                  <a:t>, </a:t>
                </a:r>
                <a:r>
                  <a:rPr lang="fr-FR" sz="1050" b="1">
                    <a:solidFill>
                      <a:schemeClr val="tx1"/>
                    </a:solidFill>
                  </a:rPr>
                  <a:t>transforme (4)</a:t>
                </a:r>
                <a:r>
                  <a:rPr lang="fr-FR" sz="1050">
                    <a:solidFill>
                      <a:schemeClr val="tx1"/>
                    </a:solidFill>
                  </a:rPr>
                  <a:t> et </a:t>
                </a:r>
                <a:r>
                  <a:rPr lang="fr-FR" sz="1050" b="1">
                    <a:solidFill>
                      <a:schemeClr val="tx1"/>
                    </a:solidFill>
                  </a:rPr>
                  <a:t>perd (5)</a:t>
                </a:r>
              </a:p>
              <a:p>
                <a:pPr algn="ctr"/>
                <a:endParaRPr lang="fr-FR" sz="1050">
                  <a:solidFill>
                    <a:schemeClr val="tx1"/>
                  </a:solidFill>
                </a:endParaRPr>
              </a:p>
              <a:p>
                <a:pPr algn="ctr"/>
                <a:r>
                  <a:rPr lang="fr-FR" sz="1050">
                    <a:solidFill>
                      <a:schemeClr val="tx1"/>
                    </a:solidFill>
                  </a:rPr>
                  <a:t>Pour la </a:t>
                </a:r>
                <a:r>
                  <a:rPr lang="fr-FR" sz="1050" b="1">
                    <a:solidFill>
                      <a:schemeClr val="tx1"/>
                    </a:solidFill>
                  </a:rPr>
                  <a:t>consommer (6)</a:t>
                </a:r>
                <a:endParaRPr lang="fr-FR" sz="1050">
                  <a:solidFill>
                    <a:schemeClr val="tx1"/>
                  </a:solidFill>
                </a:endParaRPr>
              </a:p>
              <a:p>
                <a:pPr algn="ctr"/>
                <a:endParaRPr lang="fr-FR" sz="1050">
                  <a:solidFill>
                    <a:schemeClr val="tx1"/>
                  </a:solidFill>
                </a:endParaRPr>
              </a:p>
              <a:p>
                <a:pPr algn="ctr"/>
                <a:r>
                  <a:rPr lang="fr-FR" sz="1050">
                    <a:solidFill>
                      <a:schemeClr val="tx1"/>
                    </a:solidFill>
                  </a:rPr>
                  <a:t>Afin d’</a:t>
                </a:r>
                <a:r>
                  <a:rPr lang="fr-FR" sz="1050" b="1">
                    <a:solidFill>
                      <a:schemeClr val="tx1"/>
                    </a:solidFill>
                  </a:rPr>
                  <a:t>apporter de la valeur à ses clients</a:t>
                </a:r>
              </a:p>
              <a:p>
                <a:pPr algn="ctr"/>
                <a:endParaRPr lang="fr-FR" sz="1050">
                  <a:solidFill>
                    <a:schemeClr val="tx1"/>
                  </a:solidFill>
                </a:endParaRPr>
              </a:p>
              <a:p>
                <a:pPr algn="ctr"/>
                <a:endParaRPr lang="fr-FR" sz="1050">
                  <a:solidFill>
                    <a:schemeClr val="tx1"/>
                  </a:solidFill>
                </a:endParaRPr>
              </a:p>
              <a:p>
                <a:pPr algn="ctr"/>
                <a:r>
                  <a:rPr lang="fr-FR" sz="1050" b="1">
                    <a:solidFill>
                      <a:srgbClr val="00B050"/>
                    </a:solidFill>
                  </a:rPr>
                  <a:t>Il faut donc que l’industrie et ses clients soient responsables</a:t>
                </a:r>
              </a:p>
              <a:p>
                <a:pPr algn="ctr"/>
                <a:endParaRPr lang="fr-FR" sz="1050">
                  <a:solidFill>
                    <a:schemeClr val="tx1"/>
                  </a:solidFill>
                </a:endParaRPr>
              </a:p>
              <a:p>
                <a:pPr algn="ctr"/>
                <a:endParaRPr lang="fr-FR" sz="1050">
                  <a:solidFill>
                    <a:schemeClr val="tx1"/>
                  </a:solidFill>
                </a:endParaRPr>
              </a:p>
            </p:txBody>
          </p:sp>
        </p:grpSp>
        <p:sp>
          <p:nvSpPr>
            <p:cNvPr id="9" name="Rectangle 8">
              <a:extLst>
                <a:ext uri="{FF2B5EF4-FFF2-40B4-BE49-F238E27FC236}">
                  <a16:creationId xmlns:a16="http://schemas.microsoft.com/office/drawing/2014/main" id="{DD4E3571-C6F0-63E5-2793-0976C6E3D5C9}"/>
                </a:ext>
              </a:extLst>
            </p:cNvPr>
            <p:cNvSpPr/>
            <p:nvPr/>
          </p:nvSpPr>
          <p:spPr>
            <a:xfrm>
              <a:off x="172121" y="3478695"/>
              <a:ext cx="231602" cy="231602"/>
            </a:xfrm>
            <a:prstGeom prst="rect">
              <a:avLst/>
            </a:prstGeom>
            <a:solidFill>
              <a:schemeClr val="accent1">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r-FR" sz="900"/>
                <a:t>1</a:t>
              </a:r>
            </a:p>
          </p:txBody>
        </p:sp>
        <p:sp>
          <p:nvSpPr>
            <p:cNvPr id="10" name="Rectangle 9">
              <a:extLst>
                <a:ext uri="{FF2B5EF4-FFF2-40B4-BE49-F238E27FC236}">
                  <a16:creationId xmlns:a16="http://schemas.microsoft.com/office/drawing/2014/main" id="{2519C54E-B256-F0C5-26B7-2C1C2EE02706}"/>
                </a:ext>
              </a:extLst>
            </p:cNvPr>
            <p:cNvSpPr/>
            <p:nvPr/>
          </p:nvSpPr>
          <p:spPr>
            <a:xfrm>
              <a:off x="1733654" y="2776330"/>
              <a:ext cx="231602" cy="231602"/>
            </a:xfrm>
            <a:prstGeom prst="rect">
              <a:avLst/>
            </a:prstGeom>
            <a:solidFill>
              <a:schemeClr val="accent1">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r-FR" sz="900"/>
                <a:t>2</a:t>
              </a:r>
            </a:p>
          </p:txBody>
        </p:sp>
        <p:sp>
          <p:nvSpPr>
            <p:cNvPr id="11" name="Rectangle 10">
              <a:extLst>
                <a:ext uri="{FF2B5EF4-FFF2-40B4-BE49-F238E27FC236}">
                  <a16:creationId xmlns:a16="http://schemas.microsoft.com/office/drawing/2014/main" id="{7E022068-C3B8-3818-7D0D-5361F097F1FD}"/>
                </a:ext>
              </a:extLst>
            </p:cNvPr>
            <p:cNvSpPr/>
            <p:nvPr/>
          </p:nvSpPr>
          <p:spPr>
            <a:xfrm>
              <a:off x="2891918" y="4320209"/>
              <a:ext cx="231602" cy="231602"/>
            </a:xfrm>
            <a:prstGeom prst="rect">
              <a:avLst/>
            </a:prstGeom>
            <a:solidFill>
              <a:schemeClr val="accent1">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r-FR" sz="900"/>
                <a:t>4</a:t>
              </a:r>
            </a:p>
          </p:txBody>
        </p:sp>
        <p:sp>
          <p:nvSpPr>
            <p:cNvPr id="12" name="Rectangle 11">
              <a:extLst>
                <a:ext uri="{FF2B5EF4-FFF2-40B4-BE49-F238E27FC236}">
                  <a16:creationId xmlns:a16="http://schemas.microsoft.com/office/drawing/2014/main" id="{B085FFCC-D1DF-29A7-F94E-BFBAB8955926}"/>
                </a:ext>
              </a:extLst>
            </p:cNvPr>
            <p:cNvSpPr/>
            <p:nvPr/>
          </p:nvSpPr>
          <p:spPr>
            <a:xfrm>
              <a:off x="3012489" y="2581328"/>
              <a:ext cx="231602" cy="231602"/>
            </a:xfrm>
            <a:prstGeom prst="rect">
              <a:avLst/>
            </a:prstGeom>
            <a:solidFill>
              <a:schemeClr val="accent1">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r-FR" sz="900"/>
                <a:t>3</a:t>
              </a:r>
            </a:p>
          </p:txBody>
        </p:sp>
        <p:sp>
          <p:nvSpPr>
            <p:cNvPr id="13" name="Rectangle 12">
              <a:extLst>
                <a:ext uri="{FF2B5EF4-FFF2-40B4-BE49-F238E27FC236}">
                  <a16:creationId xmlns:a16="http://schemas.microsoft.com/office/drawing/2014/main" id="{31FBD476-4E8B-E548-9B43-D8BFAF1BA2A3}"/>
                </a:ext>
              </a:extLst>
            </p:cNvPr>
            <p:cNvSpPr/>
            <p:nvPr/>
          </p:nvSpPr>
          <p:spPr>
            <a:xfrm>
              <a:off x="3061010" y="5116823"/>
              <a:ext cx="231602" cy="231602"/>
            </a:xfrm>
            <a:prstGeom prst="rect">
              <a:avLst/>
            </a:prstGeom>
            <a:solidFill>
              <a:schemeClr val="accent1">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r-FR" sz="900"/>
                <a:t>5</a:t>
              </a:r>
            </a:p>
          </p:txBody>
        </p:sp>
        <p:sp>
          <p:nvSpPr>
            <p:cNvPr id="14" name="Rectangle 13">
              <a:extLst>
                <a:ext uri="{FF2B5EF4-FFF2-40B4-BE49-F238E27FC236}">
                  <a16:creationId xmlns:a16="http://schemas.microsoft.com/office/drawing/2014/main" id="{2864D3BE-C5DA-2635-FEB7-B6238DD4161B}"/>
                </a:ext>
              </a:extLst>
            </p:cNvPr>
            <p:cNvSpPr/>
            <p:nvPr/>
          </p:nvSpPr>
          <p:spPr>
            <a:xfrm>
              <a:off x="7252719" y="3096347"/>
              <a:ext cx="231602" cy="231602"/>
            </a:xfrm>
            <a:prstGeom prst="rect">
              <a:avLst/>
            </a:prstGeom>
            <a:solidFill>
              <a:schemeClr val="accent1">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r-FR" sz="900"/>
                <a:t>6</a:t>
              </a:r>
            </a:p>
          </p:txBody>
        </p:sp>
        <p:sp>
          <p:nvSpPr>
            <p:cNvPr id="15" name="Rectangle 14">
              <a:extLst>
                <a:ext uri="{FF2B5EF4-FFF2-40B4-BE49-F238E27FC236}">
                  <a16:creationId xmlns:a16="http://schemas.microsoft.com/office/drawing/2014/main" id="{49C69A98-B182-D674-76B9-D42331396FB8}"/>
                </a:ext>
              </a:extLst>
            </p:cNvPr>
            <p:cNvSpPr/>
            <p:nvPr/>
          </p:nvSpPr>
          <p:spPr>
            <a:xfrm>
              <a:off x="1804037" y="2064622"/>
              <a:ext cx="308262" cy="143805"/>
            </a:xfrm>
            <a:prstGeom prst="rect">
              <a:avLst/>
            </a:prstGeom>
            <a:solidFill>
              <a:schemeClr val="accent1">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r-FR" sz="900"/>
                <a:t>1bis</a:t>
              </a:r>
            </a:p>
          </p:txBody>
        </p:sp>
        <p:sp>
          <p:nvSpPr>
            <p:cNvPr id="22" name="Rectangle 21">
              <a:extLst>
                <a:ext uri="{FF2B5EF4-FFF2-40B4-BE49-F238E27FC236}">
                  <a16:creationId xmlns:a16="http://schemas.microsoft.com/office/drawing/2014/main" id="{AB66C300-4A6B-CFCA-125A-2050450616F7}"/>
                </a:ext>
              </a:extLst>
            </p:cNvPr>
            <p:cNvSpPr/>
            <p:nvPr/>
          </p:nvSpPr>
          <p:spPr>
            <a:xfrm>
              <a:off x="836380" y="1904922"/>
              <a:ext cx="231602" cy="231602"/>
            </a:xfrm>
            <a:prstGeom prst="rect">
              <a:avLst/>
            </a:prstGeom>
            <a:solidFill>
              <a:schemeClr val="accent1">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r-FR" sz="900"/>
                <a:t>1</a:t>
              </a:r>
            </a:p>
          </p:txBody>
        </p:sp>
      </p:grpSp>
    </p:spTree>
    <p:extLst>
      <p:ext uri="{BB962C8B-B14F-4D97-AF65-F5344CB8AC3E}">
        <p14:creationId xmlns:p14="http://schemas.microsoft.com/office/powerpoint/2010/main" val="41358981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4412BFEF-11E6-0B86-9308-D04BCA5E0EDE}"/>
              </a:ext>
            </a:extLst>
          </p:cNvPr>
          <p:cNvSpPr>
            <a:spLocks noGrp="1"/>
          </p:cNvSpPr>
          <p:nvPr>
            <p:ph type="title"/>
          </p:nvPr>
        </p:nvSpPr>
        <p:spPr/>
        <p:txBody>
          <a:bodyPr/>
          <a:lstStyle/>
          <a:p>
            <a:r>
              <a:rPr lang="fr-FR"/>
              <a:t>Emission de gaz à effet de serre dans l’industrie</a:t>
            </a:r>
          </a:p>
        </p:txBody>
      </p:sp>
      <p:pic>
        <p:nvPicPr>
          <p:cNvPr id="9" name="Image 8">
            <a:extLst>
              <a:ext uri="{FF2B5EF4-FFF2-40B4-BE49-F238E27FC236}">
                <a16:creationId xmlns:a16="http://schemas.microsoft.com/office/drawing/2014/main" id="{410D9B31-D28A-5E18-4A05-3B3DB2A5CAC7}"/>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6031124" y="2295728"/>
            <a:ext cx="5973661" cy="3832070"/>
          </a:xfrm>
          <a:prstGeom prst="rect">
            <a:avLst/>
          </a:prstGeom>
        </p:spPr>
      </p:pic>
      <p:sp>
        <p:nvSpPr>
          <p:cNvPr id="10" name="Rectangle : avec coins rognés en diagonale 9">
            <a:extLst>
              <a:ext uri="{FF2B5EF4-FFF2-40B4-BE49-F238E27FC236}">
                <a16:creationId xmlns:a16="http://schemas.microsoft.com/office/drawing/2014/main" id="{7214088B-0432-0BF4-2EE4-915C8564C5B6}"/>
              </a:ext>
            </a:extLst>
          </p:cNvPr>
          <p:cNvSpPr/>
          <p:nvPr/>
        </p:nvSpPr>
        <p:spPr>
          <a:xfrm>
            <a:off x="404812" y="3508744"/>
            <a:ext cx="5492713" cy="2619054"/>
          </a:xfrm>
          <a:prstGeom prst="snip2DiagRect">
            <a:avLst/>
          </a:prstGeom>
          <a:ln>
            <a:solidFill>
              <a:schemeClr val="bg1">
                <a:lumMod val="6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r>
              <a:rPr lang="fr-FR" sz="1400"/>
              <a:t>Bien que </a:t>
            </a:r>
            <a:r>
              <a:rPr lang="fr-FR" sz="1400" b="1"/>
              <a:t>vitaux pour la climatisation </a:t>
            </a:r>
            <a:r>
              <a:rPr lang="fr-FR" sz="1400"/>
              <a:t>de notre planète, </a:t>
            </a:r>
          </a:p>
          <a:p>
            <a:pPr algn="ctr"/>
            <a:r>
              <a:rPr lang="fr-FR" sz="1400" b="1"/>
              <a:t>les gaz à effet de serre s’accumulent </a:t>
            </a:r>
            <a:r>
              <a:rPr lang="fr-FR" sz="1400"/>
              <a:t>dans l’atmosphère.</a:t>
            </a:r>
          </a:p>
          <a:p>
            <a:pPr algn="ctr"/>
            <a:endParaRPr lang="fr-FR" sz="1400"/>
          </a:p>
          <a:p>
            <a:pPr algn="ctr"/>
            <a:r>
              <a:rPr lang="fr-FR" sz="1400"/>
              <a:t>Ils empêchent les radiations du Soleil de s’échapper</a:t>
            </a:r>
          </a:p>
          <a:p>
            <a:pPr algn="ctr"/>
            <a:r>
              <a:rPr lang="fr-FR" sz="1400"/>
              <a:t>causant ainsi </a:t>
            </a:r>
            <a:r>
              <a:rPr lang="fr-FR" sz="1400" b="1"/>
              <a:t>un dérèglement climatique</a:t>
            </a:r>
            <a:r>
              <a:rPr lang="fr-FR" sz="1400"/>
              <a:t>.</a:t>
            </a:r>
          </a:p>
          <a:p>
            <a:pPr algn="ctr"/>
            <a:endParaRPr lang="fr-FR" sz="1400"/>
          </a:p>
          <a:p>
            <a:pPr algn="ctr"/>
            <a:r>
              <a:rPr lang="fr-FR" sz="1400" b="1"/>
              <a:t>Le suivi de l’émission de GES fait donc partie des enjeux industriels clés pour l’industrie du 21</a:t>
            </a:r>
            <a:r>
              <a:rPr lang="fr-FR" sz="1400" b="1" baseline="30000"/>
              <a:t>ème</a:t>
            </a:r>
            <a:r>
              <a:rPr lang="fr-FR" sz="1400" b="1"/>
              <a:t> siècle</a:t>
            </a:r>
          </a:p>
        </p:txBody>
      </p:sp>
      <p:pic>
        <p:nvPicPr>
          <p:cNvPr id="2052" name="Picture 4" descr="CO2-equivalent explained | Climate Now">
            <a:extLst>
              <a:ext uri="{FF2B5EF4-FFF2-40B4-BE49-F238E27FC236}">
                <a16:creationId xmlns:a16="http://schemas.microsoft.com/office/drawing/2014/main" id="{5878D1CF-011E-E4CB-C1C5-4166D574FC87}"/>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721935" y="1826323"/>
            <a:ext cx="2665228" cy="1499191"/>
          </a:xfrm>
          <a:prstGeom prst="rect">
            <a:avLst/>
          </a:prstGeom>
          <a:noFill/>
          <a:extLst>
            <a:ext uri="{909E8E84-426E-40DD-AFC4-6F175D3DCCD1}">
              <a14:hiddenFill xmlns:a14="http://schemas.microsoft.com/office/drawing/2010/main">
                <a:solidFill>
                  <a:srgbClr val="FFFFFF"/>
                </a:solidFill>
              </a14:hiddenFill>
            </a:ext>
          </a:extLst>
        </p:spPr>
      </p:pic>
      <p:sp>
        <p:nvSpPr>
          <p:cNvPr id="11" name="Flèche : bas 10">
            <a:extLst>
              <a:ext uri="{FF2B5EF4-FFF2-40B4-BE49-F238E27FC236}">
                <a16:creationId xmlns:a16="http://schemas.microsoft.com/office/drawing/2014/main" id="{540E6A5E-674E-601F-FCBC-030A52F5D5A8}"/>
              </a:ext>
            </a:extLst>
          </p:cNvPr>
          <p:cNvSpPr/>
          <p:nvPr/>
        </p:nvSpPr>
        <p:spPr>
          <a:xfrm rot="5400000">
            <a:off x="5437080" y="2548870"/>
            <a:ext cx="559382" cy="579515"/>
          </a:xfrm>
          <a:prstGeom prst="downArrow">
            <a:avLst/>
          </a:prstGeom>
          <a:solidFill>
            <a:srgbClr val="B7B7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2" name="Nuage 11">
            <a:extLst>
              <a:ext uri="{FF2B5EF4-FFF2-40B4-BE49-F238E27FC236}">
                <a16:creationId xmlns:a16="http://schemas.microsoft.com/office/drawing/2014/main" id="{22029089-DDA4-A73C-198D-DCD968F3B02C}"/>
              </a:ext>
            </a:extLst>
          </p:cNvPr>
          <p:cNvSpPr/>
          <p:nvPr/>
        </p:nvSpPr>
        <p:spPr>
          <a:xfrm>
            <a:off x="3345711" y="1145828"/>
            <a:ext cx="1417675" cy="588880"/>
          </a:xfrm>
          <a:prstGeom prst="cloud">
            <a:avLst/>
          </a:prstGeom>
          <a:solidFill>
            <a:srgbClr val="B7B7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a:t>CO2eq</a:t>
            </a:r>
          </a:p>
        </p:txBody>
      </p:sp>
      <p:pic>
        <p:nvPicPr>
          <p:cNvPr id="2054" name="Picture 6" descr="Effet de serre - La Terre se chauffe au solaire | Tribune de Genève">
            <a:extLst>
              <a:ext uri="{FF2B5EF4-FFF2-40B4-BE49-F238E27FC236}">
                <a16:creationId xmlns:a16="http://schemas.microsoft.com/office/drawing/2014/main" id="{620A32CB-5F0F-3795-C23C-2DDADC1E2C21}"/>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87215" y="1637736"/>
            <a:ext cx="2347398" cy="17115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5430621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03496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0CC09F09-E8F2-F904-CE8A-E9927FE3FEF8}"/>
              </a:ext>
            </a:extLst>
          </p:cNvPr>
          <p:cNvSpPr>
            <a:spLocks noGrp="1"/>
          </p:cNvSpPr>
          <p:nvPr>
            <p:ph type="ctrTitle"/>
          </p:nvPr>
        </p:nvSpPr>
        <p:spPr>
          <a:xfrm>
            <a:off x="404813" y="3678123"/>
            <a:ext cx="11386134" cy="830997"/>
          </a:xfrm>
        </p:spPr>
        <p:txBody>
          <a:bodyPr/>
          <a:lstStyle/>
          <a:p>
            <a:r>
              <a:rPr lang="en-US"/>
              <a:t>Sprint 1 – </a:t>
            </a:r>
            <a:r>
              <a:rPr lang="en-US" err="1"/>
              <a:t>Consignes</a:t>
            </a:r>
            <a:endParaRPr lang="en-US"/>
          </a:p>
        </p:txBody>
      </p:sp>
    </p:spTree>
    <p:extLst>
      <p:ext uri="{BB962C8B-B14F-4D97-AF65-F5344CB8AC3E}">
        <p14:creationId xmlns:p14="http://schemas.microsoft.com/office/powerpoint/2010/main" val="379348310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7" name="Title 1">
            <a:extLst>
              <a:ext uri="{FF2B5EF4-FFF2-40B4-BE49-F238E27FC236}">
                <a16:creationId xmlns:a16="http://schemas.microsoft.com/office/drawing/2014/main" id="{A3B48900-DB81-4884-BFC1-02DBC0DE7947}"/>
              </a:ext>
            </a:extLst>
          </p:cNvPr>
          <p:cNvSpPr txBox="1">
            <a:spLocks/>
          </p:cNvSpPr>
          <p:nvPr/>
        </p:nvSpPr>
        <p:spPr>
          <a:xfrm>
            <a:off x="227013" y="-1285918"/>
            <a:ext cx="11362013" cy="1076817"/>
          </a:xfrm>
        </p:spPr>
        <p:txBody>
          <a:bodyPr tIns="180000"/>
          <a:lstStyle>
            <a:lvl1pPr marL="0" marR="0" indent="0" algn="l" defTabSz="914400" rtl="0" eaLnBrk="1" fontAlgn="auto" latinLnBrk="0" hangingPunct="1">
              <a:lnSpc>
                <a:spcPct val="90000"/>
              </a:lnSpc>
              <a:spcBef>
                <a:spcPts val="0"/>
              </a:spcBef>
              <a:spcAft>
                <a:spcPts val="0"/>
              </a:spcAft>
              <a:buClrTx/>
              <a:buSzTx/>
              <a:buFontTx/>
              <a:buNone/>
              <a:tabLst/>
              <a:defRPr kumimoji="0" lang="en-US" sz="3000" b="0" i="0" u="none" strike="noStrike" kern="1200" cap="none" spc="200" normalizeH="0" baseline="0" noProof="0">
                <a:ln>
                  <a:noFill/>
                </a:ln>
                <a:solidFill>
                  <a:schemeClr val="accent1"/>
                </a:solidFill>
                <a:effectLst/>
                <a:uLnTx/>
                <a:uFillTx/>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2400" b="0" i="0" u="none" strike="noStrike" kern="1200" cap="none" spc="200" normalizeH="0" baseline="0" noProof="0">
              <a:ln>
                <a:noFill/>
              </a:ln>
              <a:solidFill>
                <a:srgbClr val="2B143D"/>
              </a:solidFill>
              <a:effectLst/>
              <a:uLnTx/>
              <a:uFillTx/>
              <a:latin typeface="Verdana"/>
              <a:ea typeface="+mj-ea"/>
              <a:cs typeface="+mj-cs"/>
            </a:endParaRPr>
          </a:p>
        </p:txBody>
      </p:sp>
      <p:sp>
        <p:nvSpPr>
          <p:cNvPr id="22" name="Title 2">
            <a:extLst>
              <a:ext uri="{FF2B5EF4-FFF2-40B4-BE49-F238E27FC236}">
                <a16:creationId xmlns:a16="http://schemas.microsoft.com/office/drawing/2014/main" id="{92557DC4-B18F-4199-93D0-1D081E24520F}"/>
              </a:ext>
            </a:extLst>
          </p:cNvPr>
          <p:cNvSpPr>
            <a:spLocks noGrp="1"/>
          </p:cNvSpPr>
          <p:nvPr>
            <p:ph type="title"/>
          </p:nvPr>
        </p:nvSpPr>
        <p:spPr/>
        <p:txBody>
          <a:bodyPr/>
          <a:lstStyle/>
          <a:p>
            <a:pPr>
              <a:spcBef>
                <a:spcPct val="0"/>
              </a:spcBef>
              <a:defRPr/>
            </a:pPr>
            <a:r>
              <a:rPr lang="fr-FR" spc="0">
                <a:solidFill>
                  <a:schemeClr val="tx1"/>
                </a:solidFill>
              </a:rPr>
              <a:t>Consignes sprint 1</a:t>
            </a:r>
          </a:p>
        </p:txBody>
      </p:sp>
      <p:sp>
        <p:nvSpPr>
          <p:cNvPr id="23" name="TextBox 22">
            <a:extLst>
              <a:ext uri="{FF2B5EF4-FFF2-40B4-BE49-F238E27FC236}">
                <a16:creationId xmlns:a16="http://schemas.microsoft.com/office/drawing/2014/main" id="{829AF7EE-145B-4C4A-8CEB-F55DCBE6686C}"/>
              </a:ext>
            </a:extLst>
          </p:cNvPr>
          <p:cNvSpPr txBox="1"/>
          <p:nvPr/>
        </p:nvSpPr>
        <p:spPr>
          <a:xfrm>
            <a:off x="420809" y="1372867"/>
            <a:ext cx="11495503" cy="618605"/>
          </a:xfrm>
          <a:prstGeom prst="rect">
            <a:avLst/>
          </a:prstGeom>
          <a:solidFill>
            <a:schemeClr val="accent1">
              <a:lumMod val="50000"/>
            </a:schemeClr>
          </a:solidFill>
        </p:spPr>
        <p:txBody>
          <a:bodyPr wrap="square">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FR" sz="1600" b="1" i="0" u="none" strike="noStrike" kern="1200" cap="none" spc="0" normalizeH="0" baseline="0" noProof="0">
                <a:ln>
                  <a:noFill/>
                </a:ln>
                <a:solidFill>
                  <a:srgbClr val="0070AD">
                    <a:lumMod val="60000"/>
                    <a:lumOff val="40000"/>
                  </a:srgbClr>
                </a:solidFill>
                <a:effectLst/>
                <a:uLnTx/>
                <a:uFillTx/>
                <a:ea typeface="+mn-ea"/>
                <a:cs typeface="Arial" charset="0"/>
              </a:rPr>
              <a:t>Objectif </a:t>
            </a:r>
            <a:r>
              <a:rPr kumimoji="0" lang="fr-FR" sz="1600" b="0" i="0" u="none" strike="noStrike" kern="1200" cap="none" spc="0" normalizeH="0" baseline="0" noProof="0">
                <a:ln>
                  <a:noFill/>
                </a:ln>
                <a:solidFill>
                  <a:srgbClr val="0070AD">
                    <a:lumMod val="60000"/>
                    <a:lumOff val="40000"/>
                  </a:srgbClr>
                </a:solidFill>
                <a:effectLst/>
                <a:uLnTx/>
                <a:uFillTx/>
                <a:ea typeface="+mn-ea"/>
                <a:cs typeface="Arial" charset="0"/>
              </a:rPr>
              <a:t>: </a:t>
            </a:r>
            <a:r>
              <a:rPr lang="fr-FR" sz="1600">
                <a:solidFill>
                  <a:srgbClr val="0070AD">
                    <a:lumMod val="60000"/>
                    <a:lumOff val="40000"/>
                  </a:srgbClr>
                </a:solidFill>
                <a:cs typeface="Arial" charset="0"/>
              </a:rPr>
              <a:t>Comprendre le contexte de la mission, identifier la/les problématiques, commencer une ébauche des différents leviers</a:t>
            </a:r>
            <a:r>
              <a:rPr kumimoji="0" lang="fr-FR" sz="1600" b="0" i="0" u="none" strike="noStrike" kern="1200" cap="none" spc="0" normalizeH="0" baseline="0" noProof="0">
                <a:ln>
                  <a:noFill/>
                </a:ln>
                <a:solidFill>
                  <a:srgbClr val="0070AD">
                    <a:lumMod val="60000"/>
                    <a:lumOff val="40000"/>
                  </a:srgbClr>
                </a:solidFill>
                <a:effectLst/>
                <a:uLnTx/>
                <a:uFillTx/>
                <a:ea typeface="+mn-ea"/>
                <a:cs typeface="Arial" charset="0"/>
              </a:rPr>
              <a:t>. </a:t>
            </a:r>
            <a:r>
              <a:rPr kumimoji="0" lang="fr-FR" sz="1600" b="0" i="1" u="none" strike="noStrike" kern="1200" cap="none" spc="0" normalizeH="0" baseline="0" noProof="0">
                <a:ln>
                  <a:noFill/>
                </a:ln>
                <a:solidFill>
                  <a:srgbClr val="FFFFFF"/>
                </a:solidFill>
                <a:effectLst/>
                <a:uLnTx/>
                <a:uFillTx/>
                <a:ea typeface="+mn-ea"/>
                <a:cs typeface="Arial" charset="0"/>
              </a:rPr>
              <a:t>NB: Servez-vous des </a:t>
            </a:r>
            <a:r>
              <a:rPr kumimoji="0" lang="fr-FR" sz="1600" b="0" i="1" u="none" strike="noStrike" kern="1200" cap="none" spc="0" normalizeH="0" baseline="0" noProof="0" err="1">
                <a:ln>
                  <a:noFill/>
                </a:ln>
                <a:solidFill>
                  <a:srgbClr val="FFFFFF"/>
                </a:solidFill>
                <a:effectLst/>
                <a:uLnTx/>
                <a:uFillTx/>
                <a:ea typeface="+mn-ea"/>
                <a:cs typeface="Arial" charset="0"/>
              </a:rPr>
              <a:t>templates</a:t>
            </a:r>
            <a:r>
              <a:rPr kumimoji="0" lang="fr-FR" sz="1600" b="0" i="1" u="none" strike="noStrike" kern="1200" cap="none" spc="0" normalizeH="0" baseline="0" noProof="0">
                <a:ln>
                  <a:noFill/>
                </a:ln>
                <a:solidFill>
                  <a:srgbClr val="FFFFFF"/>
                </a:solidFill>
                <a:effectLst/>
                <a:uLnTx/>
                <a:uFillTx/>
                <a:ea typeface="+mn-ea"/>
                <a:cs typeface="Arial" charset="0"/>
              </a:rPr>
              <a:t> à votre disposition ci-après.</a:t>
            </a:r>
            <a:endParaRPr kumimoji="0" lang="fr-FR" sz="1600" b="0" i="0" u="none" strike="noStrike" kern="1200" cap="none" spc="0" normalizeH="0" baseline="0" noProof="0">
              <a:ln>
                <a:noFill/>
              </a:ln>
              <a:solidFill>
                <a:prstClr val="black"/>
              </a:solidFill>
              <a:effectLst/>
              <a:uLnTx/>
              <a:uFillTx/>
              <a:ea typeface="+mn-ea"/>
              <a:cs typeface="Arial" charset="0"/>
            </a:endParaRPr>
          </a:p>
        </p:txBody>
      </p:sp>
      <p:sp>
        <p:nvSpPr>
          <p:cNvPr id="3" name="Rectangle 2">
            <a:extLst>
              <a:ext uri="{FF2B5EF4-FFF2-40B4-BE49-F238E27FC236}">
                <a16:creationId xmlns:a16="http://schemas.microsoft.com/office/drawing/2014/main" id="{0D07E198-E1CD-773D-2022-267A4B92A91F}"/>
              </a:ext>
            </a:extLst>
          </p:cNvPr>
          <p:cNvSpPr/>
          <p:nvPr/>
        </p:nvSpPr>
        <p:spPr>
          <a:xfrm>
            <a:off x="420810" y="2104008"/>
            <a:ext cx="4212150" cy="4271137"/>
          </a:xfrm>
          <a:prstGeom prst="rect">
            <a:avLst/>
          </a:prstGeom>
          <a:solidFill>
            <a:schemeClr val="bg1">
              <a:lumMod val="85000"/>
            </a:schemeClr>
          </a:solidFill>
          <a:ln>
            <a:solidFill>
              <a:srgbClr val="003857"/>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342900" indent="-342900">
              <a:buClr>
                <a:schemeClr val="accent2"/>
              </a:buClr>
              <a:buFont typeface="+mj-lt"/>
              <a:buAutoNum type="arabicPeriod"/>
            </a:pPr>
            <a:r>
              <a:rPr lang="fr-FR" sz="1400">
                <a:solidFill>
                  <a:schemeClr val="tx1"/>
                </a:solidFill>
              </a:rPr>
              <a:t>Lister les activités principales du client</a:t>
            </a:r>
          </a:p>
          <a:p>
            <a:pPr marL="342900" indent="-342900">
              <a:buClr>
                <a:schemeClr val="accent2"/>
              </a:buClr>
              <a:buFont typeface="+mj-lt"/>
              <a:buAutoNum type="arabicPeriod"/>
            </a:pPr>
            <a:endParaRPr lang="fr-FR" sz="1400">
              <a:solidFill>
                <a:schemeClr val="tx1"/>
              </a:solidFill>
            </a:endParaRPr>
          </a:p>
          <a:p>
            <a:pPr marL="342900" indent="-342900">
              <a:buClr>
                <a:schemeClr val="accent2"/>
              </a:buClr>
              <a:buFont typeface="+mj-lt"/>
              <a:buAutoNum type="arabicPeriod"/>
            </a:pPr>
            <a:r>
              <a:rPr lang="fr-FR" sz="1400">
                <a:solidFill>
                  <a:schemeClr val="tx1"/>
                </a:solidFill>
              </a:rPr>
              <a:t>Lister les principaux irritants en rapport avec la problématique globale</a:t>
            </a:r>
          </a:p>
          <a:p>
            <a:pPr marL="342900" indent="-342900">
              <a:buClr>
                <a:schemeClr val="accent2"/>
              </a:buClr>
              <a:buFont typeface="+mj-lt"/>
              <a:buAutoNum type="arabicPeriod"/>
            </a:pPr>
            <a:endParaRPr lang="fr-FR" sz="1600">
              <a:solidFill>
                <a:schemeClr val="tx1"/>
              </a:solidFill>
            </a:endParaRPr>
          </a:p>
          <a:p>
            <a:pPr marL="342900" indent="-342900">
              <a:buClr>
                <a:schemeClr val="accent2"/>
              </a:buClr>
              <a:buFont typeface="+mj-lt"/>
              <a:buAutoNum type="arabicPeriod"/>
            </a:pPr>
            <a:r>
              <a:rPr lang="fr-FR" sz="1400">
                <a:solidFill>
                  <a:schemeClr val="tx1"/>
                </a:solidFill>
              </a:rPr>
              <a:t>Proposer des premières solutions pour lever les irritants et/ou les éradiquer. Les solutions peuvent être de plusieurs sortes : </a:t>
            </a:r>
          </a:p>
          <a:p>
            <a:pPr marL="800100" lvl="1" indent="-342900">
              <a:buClr>
                <a:schemeClr val="accent2"/>
              </a:buClr>
              <a:buFont typeface="+mj-lt"/>
              <a:buAutoNum type="arabicPeriod"/>
            </a:pPr>
            <a:r>
              <a:rPr lang="fr-FR" sz="1100" b="1">
                <a:solidFill>
                  <a:schemeClr val="tx1"/>
                </a:solidFill>
              </a:rPr>
              <a:t>Processus : </a:t>
            </a:r>
            <a:r>
              <a:rPr lang="fr-FR" sz="1100">
                <a:solidFill>
                  <a:schemeClr val="tx1"/>
                </a:solidFill>
              </a:rPr>
              <a:t>transformation des activités (ajout, suppression, évolution)</a:t>
            </a:r>
          </a:p>
          <a:p>
            <a:pPr marL="800100" lvl="1" indent="-342900">
              <a:buClr>
                <a:schemeClr val="accent2"/>
              </a:buClr>
              <a:buFont typeface="+mj-lt"/>
              <a:buAutoNum type="arabicPeriod"/>
            </a:pPr>
            <a:r>
              <a:rPr lang="fr-FR" sz="1100" b="1">
                <a:solidFill>
                  <a:schemeClr val="tx1"/>
                </a:solidFill>
              </a:rPr>
              <a:t>Organisation : </a:t>
            </a:r>
            <a:r>
              <a:rPr lang="fr-FR" sz="1100">
                <a:solidFill>
                  <a:schemeClr val="tx1"/>
                </a:solidFill>
              </a:rPr>
              <a:t>transformation des manières de travailler ensemble, de communiquer, de piloter les activités,…</a:t>
            </a:r>
          </a:p>
          <a:p>
            <a:pPr marL="800100" lvl="1" indent="-342900">
              <a:buClr>
                <a:schemeClr val="accent2"/>
              </a:buClr>
              <a:buFont typeface="+mj-lt"/>
              <a:buAutoNum type="arabicPeriod"/>
            </a:pPr>
            <a:r>
              <a:rPr lang="fr-FR" sz="1100" b="1">
                <a:solidFill>
                  <a:schemeClr val="tx1"/>
                </a:solidFill>
              </a:rPr>
              <a:t>Outils : </a:t>
            </a:r>
            <a:r>
              <a:rPr lang="fr-FR" sz="1100">
                <a:solidFill>
                  <a:schemeClr val="tx1"/>
                </a:solidFill>
              </a:rPr>
              <a:t>Transformation des outils pour une meilleure gestion opérationnelle, et/ou une meilleure prise de décision (= solution “Data &amp; Analytics”) </a:t>
            </a:r>
          </a:p>
        </p:txBody>
      </p:sp>
      <p:pic>
        <p:nvPicPr>
          <p:cNvPr id="5" name="Picture 4">
            <a:extLst>
              <a:ext uri="{FF2B5EF4-FFF2-40B4-BE49-F238E27FC236}">
                <a16:creationId xmlns:a16="http://schemas.microsoft.com/office/drawing/2014/main" id="{3D45D35C-DDD5-E4CD-CBCA-773B66C09CDF}"/>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823669" y="2104008"/>
            <a:ext cx="7092643" cy="4271137"/>
          </a:xfrm>
          <a:prstGeom prst="rect">
            <a:avLst/>
          </a:prstGeom>
          <a:ln w="12700">
            <a:solidFill>
              <a:srgbClr val="003857"/>
            </a:solidFill>
          </a:ln>
        </p:spPr>
      </p:pic>
      <p:cxnSp>
        <p:nvCxnSpPr>
          <p:cNvPr id="8" name="Straight Arrow Connector 7">
            <a:extLst>
              <a:ext uri="{FF2B5EF4-FFF2-40B4-BE49-F238E27FC236}">
                <a16:creationId xmlns:a16="http://schemas.microsoft.com/office/drawing/2014/main" id="{3EFB7242-14EE-E214-3877-77DEFF4BE02D}"/>
              </a:ext>
            </a:extLst>
          </p:cNvPr>
          <p:cNvCxnSpPr>
            <a:cxnSpLocks/>
          </p:cNvCxnSpPr>
          <p:nvPr/>
        </p:nvCxnSpPr>
        <p:spPr>
          <a:xfrm>
            <a:off x="4513277" y="3647114"/>
            <a:ext cx="3215221" cy="0"/>
          </a:xfrm>
          <a:prstGeom prst="straightConnector1">
            <a:avLst/>
          </a:prstGeom>
          <a:ln w="762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C1EC4DC6-20D3-BBBE-0670-58D4D2A6F90C}"/>
              </a:ext>
            </a:extLst>
          </p:cNvPr>
          <p:cNvCxnSpPr>
            <a:cxnSpLocks/>
          </p:cNvCxnSpPr>
          <p:nvPr/>
        </p:nvCxnSpPr>
        <p:spPr>
          <a:xfrm>
            <a:off x="4513277" y="4309844"/>
            <a:ext cx="5385732" cy="0"/>
          </a:xfrm>
          <a:prstGeom prst="straightConnector1">
            <a:avLst/>
          </a:prstGeom>
          <a:ln w="762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08D79C5A-CF5E-DE5D-3641-3DE0A54C2E17}"/>
              </a:ext>
            </a:extLst>
          </p:cNvPr>
          <p:cNvCxnSpPr>
            <a:cxnSpLocks/>
          </p:cNvCxnSpPr>
          <p:nvPr/>
        </p:nvCxnSpPr>
        <p:spPr>
          <a:xfrm>
            <a:off x="4513277" y="3252831"/>
            <a:ext cx="763398" cy="0"/>
          </a:xfrm>
          <a:prstGeom prst="straightConnector1">
            <a:avLst/>
          </a:prstGeom>
          <a:ln w="762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50838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2">
            <a:extLst>
              <a:ext uri="{FF2B5EF4-FFF2-40B4-BE49-F238E27FC236}">
                <a16:creationId xmlns:a16="http://schemas.microsoft.com/office/drawing/2014/main" id="{66568384-2D4C-4A7C-8BD3-FEB9ED186715}"/>
              </a:ext>
            </a:extLst>
          </p:cNvPr>
          <p:cNvSpPr txBox="1">
            <a:spLocks/>
          </p:cNvSpPr>
          <p:nvPr/>
        </p:nvSpPr>
        <p:spPr>
          <a:xfrm>
            <a:off x="196491" y="464175"/>
            <a:ext cx="10327010" cy="375980"/>
          </a:xfrm>
          <a:prstGeom prst="rect">
            <a:avLst/>
          </a:prstGeom>
        </p:spPr>
        <p:txBody>
          <a:bodyPr/>
          <a:lstStyle>
            <a:lvl1pPr marL="0" marR="0" indent="0" algn="l" defTabSz="914400" rtl="0" eaLnBrk="1" fontAlgn="auto" latinLnBrk="0" hangingPunct="1">
              <a:lnSpc>
                <a:spcPct val="100000"/>
              </a:lnSpc>
              <a:spcBef>
                <a:spcPct val="0"/>
              </a:spcBef>
              <a:spcAft>
                <a:spcPts val="0"/>
              </a:spcAft>
              <a:buClrTx/>
              <a:buSzTx/>
              <a:buFontTx/>
              <a:buNone/>
              <a:tabLst/>
              <a:defRPr kumimoji="0" lang="en-US" sz="2800" b="0" i="0" u="none" strike="noStrike" kern="1200" cap="none" spc="200" normalizeH="0" baseline="0" noProof="0" dirty="0">
                <a:ln>
                  <a:noFill/>
                </a:ln>
                <a:solidFill>
                  <a:schemeClr val="tx2"/>
                </a:solidFill>
                <a:effectLst/>
                <a:uLnTx/>
                <a:uFillTx/>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fr-FR" sz="1800" b="1" i="0" u="none" strike="noStrike" kern="1200" cap="none" spc="0" normalizeH="0" baseline="0" noProof="0">
                <a:ln>
                  <a:noFill/>
                </a:ln>
                <a:solidFill>
                  <a:prstClr val="black"/>
                </a:solidFill>
                <a:effectLst/>
                <a:uLnTx/>
                <a:uFillTx/>
                <a:latin typeface="Ubuntu" panose="020B0504030602030204" pitchFamily="34" charset="0"/>
                <a:ea typeface="+mj-ea"/>
                <a:cs typeface="+mj-cs"/>
              </a:rPr>
              <a:t>RESTITUTION DE L’ETUDE DE CAS</a:t>
            </a:r>
          </a:p>
        </p:txBody>
      </p:sp>
      <p:sp>
        <p:nvSpPr>
          <p:cNvPr id="15" name="Rectangle 14">
            <a:extLst>
              <a:ext uri="{FF2B5EF4-FFF2-40B4-BE49-F238E27FC236}">
                <a16:creationId xmlns:a16="http://schemas.microsoft.com/office/drawing/2014/main" id="{5E6C5390-43A8-4CB0-B612-EDA38A5E4C92}"/>
              </a:ext>
            </a:extLst>
          </p:cNvPr>
          <p:cNvSpPr/>
          <p:nvPr/>
        </p:nvSpPr>
        <p:spPr>
          <a:xfrm>
            <a:off x="144863" y="1234755"/>
            <a:ext cx="3868484" cy="316601"/>
          </a:xfrm>
          <a:prstGeom prst="rect">
            <a:avLst/>
          </a:prstGeom>
          <a:solidFill>
            <a:srgbClr val="000091">
              <a:lumMod val="50000"/>
            </a:srgbClr>
          </a:solidFill>
          <a:ln>
            <a:noFill/>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100" b="1" i="1" kern="0" err="1">
                <a:solidFill>
                  <a:srgbClr val="FFFFFF"/>
                </a:solidFill>
                <a:latin typeface="Ubuntu" panose="020B0504030602030204" pitchFamily="34" charset="0"/>
                <a:cs typeface="Calibri"/>
              </a:rPr>
              <a:t>Act</a:t>
            </a:r>
            <a:r>
              <a:rPr kumimoji="0" lang="fr-FR" sz="1100" b="1" i="1" u="none" strike="noStrike" kern="0" cap="none" spc="0" normalizeH="0" baseline="0" noProof="0" err="1">
                <a:ln>
                  <a:noFill/>
                </a:ln>
                <a:solidFill>
                  <a:srgbClr val="FFFFFF"/>
                </a:solidFill>
                <a:effectLst/>
                <a:uLnTx/>
                <a:uFillTx/>
                <a:latin typeface="Ubuntu" panose="020B0504030602030204" pitchFamily="34" charset="0"/>
                <a:ea typeface="+mn-ea"/>
                <a:cs typeface="Calibri"/>
              </a:rPr>
              <a:t>ivités</a:t>
            </a:r>
            <a:r>
              <a:rPr kumimoji="0" lang="fr-FR" sz="1100" b="1" i="1" u="none" strike="noStrike" kern="0" cap="none" spc="0" normalizeH="0" baseline="0" noProof="0">
                <a:ln>
                  <a:noFill/>
                </a:ln>
                <a:solidFill>
                  <a:srgbClr val="FFFFFF"/>
                </a:solidFill>
                <a:effectLst/>
                <a:uLnTx/>
                <a:uFillTx/>
                <a:latin typeface="Ubuntu" panose="020B0504030602030204" pitchFamily="34" charset="0"/>
                <a:ea typeface="+mn-ea"/>
                <a:cs typeface="Calibri"/>
              </a:rPr>
              <a:t> principales</a:t>
            </a:r>
          </a:p>
        </p:txBody>
      </p:sp>
      <p:sp>
        <p:nvSpPr>
          <p:cNvPr id="16" name="Rectangle 15">
            <a:extLst>
              <a:ext uri="{FF2B5EF4-FFF2-40B4-BE49-F238E27FC236}">
                <a16:creationId xmlns:a16="http://schemas.microsoft.com/office/drawing/2014/main" id="{9BFADDB0-4957-4DF4-B899-0DBE4C0412F0}"/>
              </a:ext>
            </a:extLst>
          </p:cNvPr>
          <p:cNvSpPr/>
          <p:nvPr/>
        </p:nvSpPr>
        <p:spPr>
          <a:xfrm>
            <a:off x="144863" y="1634065"/>
            <a:ext cx="3868484" cy="4335550"/>
          </a:xfrm>
          <a:prstGeom prst="rect">
            <a:avLst/>
          </a:prstGeom>
          <a:solidFill>
            <a:schemeClr val="bg1"/>
          </a:solidFill>
          <a:ln>
            <a:noFill/>
          </a:ln>
          <a:effectLst/>
        </p:spPr>
        <p:txBody>
          <a:bodyPr tIns="91440" bIns="91440" rtlCol="0" anchor="t"/>
          <a:lstStyle/>
          <a:p>
            <a:pPr marL="0" marR="0" lvl="1" indent="0" algn="l" defTabSz="914400" rtl="0" eaLnBrk="1" fontAlgn="auto" latinLnBrk="0" hangingPunct="1">
              <a:lnSpc>
                <a:spcPct val="100000"/>
              </a:lnSpc>
              <a:spcBef>
                <a:spcPts val="300"/>
              </a:spcBef>
              <a:spcAft>
                <a:spcPts val="0"/>
              </a:spcAft>
              <a:buClrTx/>
              <a:buSzTx/>
              <a:buFontTx/>
              <a:buNone/>
              <a:tabLst/>
              <a:defRPr/>
            </a:pPr>
            <a:endParaRPr kumimoji="0" lang="fr-FR" sz="1100" b="0" i="0" u="none" strike="noStrike" kern="0" cap="none" spc="0" normalizeH="0" baseline="0" noProof="0">
              <a:ln>
                <a:noFill/>
              </a:ln>
              <a:solidFill>
                <a:srgbClr val="000000"/>
              </a:solidFill>
              <a:effectLst/>
              <a:uLnTx/>
              <a:uFillTx/>
              <a:latin typeface="Ubuntu" panose="020B0504030602030204" pitchFamily="34" charset="0"/>
              <a:ea typeface="+mn-ea"/>
              <a:cs typeface="Arial" charset="0"/>
            </a:endParaRPr>
          </a:p>
        </p:txBody>
      </p:sp>
      <p:sp>
        <p:nvSpPr>
          <p:cNvPr id="45" name="Rectangle 44">
            <a:extLst>
              <a:ext uri="{FF2B5EF4-FFF2-40B4-BE49-F238E27FC236}">
                <a16:creationId xmlns:a16="http://schemas.microsoft.com/office/drawing/2014/main" id="{F408FC67-A24F-47D4-941B-1EB9CBAD83BF}"/>
              </a:ext>
            </a:extLst>
          </p:cNvPr>
          <p:cNvSpPr/>
          <p:nvPr/>
        </p:nvSpPr>
        <p:spPr>
          <a:xfrm>
            <a:off x="8161105" y="1233702"/>
            <a:ext cx="3868484" cy="316601"/>
          </a:xfrm>
          <a:prstGeom prst="rect">
            <a:avLst/>
          </a:prstGeom>
          <a:solidFill>
            <a:srgbClr val="000091">
              <a:lumMod val="50000"/>
            </a:srgbClr>
          </a:solidFill>
          <a:ln>
            <a:noFill/>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1" u="none" strike="noStrike" kern="0" cap="none" spc="0" normalizeH="0" baseline="0" noProof="0">
                <a:ln>
                  <a:noFill/>
                </a:ln>
                <a:solidFill>
                  <a:srgbClr val="FFFFFF"/>
                </a:solidFill>
                <a:effectLst/>
                <a:uLnTx/>
                <a:uFillTx/>
                <a:latin typeface="Ubuntu" panose="020B0504030602030204" pitchFamily="34" charset="0"/>
                <a:ea typeface="+mn-ea"/>
                <a:cs typeface="Calibri"/>
              </a:rPr>
              <a:t>Possibles solutions </a:t>
            </a:r>
          </a:p>
        </p:txBody>
      </p:sp>
      <p:sp>
        <p:nvSpPr>
          <p:cNvPr id="46" name="Rectangle 45">
            <a:extLst>
              <a:ext uri="{FF2B5EF4-FFF2-40B4-BE49-F238E27FC236}">
                <a16:creationId xmlns:a16="http://schemas.microsoft.com/office/drawing/2014/main" id="{197056FA-5540-4B79-8C59-FE1ECA93B783}"/>
              </a:ext>
            </a:extLst>
          </p:cNvPr>
          <p:cNvSpPr/>
          <p:nvPr/>
        </p:nvSpPr>
        <p:spPr>
          <a:xfrm>
            <a:off x="8161105" y="1655206"/>
            <a:ext cx="3868484" cy="4307026"/>
          </a:xfrm>
          <a:prstGeom prst="rect">
            <a:avLst/>
          </a:prstGeom>
          <a:solidFill>
            <a:schemeClr val="bg1"/>
          </a:solidFill>
          <a:ln>
            <a:noFill/>
          </a:ln>
          <a:effectLst/>
        </p:spPr>
        <p:txBody>
          <a:bodyPr tIns="91440" bIns="91440" rtlCol="0" anchor="t"/>
          <a:lstStyle/>
          <a:p>
            <a:pPr marL="0" marR="0" lvl="1" indent="0" algn="l" defTabSz="914400" rtl="0" eaLnBrk="1" fontAlgn="auto" latinLnBrk="0" hangingPunct="1">
              <a:lnSpc>
                <a:spcPct val="100000"/>
              </a:lnSpc>
              <a:spcBef>
                <a:spcPts val="300"/>
              </a:spcBef>
              <a:spcAft>
                <a:spcPts val="0"/>
              </a:spcAft>
              <a:buClrTx/>
              <a:buSzTx/>
              <a:buFontTx/>
              <a:buNone/>
              <a:tabLst/>
              <a:defRPr/>
            </a:pPr>
            <a:endParaRPr kumimoji="0" lang="fr-FR" sz="1000" b="0" i="0" u="none" strike="noStrike" kern="0" cap="none" spc="0" normalizeH="0" baseline="0" noProof="0">
              <a:ln>
                <a:noFill/>
              </a:ln>
              <a:solidFill>
                <a:srgbClr val="000000"/>
              </a:solidFill>
              <a:effectLst/>
              <a:uLnTx/>
              <a:uFillTx/>
              <a:latin typeface="Ubuntu" panose="020B0504030602030204" pitchFamily="34" charset="0"/>
              <a:ea typeface="+mn-ea"/>
              <a:cs typeface="Arial" charset="0"/>
            </a:endParaRPr>
          </a:p>
        </p:txBody>
      </p:sp>
      <p:sp>
        <p:nvSpPr>
          <p:cNvPr id="47" name="Rectangle 46">
            <a:extLst>
              <a:ext uri="{FF2B5EF4-FFF2-40B4-BE49-F238E27FC236}">
                <a16:creationId xmlns:a16="http://schemas.microsoft.com/office/drawing/2014/main" id="{3920B3C7-7398-4748-82C4-DC29BD597B6E}"/>
              </a:ext>
            </a:extLst>
          </p:cNvPr>
          <p:cNvSpPr/>
          <p:nvPr/>
        </p:nvSpPr>
        <p:spPr>
          <a:xfrm>
            <a:off x="4152984" y="1233702"/>
            <a:ext cx="3868484" cy="316601"/>
          </a:xfrm>
          <a:prstGeom prst="rect">
            <a:avLst/>
          </a:prstGeom>
          <a:solidFill>
            <a:srgbClr val="000091">
              <a:lumMod val="50000"/>
            </a:srgbClr>
          </a:solidFill>
          <a:ln>
            <a:noFill/>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1" u="none" strike="noStrike" kern="0" cap="none" spc="0" normalizeH="0" baseline="0" noProof="0">
                <a:ln>
                  <a:noFill/>
                </a:ln>
                <a:solidFill>
                  <a:srgbClr val="FFFFFF"/>
                </a:solidFill>
                <a:effectLst/>
                <a:uLnTx/>
                <a:uFillTx/>
                <a:latin typeface="Ubuntu" panose="020B0504030602030204" pitchFamily="34" charset="0"/>
                <a:ea typeface="+mn-ea"/>
                <a:cs typeface="Calibri"/>
              </a:rPr>
              <a:t>Principaux irritants</a:t>
            </a:r>
          </a:p>
        </p:txBody>
      </p:sp>
      <p:sp>
        <p:nvSpPr>
          <p:cNvPr id="48" name="Rectangle 47">
            <a:extLst>
              <a:ext uri="{FF2B5EF4-FFF2-40B4-BE49-F238E27FC236}">
                <a16:creationId xmlns:a16="http://schemas.microsoft.com/office/drawing/2014/main" id="{70758E8A-BA7C-4E32-B755-D8F429F306D2}"/>
              </a:ext>
            </a:extLst>
          </p:cNvPr>
          <p:cNvSpPr/>
          <p:nvPr/>
        </p:nvSpPr>
        <p:spPr>
          <a:xfrm>
            <a:off x="4152984" y="1655206"/>
            <a:ext cx="3868484" cy="4283955"/>
          </a:xfrm>
          <a:prstGeom prst="rect">
            <a:avLst/>
          </a:prstGeom>
          <a:solidFill>
            <a:schemeClr val="bg1"/>
          </a:solidFill>
          <a:ln>
            <a:noFill/>
          </a:ln>
          <a:effectLst/>
        </p:spPr>
        <p:txBody>
          <a:bodyPr tIns="91440" bIns="91440" rtlCol="0" anchor="t"/>
          <a:lstStyle/>
          <a:p>
            <a:pPr marL="0" marR="0" lvl="1" indent="0" algn="l" defTabSz="914400" rtl="0" eaLnBrk="1" fontAlgn="auto" latinLnBrk="0" hangingPunct="1">
              <a:lnSpc>
                <a:spcPct val="100000"/>
              </a:lnSpc>
              <a:spcBef>
                <a:spcPts val="300"/>
              </a:spcBef>
              <a:spcAft>
                <a:spcPts val="0"/>
              </a:spcAft>
              <a:buClrTx/>
              <a:buSzTx/>
              <a:buFontTx/>
              <a:buNone/>
              <a:tabLst/>
              <a:defRPr/>
            </a:pPr>
            <a:endParaRPr kumimoji="0" lang="fr-FR" sz="1100" b="0" i="0" u="none" strike="noStrike" kern="0" cap="none" spc="0" normalizeH="0" baseline="0" noProof="0">
              <a:ln>
                <a:noFill/>
              </a:ln>
              <a:solidFill>
                <a:srgbClr val="000000"/>
              </a:solidFill>
              <a:effectLst/>
              <a:uLnTx/>
              <a:uFillTx/>
              <a:latin typeface="Ubuntu" panose="020B0504030602030204" pitchFamily="34" charset="0"/>
              <a:ea typeface="+mn-ea"/>
              <a:cs typeface="Arial" charset="0"/>
            </a:endParaRPr>
          </a:p>
        </p:txBody>
      </p:sp>
      <p:sp>
        <p:nvSpPr>
          <p:cNvPr id="55" name="Rectangle 54">
            <a:extLst>
              <a:ext uri="{FF2B5EF4-FFF2-40B4-BE49-F238E27FC236}">
                <a16:creationId xmlns:a16="http://schemas.microsoft.com/office/drawing/2014/main" id="{7DE47A7C-F676-4D13-B01D-5D6552D5F68A}"/>
              </a:ext>
            </a:extLst>
          </p:cNvPr>
          <p:cNvSpPr/>
          <p:nvPr/>
        </p:nvSpPr>
        <p:spPr>
          <a:xfrm>
            <a:off x="4152984" y="422017"/>
            <a:ext cx="5946764" cy="460297"/>
          </a:xfrm>
          <a:prstGeom prst="rect">
            <a:avLst/>
          </a:prstGeom>
          <a:solidFill>
            <a:schemeClr val="bg1"/>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base" latinLnBrk="0" hangingPunct="1">
              <a:lnSpc>
                <a:spcPct val="100000"/>
              </a:lnSpc>
              <a:spcBef>
                <a:spcPts val="600"/>
              </a:spcBef>
              <a:spcAft>
                <a:spcPct val="0"/>
              </a:spcAft>
              <a:buClr>
                <a:srgbClr val="0070AD"/>
              </a:buClr>
              <a:buSzTx/>
              <a:buFontTx/>
              <a:buNone/>
              <a:tabLst/>
              <a:defRPr/>
            </a:pPr>
            <a:r>
              <a:rPr kumimoji="0" lang="fr-FR" sz="1000" b="0" i="0" u="none" strike="noStrike" kern="0" cap="none" spc="0" normalizeH="0" baseline="0" noProof="0">
                <a:ln>
                  <a:noFill/>
                </a:ln>
                <a:solidFill>
                  <a:srgbClr val="000000"/>
                </a:solidFill>
                <a:effectLst/>
                <a:uLnTx/>
                <a:uFillTx/>
                <a:latin typeface="Ubuntu" panose="020B0504030602030204" pitchFamily="34" charset="0"/>
                <a:ea typeface="+mn-ea"/>
                <a:cs typeface="+mn-cs"/>
              </a:rPr>
              <a:t>Equipe : </a:t>
            </a:r>
          </a:p>
          <a:p>
            <a:pPr marL="0" marR="0" lvl="0" indent="0" algn="l" defTabSz="914400" rtl="0" eaLnBrk="1" fontAlgn="base" latinLnBrk="0" hangingPunct="1">
              <a:lnSpc>
                <a:spcPct val="100000"/>
              </a:lnSpc>
              <a:spcBef>
                <a:spcPts val="600"/>
              </a:spcBef>
              <a:spcAft>
                <a:spcPct val="0"/>
              </a:spcAft>
              <a:buClr>
                <a:srgbClr val="0070AD"/>
              </a:buClr>
              <a:buSzTx/>
              <a:buFontTx/>
              <a:buNone/>
              <a:tabLst/>
              <a:defRPr/>
            </a:pPr>
            <a:endParaRPr kumimoji="0" lang="fr-FR" sz="1000" b="0" i="0" u="none" strike="noStrike" kern="1200" cap="none" spc="0" normalizeH="0" baseline="0" noProof="0">
              <a:ln>
                <a:noFill/>
              </a:ln>
              <a:solidFill>
                <a:prstClr val="black"/>
              </a:solidFill>
              <a:effectLst/>
              <a:uLnTx/>
              <a:uFillTx/>
              <a:latin typeface="Verdana"/>
              <a:ea typeface="+mn-ea"/>
              <a:cs typeface="+mn-cs"/>
            </a:endParaRPr>
          </a:p>
        </p:txBody>
      </p:sp>
      <p:sp>
        <p:nvSpPr>
          <p:cNvPr id="3" name="Rectangle 1">
            <a:extLst>
              <a:ext uri="{FF2B5EF4-FFF2-40B4-BE49-F238E27FC236}">
                <a16:creationId xmlns:a16="http://schemas.microsoft.com/office/drawing/2014/main" id="{976D257D-4BC0-0742-FE8C-8A114779B823}"/>
              </a:ext>
            </a:extLst>
          </p:cNvPr>
          <p:cNvSpPr/>
          <p:nvPr/>
        </p:nvSpPr>
        <p:spPr>
          <a:xfrm>
            <a:off x="0" y="0"/>
            <a:ext cx="12192000" cy="6858000"/>
          </a:xfrm>
          <a:prstGeom prst="rect">
            <a:avLst/>
          </a:prstGeom>
          <a:noFill/>
          <a:ln w="762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4" name="Rectangle : avec coins arrondis en diagonale 3">
            <a:extLst>
              <a:ext uri="{FF2B5EF4-FFF2-40B4-BE49-F238E27FC236}">
                <a16:creationId xmlns:a16="http://schemas.microsoft.com/office/drawing/2014/main" id="{8EA79147-F271-1D74-40CC-BA03C9DB25CB}"/>
              </a:ext>
            </a:extLst>
          </p:cNvPr>
          <p:cNvSpPr/>
          <p:nvPr/>
        </p:nvSpPr>
        <p:spPr>
          <a:xfrm>
            <a:off x="-6394" y="1587"/>
            <a:ext cx="1494204" cy="375980"/>
          </a:xfrm>
          <a:prstGeom prst="round2Diag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t>TEMPLATE</a:t>
            </a:r>
          </a:p>
        </p:txBody>
      </p:sp>
    </p:spTree>
    <p:extLst>
      <p:ext uri="{BB962C8B-B14F-4D97-AF65-F5344CB8AC3E}">
        <p14:creationId xmlns:p14="http://schemas.microsoft.com/office/powerpoint/2010/main" val="34568182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501601F9-293C-77D4-94E2-5BE73B73FA13}"/>
              </a:ext>
            </a:extLst>
          </p:cNvPr>
          <p:cNvSpPr>
            <a:spLocks noGrp="1"/>
          </p:cNvSpPr>
          <p:nvPr>
            <p:ph type="ctrTitle"/>
          </p:nvPr>
        </p:nvSpPr>
        <p:spPr>
          <a:xfrm>
            <a:off x="404813" y="3678123"/>
            <a:ext cx="11386134" cy="830997"/>
          </a:xfrm>
        </p:spPr>
        <p:txBody>
          <a:bodyPr/>
          <a:lstStyle/>
          <a:p>
            <a:r>
              <a:rPr lang="en-US"/>
              <a:t>Sprint 1 – Documents</a:t>
            </a:r>
          </a:p>
        </p:txBody>
      </p:sp>
    </p:spTree>
    <p:extLst>
      <p:ext uri="{BB962C8B-B14F-4D97-AF65-F5344CB8AC3E}">
        <p14:creationId xmlns:p14="http://schemas.microsoft.com/office/powerpoint/2010/main" val="28512856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52E238D-2DA3-09A5-CC3F-977365D494A9}"/>
              </a:ext>
            </a:extLst>
          </p:cNvPr>
          <p:cNvSpPr>
            <a:spLocks noGrp="1"/>
          </p:cNvSpPr>
          <p:nvPr>
            <p:ph type="body" sz="quarter" idx="10"/>
          </p:nvPr>
        </p:nvSpPr>
        <p:spPr>
          <a:xfrm>
            <a:off x="404813" y="1125537"/>
            <a:ext cx="5174578" cy="5344275"/>
          </a:xfrm>
        </p:spPr>
        <p:txBody>
          <a:bodyPr>
            <a:normAutofit/>
          </a:bodyPr>
          <a:lstStyle/>
          <a:p>
            <a:pPr algn="l"/>
            <a:r>
              <a:rPr lang="fr-FR" sz="2400" b="1" i="0">
                <a:solidFill>
                  <a:srgbClr val="0D0D0D"/>
                </a:solidFill>
                <a:effectLst/>
                <a:latin typeface="Tahoma" panose="020B0604030504040204" pitchFamily="34" charset="0"/>
                <a:ea typeface="Tahoma" panose="020B0604030504040204" pitchFamily="34" charset="0"/>
                <a:cs typeface="Tahoma" panose="020B0604030504040204" pitchFamily="34" charset="0"/>
              </a:rPr>
              <a:t>Amélioration de l'Infrastructure Ferroviaire grâce aux Technologies de Surveillance</a:t>
            </a:r>
          </a:p>
          <a:p>
            <a:r>
              <a:rPr lang="fr-FR" sz="1000">
                <a:solidFill>
                  <a:srgbClr val="0D0D0D"/>
                </a:solidFill>
              </a:rPr>
              <a:t>Dans le domaine ferroviaire, la quête constante d'efficacité opérationnelle et de sécurité a conduit à l'intégration de technologies de pointe pour surveiller et améliorer en permanence l'état du réseau. L'utilisation judicieuse de données </a:t>
            </a:r>
            <a:r>
              <a:rPr lang="fr-FR" sz="1000" err="1">
                <a:solidFill>
                  <a:srgbClr val="0D0D0D"/>
                </a:solidFill>
              </a:rPr>
              <a:t>géosatellites</a:t>
            </a:r>
            <a:r>
              <a:rPr lang="fr-FR" sz="1000">
                <a:solidFill>
                  <a:srgbClr val="0D0D0D"/>
                </a:solidFill>
              </a:rPr>
              <a:t> et de capteurs offre aujourd'hui une solution novatrice pour une analyse en temps réel, permettant ainsi une gestion proactive des infrastructures ferroviaires.</a:t>
            </a:r>
          </a:p>
          <a:p>
            <a:pPr algn="l"/>
            <a:r>
              <a:rPr lang="fr-FR" sz="1800" b="1">
                <a:solidFill>
                  <a:srgbClr val="0D0D0D"/>
                </a:solidFill>
                <a:latin typeface="Tahoma" panose="020B0604030504040204" pitchFamily="34" charset="0"/>
                <a:ea typeface="Tahoma" panose="020B0604030504040204" pitchFamily="34" charset="0"/>
                <a:cs typeface="Tahoma" panose="020B0604030504040204" pitchFamily="34" charset="0"/>
              </a:rPr>
              <a:t>Technologies au Service de la Surveillance :</a:t>
            </a:r>
          </a:p>
          <a:p>
            <a:pPr algn="l"/>
            <a:r>
              <a:rPr lang="fr-FR" sz="1200" b="1">
                <a:solidFill>
                  <a:srgbClr val="0D0D0D"/>
                </a:solidFill>
                <a:latin typeface="Tahoma" panose="020B0604030504040204" pitchFamily="34" charset="0"/>
                <a:ea typeface="Tahoma" panose="020B0604030504040204" pitchFamily="34" charset="0"/>
                <a:cs typeface="Tahoma" panose="020B0604030504040204" pitchFamily="34" charset="0"/>
              </a:rPr>
              <a:t>Données </a:t>
            </a:r>
            <a:r>
              <a:rPr lang="fr-FR" sz="1200" b="1" err="1">
                <a:solidFill>
                  <a:srgbClr val="0D0D0D"/>
                </a:solidFill>
                <a:latin typeface="Tahoma" panose="020B0604030504040204" pitchFamily="34" charset="0"/>
                <a:ea typeface="Tahoma" panose="020B0604030504040204" pitchFamily="34" charset="0"/>
                <a:cs typeface="Tahoma" panose="020B0604030504040204" pitchFamily="34" charset="0"/>
              </a:rPr>
              <a:t>Géosatellites</a:t>
            </a:r>
            <a:r>
              <a:rPr lang="fr-FR" sz="1200" b="1">
                <a:solidFill>
                  <a:srgbClr val="0D0D0D"/>
                </a:solidFill>
                <a:latin typeface="Tahoma" panose="020B0604030504040204" pitchFamily="34" charset="0"/>
                <a:ea typeface="Tahoma" panose="020B0604030504040204" pitchFamily="34" charset="0"/>
                <a:cs typeface="Tahoma" panose="020B0604030504040204" pitchFamily="34" charset="0"/>
              </a:rPr>
              <a:t> :</a:t>
            </a:r>
          </a:p>
          <a:p>
            <a:pPr algn="l"/>
            <a:r>
              <a:rPr lang="fr-FR" sz="1000" b="0" i="0">
                <a:solidFill>
                  <a:srgbClr val="0D0D0D"/>
                </a:solidFill>
                <a:effectLst/>
              </a:rPr>
              <a:t>Les satellites en orbite fournissent des images haute résolution du réseau ferroviaire. Ces données permettent une analyse approfondie de l'état des voies, des ponts et des autres infrastructures. Grâce à des outils d'imagerie satellitaire avancés, les équipes d'exploitation peuvent détecter les changements, les anomalies et les signes de dégradation, offrant ainsi une visibilité globale du réseau sur de vastes zones géographiques.</a:t>
            </a:r>
          </a:p>
          <a:p>
            <a:pPr algn="l"/>
            <a:endParaRPr lang="fr-FR" sz="800" b="0" i="0">
              <a:solidFill>
                <a:srgbClr val="0D0D0D"/>
              </a:solidFill>
              <a:effectLst/>
            </a:endParaRPr>
          </a:p>
        </p:txBody>
      </p:sp>
      <p:sp>
        <p:nvSpPr>
          <p:cNvPr id="3" name="Title 2">
            <a:extLst>
              <a:ext uri="{FF2B5EF4-FFF2-40B4-BE49-F238E27FC236}">
                <a16:creationId xmlns:a16="http://schemas.microsoft.com/office/drawing/2014/main" id="{30715E58-030B-196C-A99C-2B480FD5E124}"/>
              </a:ext>
            </a:extLst>
          </p:cNvPr>
          <p:cNvSpPr>
            <a:spLocks noGrp="1"/>
          </p:cNvSpPr>
          <p:nvPr>
            <p:ph type="title"/>
          </p:nvPr>
        </p:nvSpPr>
        <p:spPr/>
        <p:txBody>
          <a:bodyPr/>
          <a:lstStyle/>
          <a:p>
            <a:r>
              <a:rPr lang="fr-FR"/>
              <a:t>SUPPORT 1 – Article sur l’utilisation de données satellites</a:t>
            </a:r>
          </a:p>
        </p:txBody>
      </p:sp>
      <p:sp>
        <p:nvSpPr>
          <p:cNvPr id="10" name="Text Placeholder 1">
            <a:extLst>
              <a:ext uri="{FF2B5EF4-FFF2-40B4-BE49-F238E27FC236}">
                <a16:creationId xmlns:a16="http://schemas.microsoft.com/office/drawing/2014/main" id="{895E2E25-ACAF-3680-5D66-746163F28FD8}"/>
              </a:ext>
            </a:extLst>
          </p:cNvPr>
          <p:cNvSpPr txBox="1">
            <a:spLocks/>
          </p:cNvSpPr>
          <p:nvPr/>
        </p:nvSpPr>
        <p:spPr>
          <a:xfrm>
            <a:off x="5663031" y="1125538"/>
            <a:ext cx="5174578" cy="5350134"/>
          </a:xfrm>
          <a:prstGeom prst="rect">
            <a:avLst/>
          </a:prstGeom>
        </p:spPr>
        <p:txBody>
          <a:bodyPr vert="horz" lIns="0" tIns="0" rIns="0" bIns="0" rtlCol="0">
            <a:normAutofit/>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sz="1200" b="1">
                <a:solidFill>
                  <a:srgbClr val="0D0D0D"/>
                </a:solidFill>
                <a:latin typeface="Tahoma" panose="020B0604030504040204" pitchFamily="34" charset="0"/>
                <a:ea typeface="Tahoma" panose="020B0604030504040204" pitchFamily="34" charset="0"/>
                <a:cs typeface="Tahoma" panose="020B0604030504040204" pitchFamily="34" charset="0"/>
              </a:rPr>
              <a:t>Capteurs Intégrés sur les Rails :</a:t>
            </a:r>
          </a:p>
          <a:p>
            <a:r>
              <a:rPr lang="fr-FR" sz="1000">
                <a:solidFill>
                  <a:srgbClr val="0D0D0D"/>
                </a:solidFill>
              </a:rPr>
              <a:t>Des capteurs spécifiques sont installés le long des voies ferrées pour collecter des informations cruciales en temps réel. Ces capteurs mesurent divers paramètres tels que la température, la pression, les vibrations et les déformations des rails. Ces données sont ensuite transmises aux centres de contrôle, où des algorithmes intelligents les analysent pour détecter toute anomalie potentielle.</a:t>
            </a:r>
          </a:p>
          <a:p>
            <a:endParaRPr lang="fr-FR" sz="1000">
              <a:solidFill>
                <a:srgbClr val="0D0D0D"/>
              </a:solidFill>
            </a:endParaRPr>
          </a:p>
          <a:p>
            <a:r>
              <a:rPr lang="fr-FR" sz="1800" b="1">
                <a:solidFill>
                  <a:srgbClr val="0D0D0D"/>
                </a:solidFill>
                <a:latin typeface="Tahoma" panose="020B0604030504040204" pitchFamily="34" charset="0"/>
                <a:ea typeface="Tahoma" panose="020B0604030504040204" pitchFamily="34" charset="0"/>
                <a:cs typeface="Tahoma" panose="020B0604030504040204" pitchFamily="34" charset="0"/>
              </a:rPr>
              <a:t>Avantages de l'Analyse en Temps Réel :</a:t>
            </a:r>
          </a:p>
          <a:p>
            <a:r>
              <a:rPr lang="fr-FR" sz="1200" b="1">
                <a:solidFill>
                  <a:srgbClr val="0D0D0D"/>
                </a:solidFill>
                <a:latin typeface="Tahoma" panose="020B0604030504040204" pitchFamily="34" charset="0"/>
                <a:ea typeface="Tahoma" panose="020B0604030504040204" pitchFamily="34" charset="0"/>
                <a:cs typeface="Tahoma" panose="020B0604030504040204" pitchFamily="34" charset="0"/>
              </a:rPr>
              <a:t>Détection Précoce des Problèmes :</a:t>
            </a:r>
          </a:p>
          <a:p>
            <a:r>
              <a:rPr lang="fr-FR" sz="1000">
                <a:solidFill>
                  <a:srgbClr val="0D0D0D"/>
                </a:solidFill>
              </a:rPr>
              <a:t>L'analyse en temps réel permet une détection précoce des problèmes émergents. Les équipes de maintenance peuvent intervenir avant que les défauts ne se transforment en pannes majeures, réduisant ainsi les coûts de réparation et minimisant les interruptions de service.</a:t>
            </a:r>
          </a:p>
          <a:p>
            <a:r>
              <a:rPr lang="fr-FR" sz="1200" b="1">
                <a:solidFill>
                  <a:srgbClr val="0D0D0D"/>
                </a:solidFill>
                <a:latin typeface="Tahoma" panose="020B0604030504040204" pitchFamily="34" charset="0"/>
                <a:ea typeface="Tahoma" panose="020B0604030504040204" pitchFamily="34" charset="0"/>
                <a:cs typeface="Tahoma" panose="020B0604030504040204" pitchFamily="34" charset="0"/>
              </a:rPr>
              <a:t>Prévention des Accidents :</a:t>
            </a:r>
          </a:p>
          <a:p>
            <a:r>
              <a:rPr lang="fr-FR" sz="1000">
                <a:solidFill>
                  <a:srgbClr val="0D0D0D"/>
                </a:solidFill>
              </a:rPr>
              <a:t>La surveillance constante du réseau permet d'identifier les conditions à risque, comme la défaillance imminente d'une structure ou la présence d'obstacles sur la voie. Cela contribue à prévenir les accidents en prenant des mesures correctives rapidement.</a:t>
            </a:r>
          </a:p>
          <a:p>
            <a:r>
              <a:rPr lang="fr-FR" sz="1200" b="1">
                <a:solidFill>
                  <a:srgbClr val="0D0D0D"/>
                </a:solidFill>
                <a:latin typeface="Tahoma" panose="020B0604030504040204" pitchFamily="34" charset="0"/>
                <a:ea typeface="Tahoma" panose="020B0604030504040204" pitchFamily="34" charset="0"/>
                <a:cs typeface="Tahoma" panose="020B0604030504040204" pitchFamily="34" charset="0"/>
              </a:rPr>
              <a:t>Optimisation de la Planification des Travaux :</a:t>
            </a:r>
          </a:p>
          <a:p>
            <a:r>
              <a:rPr lang="fr-FR" sz="1000">
                <a:solidFill>
                  <a:srgbClr val="0D0D0D"/>
                </a:solidFill>
              </a:rPr>
              <a:t>En comprenant l'état en temps réel du réseau, les équipes de maintenance peuvent planifier leurs interventions de manière plus efficace. Cela réduit les périodes d'indisponibilité, améliorant ainsi la disponibilité globale du réseau.</a:t>
            </a:r>
          </a:p>
          <a:p>
            <a:r>
              <a:rPr lang="fr-FR" sz="1000">
                <a:solidFill>
                  <a:srgbClr val="0D0D0D"/>
                </a:solidFill>
              </a:rPr>
              <a:t>L'utilisation de données </a:t>
            </a:r>
            <a:r>
              <a:rPr lang="fr-FR" sz="1000" err="1">
                <a:solidFill>
                  <a:srgbClr val="0D0D0D"/>
                </a:solidFill>
              </a:rPr>
              <a:t>géosatellites</a:t>
            </a:r>
            <a:r>
              <a:rPr lang="fr-FR" sz="1000">
                <a:solidFill>
                  <a:srgbClr val="0D0D0D"/>
                </a:solidFill>
              </a:rPr>
              <a:t> et de capteurs pour une analyse en temps réel du réseau ferroviaire représente une avancée significative dans le secteur. Cette approche proactive non seulement améliore la sécurité et la fiabilité, mais elle ouvre également la voie à une gestion plus efficace des infrastructures ferroviaires. À mesure que ces technologies continuent de se développer, le futur du transport ferroviaire s'annonce résolument plus sûr, plus intelligent et plus efficient.</a:t>
            </a:r>
            <a:endParaRPr lang="fr-FR" sz="900">
              <a:solidFill>
                <a:srgbClr val="0D0D0D"/>
              </a:solidFill>
            </a:endParaRPr>
          </a:p>
        </p:txBody>
      </p:sp>
      <p:pic>
        <p:nvPicPr>
          <p:cNvPr id="12" name="Picture 11">
            <a:extLst>
              <a:ext uri="{FF2B5EF4-FFF2-40B4-BE49-F238E27FC236}">
                <a16:creationId xmlns:a16="http://schemas.microsoft.com/office/drawing/2014/main" id="{5400319B-A04B-E40B-43AE-D9053264A970}"/>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88867" y="4914852"/>
            <a:ext cx="4406469" cy="1447201"/>
          </a:xfrm>
          <a:prstGeom prst="rect">
            <a:avLst/>
          </a:prstGeom>
        </p:spPr>
      </p:pic>
      <p:pic>
        <p:nvPicPr>
          <p:cNvPr id="1046" name="Picture 22" descr="Thales and Siemens to provide rail safety and traffic control technologies  on the Olmedo-Ourense high-speed line - Mafex Magazine">
            <a:extLst>
              <a:ext uri="{FF2B5EF4-FFF2-40B4-BE49-F238E27FC236}">
                <a16:creationId xmlns:a16="http://schemas.microsoft.com/office/drawing/2014/main" id="{8FE3118B-8150-D5EE-913D-F5EC8C34BB3E}"/>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10921249" y="1125538"/>
            <a:ext cx="1270751" cy="53442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7101876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6B5D2F6-417A-1FD6-D838-E891DAA248BE}"/>
              </a:ext>
            </a:extLst>
          </p:cNvPr>
          <p:cNvSpPr>
            <a:spLocks noGrp="1"/>
          </p:cNvSpPr>
          <p:nvPr>
            <p:ph type="title"/>
          </p:nvPr>
        </p:nvSpPr>
        <p:spPr/>
        <p:txBody>
          <a:bodyPr/>
          <a:lstStyle/>
          <a:p>
            <a:r>
              <a:rPr lang="fr-FR"/>
              <a:t>SUPPORT 2 – Extraction de l’outil GMAO filtre sur les PRINCIPALES CAUSES D’accidents </a:t>
            </a:r>
          </a:p>
        </p:txBody>
      </p:sp>
      <p:graphicFrame>
        <p:nvGraphicFramePr>
          <p:cNvPr id="4" name="Table 5">
            <a:extLst>
              <a:ext uri="{FF2B5EF4-FFF2-40B4-BE49-F238E27FC236}">
                <a16:creationId xmlns:a16="http://schemas.microsoft.com/office/drawing/2014/main" id="{4E63152A-9CDF-3A98-503B-E1A0B69B6CEE}"/>
              </a:ext>
            </a:extLst>
          </p:cNvPr>
          <p:cNvGraphicFramePr>
            <a:graphicFrameLocks noGrp="1"/>
          </p:cNvGraphicFramePr>
          <p:nvPr>
            <p:extLst>
              <p:ext uri="{D42A27DB-BD31-4B8C-83A1-F6EECF244321}">
                <p14:modId xmlns:p14="http://schemas.microsoft.com/office/powerpoint/2010/main" val="4147867222"/>
              </p:ext>
            </p:extLst>
          </p:nvPr>
        </p:nvGraphicFramePr>
        <p:xfrm>
          <a:off x="1158240" y="1556249"/>
          <a:ext cx="9875520" cy="4229946"/>
        </p:xfrm>
        <a:graphic>
          <a:graphicData uri="http://schemas.openxmlformats.org/drawingml/2006/table">
            <a:tbl>
              <a:tblPr firstRow="1" bandRow="1">
                <a:tableStyleId>{5C22544A-7EE6-4342-B048-85BDC9FD1C3A}</a:tableStyleId>
              </a:tblPr>
              <a:tblGrid>
                <a:gridCol w="1975104">
                  <a:extLst>
                    <a:ext uri="{9D8B030D-6E8A-4147-A177-3AD203B41FA5}">
                      <a16:colId xmlns:a16="http://schemas.microsoft.com/office/drawing/2014/main" val="1478853135"/>
                    </a:ext>
                  </a:extLst>
                </a:gridCol>
                <a:gridCol w="1975104">
                  <a:extLst>
                    <a:ext uri="{9D8B030D-6E8A-4147-A177-3AD203B41FA5}">
                      <a16:colId xmlns:a16="http://schemas.microsoft.com/office/drawing/2014/main" val="1702100382"/>
                    </a:ext>
                  </a:extLst>
                </a:gridCol>
                <a:gridCol w="1975104">
                  <a:extLst>
                    <a:ext uri="{9D8B030D-6E8A-4147-A177-3AD203B41FA5}">
                      <a16:colId xmlns:a16="http://schemas.microsoft.com/office/drawing/2014/main" val="1029841483"/>
                    </a:ext>
                  </a:extLst>
                </a:gridCol>
                <a:gridCol w="1975104">
                  <a:extLst>
                    <a:ext uri="{9D8B030D-6E8A-4147-A177-3AD203B41FA5}">
                      <a16:colId xmlns:a16="http://schemas.microsoft.com/office/drawing/2014/main" val="3141856283"/>
                    </a:ext>
                  </a:extLst>
                </a:gridCol>
                <a:gridCol w="1975104">
                  <a:extLst>
                    <a:ext uri="{9D8B030D-6E8A-4147-A177-3AD203B41FA5}">
                      <a16:colId xmlns:a16="http://schemas.microsoft.com/office/drawing/2014/main" val="3195515192"/>
                    </a:ext>
                  </a:extLst>
                </a:gridCol>
              </a:tblGrid>
              <a:tr h="521546">
                <a:tc>
                  <a:txBody>
                    <a:bodyPr/>
                    <a:lstStyle/>
                    <a:p>
                      <a:pPr algn="ctr" fontAlgn="b"/>
                      <a:r>
                        <a:rPr lang="en-US" sz="1100" b="1" i="0" u="none" strike="noStrike">
                          <a:solidFill>
                            <a:schemeClr val="bg1"/>
                          </a:solidFill>
                          <a:effectLst/>
                          <a:latin typeface="+mn-lt"/>
                        </a:rPr>
                        <a:t> </a:t>
                      </a:r>
                      <a:r>
                        <a:rPr lang="fr-FR" sz="1100" b="1" i="0" u="none" strike="noStrike" noProof="0">
                          <a:solidFill>
                            <a:schemeClr val="bg1"/>
                          </a:solidFill>
                          <a:effectLst/>
                          <a:latin typeface="+mn-lt"/>
                        </a:rPr>
                        <a:t>Causes Principales d'Accidents </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lumMod val="50000"/>
                      </a:schemeClr>
                    </a:solidFill>
                  </a:tcPr>
                </a:tc>
                <a:tc>
                  <a:txBody>
                    <a:bodyPr/>
                    <a:lstStyle/>
                    <a:p>
                      <a:pPr algn="ctr" fontAlgn="b"/>
                      <a:r>
                        <a:rPr lang="en-US" sz="1100" b="1" i="0" u="none" strike="noStrike">
                          <a:solidFill>
                            <a:schemeClr val="bg1"/>
                          </a:solidFill>
                          <a:effectLst/>
                          <a:latin typeface="+mn-lt"/>
                        </a:rPr>
                        <a:t> Nombre d'Incidents </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lumMod val="50000"/>
                      </a:schemeClr>
                    </a:solidFill>
                  </a:tcPr>
                </a:tc>
                <a:tc>
                  <a:txBody>
                    <a:bodyPr/>
                    <a:lstStyle/>
                    <a:p>
                      <a:pPr algn="ctr" fontAlgn="b"/>
                      <a:r>
                        <a:rPr lang="fr-FR" sz="1100" b="1" i="0" u="none" strike="noStrike">
                          <a:solidFill>
                            <a:schemeClr val="bg1"/>
                          </a:solidFill>
                          <a:effectLst/>
                          <a:latin typeface="+mn-lt"/>
                        </a:rPr>
                        <a:t> Coût des Réparations (en millions d'euros) </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lumMod val="50000"/>
                      </a:schemeClr>
                    </a:solidFill>
                  </a:tcPr>
                </a:tc>
                <a:tc>
                  <a:txBody>
                    <a:bodyPr/>
                    <a:lstStyle/>
                    <a:p>
                      <a:pPr algn="ctr" fontAlgn="b"/>
                      <a:r>
                        <a:rPr lang="fr-FR" sz="1100" b="1" i="0" u="none" strike="noStrike">
                          <a:solidFill>
                            <a:schemeClr val="bg1"/>
                          </a:solidFill>
                          <a:effectLst/>
                          <a:latin typeface="+mn-lt"/>
                        </a:rPr>
                        <a:t> Durée Moyenne de Perturbation (heures) </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lumMod val="50000"/>
                      </a:schemeClr>
                    </a:solidFill>
                  </a:tcPr>
                </a:tc>
                <a:tc>
                  <a:txBody>
                    <a:bodyPr/>
                    <a:lstStyle/>
                    <a:p>
                      <a:pPr algn="ctr" fontAlgn="b"/>
                      <a:r>
                        <a:rPr lang="en-US" sz="1100" b="1" i="0" u="none" strike="noStrike">
                          <a:solidFill>
                            <a:schemeClr val="bg1"/>
                          </a:solidFill>
                          <a:effectLst/>
                          <a:latin typeface="+mn-lt"/>
                        </a:rPr>
                        <a:t> </a:t>
                      </a:r>
                      <a:r>
                        <a:rPr lang="fr-FR" sz="1100" b="1" i="0" u="none" strike="noStrike" noProof="0">
                          <a:solidFill>
                            <a:schemeClr val="bg1"/>
                          </a:solidFill>
                          <a:effectLst/>
                          <a:latin typeface="+mn-lt"/>
                        </a:rPr>
                        <a:t>Fréquence annuelle</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lumMod val="50000"/>
                      </a:schemeClr>
                    </a:solidFill>
                  </a:tcPr>
                </a:tc>
                <a:extLst>
                  <a:ext uri="{0D108BD9-81ED-4DB2-BD59-A6C34878D82A}">
                    <a16:rowId xmlns:a16="http://schemas.microsoft.com/office/drawing/2014/main" val="1722578570"/>
                  </a:ext>
                </a:extLst>
              </a:tr>
              <a:tr h="370840">
                <a:tc>
                  <a:txBody>
                    <a:bodyPr/>
                    <a:lstStyle/>
                    <a:p>
                      <a:pPr algn="l" fontAlgn="b"/>
                      <a:r>
                        <a:rPr lang="fr-FR" sz="1200" b="1" i="0" u="none" strike="noStrike" noProof="0">
                          <a:solidFill>
                            <a:srgbClr val="000000"/>
                          </a:solidFill>
                          <a:effectLst/>
                          <a:latin typeface="Calibri" panose="020F0502020204030204" pitchFamily="34" charset="0"/>
                        </a:rPr>
                        <a:t> Défaillance du Matériel         </a:t>
                      </a:r>
                    </a:p>
                  </a:txBody>
                  <a:tcPr marL="7620" marR="7620" marT="762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r>
                        <a:rPr lang="en-US" sz="1200" b="1" i="0" u="none" strike="noStrike">
                          <a:solidFill>
                            <a:srgbClr val="000000"/>
                          </a:solidFill>
                          <a:effectLst/>
                          <a:latin typeface="Calibri" panose="020F0502020204030204" pitchFamily="34" charset="0"/>
                        </a:rPr>
                        <a:t>25</a:t>
                      </a:r>
                    </a:p>
                  </a:txBody>
                  <a:tcPr marL="7620" marR="7620" marT="762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fontAlgn="b"/>
                      <a:r>
                        <a:rPr lang="en-US" sz="1200" b="1" i="0" u="none" strike="noStrike">
                          <a:solidFill>
                            <a:srgbClr val="000000"/>
                          </a:solidFill>
                          <a:effectLst/>
                          <a:latin typeface="Calibri" panose="020F0502020204030204" pitchFamily="34" charset="0"/>
                        </a:rPr>
                        <a:t>15</a:t>
                      </a:r>
                    </a:p>
                  </a:txBody>
                  <a:tcPr marL="7620" marR="7620" marT="762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fontAlgn="b"/>
                      <a:r>
                        <a:rPr lang="en-US" sz="1200" b="1" i="0" u="none" strike="noStrike">
                          <a:solidFill>
                            <a:srgbClr val="000000"/>
                          </a:solidFill>
                          <a:effectLst/>
                          <a:latin typeface="Calibri" panose="020F0502020204030204" pitchFamily="34" charset="0"/>
                        </a:rPr>
                        <a:t>4</a:t>
                      </a:r>
                    </a:p>
                  </a:txBody>
                  <a:tcPr marL="7620" marR="7620" marT="762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fontAlgn="b"/>
                      <a:r>
                        <a:rPr lang="en-US" sz="1200" b="1" i="0" u="none" strike="noStrike">
                          <a:solidFill>
                            <a:srgbClr val="000000"/>
                          </a:solidFill>
                          <a:effectLst/>
                          <a:latin typeface="Calibri" panose="020F0502020204030204" pitchFamily="34" charset="0"/>
                        </a:rPr>
                        <a:t>5</a:t>
                      </a:r>
                    </a:p>
                  </a:txBody>
                  <a:tcPr marL="7620" marR="7620" marT="762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82592485"/>
                  </a:ext>
                </a:extLst>
              </a:tr>
              <a:tr h="370840">
                <a:tc>
                  <a:txBody>
                    <a:bodyPr/>
                    <a:lstStyle/>
                    <a:p>
                      <a:pPr algn="l" fontAlgn="b"/>
                      <a:r>
                        <a:rPr lang="fr-FR" sz="1200" b="1" i="0" u="none" strike="noStrike" noProof="0">
                          <a:solidFill>
                            <a:srgbClr val="000000"/>
                          </a:solidFill>
                          <a:effectLst/>
                          <a:latin typeface="Calibri" panose="020F0502020204030204" pitchFamily="34" charset="0"/>
                        </a:rPr>
                        <a:t> Infrastructures Défectueuses    </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r>
                        <a:rPr lang="en-US" sz="1200" b="1" i="0" u="none" strike="noStrike">
                          <a:solidFill>
                            <a:srgbClr val="000000"/>
                          </a:solidFill>
                          <a:effectLst/>
                          <a:latin typeface="Calibri" panose="020F0502020204030204" pitchFamily="34" charset="0"/>
                        </a:rPr>
                        <a:t>5</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US" sz="1200" b="1" i="0" u="none" strike="noStrike">
                          <a:solidFill>
                            <a:srgbClr val="000000"/>
                          </a:solidFill>
                          <a:effectLst/>
                          <a:latin typeface="Calibri" panose="020F0502020204030204" pitchFamily="34" charset="0"/>
                        </a:rPr>
                        <a:t>6</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US" sz="1200" b="1" i="0" u="none" strike="noStrike">
                          <a:solidFill>
                            <a:srgbClr val="000000"/>
                          </a:solidFill>
                          <a:effectLst/>
                          <a:latin typeface="Calibri" panose="020F0502020204030204" pitchFamily="34" charset="0"/>
                        </a:rPr>
                        <a:t>5</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US" sz="1200" b="1" i="0" u="none" strike="noStrike">
                          <a:solidFill>
                            <a:srgbClr val="000000"/>
                          </a:solidFill>
                          <a:effectLst/>
                          <a:latin typeface="Calibri" panose="020F0502020204030204" pitchFamily="34" charset="0"/>
                        </a:rPr>
                        <a:t>1</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81576997"/>
                  </a:ext>
                </a:extLst>
              </a:tr>
              <a:tr h="370840">
                <a:tc>
                  <a:txBody>
                    <a:bodyPr/>
                    <a:lstStyle/>
                    <a:p>
                      <a:pPr algn="l" fontAlgn="b"/>
                      <a:r>
                        <a:rPr lang="fr-FR" sz="1200" b="1" i="0" u="none" strike="noStrike" noProof="0">
                          <a:solidFill>
                            <a:srgbClr val="000000"/>
                          </a:solidFill>
                          <a:effectLst/>
                          <a:latin typeface="Calibri" panose="020F0502020204030204" pitchFamily="34" charset="0"/>
                        </a:rPr>
                        <a:t> Collisions avec des Animaux     </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r>
                        <a:rPr lang="en-US" sz="1200" b="1" i="0" u="none" strike="noStrike">
                          <a:solidFill>
                            <a:srgbClr val="000000"/>
                          </a:solidFill>
                          <a:effectLst/>
                          <a:latin typeface="Calibri" panose="020F0502020204030204" pitchFamily="34" charset="0"/>
                        </a:rPr>
                        <a:t>4</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US" sz="1200" b="1" i="0" u="none" strike="noStrike">
                          <a:solidFill>
                            <a:srgbClr val="000000"/>
                          </a:solidFill>
                          <a:effectLst/>
                          <a:latin typeface="Calibri" panose="020F0502020204030204" pitchFamily="34" charset="0"/>
                        </a:rPr>
                        <a:t>2</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US" sz="1200" b="1" i="0" u="none" strike="noStrike">
                          <a:solidFill>
                            <a:srgbClr val="000000"/>
                          </a:solidFill>
                          <a:effectLst/>
                          <a:latin typeface="Calibri" panose="020F0502020204030204" pitchFamily="34" charset="0"/>
                        </a:rPr>
                        <a:t>2</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US" sz="1200" b="1" i="0" u="none" strike="noStrike">
                          <a:solidFill>
                            <a:srgbClr val="000000"/>
                          </a:solidFill>
                          <a:effectLst/>
                          <a:latin typeface="Calibri" panose="020F0502020204030204" pitchFamily="34" charset="0"/>
                        </a:rPr>
                        <a:t>1</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75545912"/>
                  </a:ext>
                </a:extLst>
              </a:tr>
              <a:tr h="370840">
                <a:tc>
                  <a:txBody>
                    <a:bodyPr/>
                    <a:lstStyle/>
                    <a:p>
                      <a:pPr algn="l" fontAlgn="b"/>
                      <a:r>
                        <a:rPr lang="fr-FR" sz="1200" b="1" i="0" u="none" strike="noStrike" noProof="0">
                          <a:solidFill>
                            <a:srgbClr val="000000"/>
                          </a:solidFill>
                          <a:effectLst/>
                          <a:latin typeface="Calibri" panose="020F0502020204030204" pitchFamily="34" charset="0"/>
                        </a:rPr>
                        <a:t> Actes de Vandalisme             </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r>
                        <a:rPr lang="en-US" sz="1200" b="1" i="0" u="none" strike="noStrike">
                          <a:solidFill>
                            <a:srgbClr val="000000"/>
                          </a:solidFill>
                          <a:effectLst/>
                          <a:latin typeface="Calibri" panose="020F0502020204030204" pitchFamily="34" charset="0"/>
                        </a:rPr>
                        <a:t>3</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US" sz="1200" b="1" i="0" u="none" strike="noStrike">
                          <a:solidFill>
                            <a:srgbClr val="000000"/>
                          </a:solidFill>
                          <a:effectLst/>
                          <a:latin typeface="Calibri" panose="020F0502020204030204" pitchFamily="34" charset="0"/>
                        </a:rPr>
                        <a:t>4</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US" sz="1200" b="1" i="0" u="none" strike="noStrike">
                          <a:solidFill>
                            <a:srgbClr val="000000"/>
                          </a:solidFill>
                          <a:effectLst/>
                          <a:latin typeface="Calibri" panose="020F0502020204030204" pitchFamily="34" charset="0"/>
                        </a:rPr>
                        <a:t>4</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US" sz="1200" b="1" i="0" u="none" strike="noStrike">
                          <a:solidFill>
                            <a:srgbClr val="000000"/>
                          </a:solidFill>
                          <a:effectLst/>
                          <a:latin typeface="Calibri" panose="020F0502020204030204" pitchFamily="34" charset="0"/>
                        </a:rPr>
                        <a:t>0.5</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0737024"/>
                  </a:ext>
                </a:extLst>
              </a:tr>
              <a:tr h="370840">
                <a:tc>
                  <a:txBody>
                    <a:bodyPr/>
                    <a:lstStyle/>
                    <a:p>
                      <a:pPr algn="l" fontAlgn="b"/>
                      <a:r>
                        <a:rPr lang="fr-FR" sz="1200" b="1" i="0" u="none" strike="noStrike" noProof="0">
                          <a:solidFill>
                            <a:srgbClr val="000000"/>
                          </a:solidFill>
                          <a:effectLst/>
                          <a:latin typeface="Calibri" panose="020F0502020204030204" pitchFamily="34" charset="0"/>
                        </a:rPr>
                        <a:t> Obstacles sur la Voie           </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r>
                        <a:rPr lang="en-US" sz="1200" b="1" i="0" u="none" strike="noStrike">
                          <a:solidFill>
                            <a:srgbClr val="000000"/>
                          </a:solidFill>
                          <a:effectLst/>
                          <a:latin typeface="Calibri" panose="020F0502020204030204" pitchFamily="34" charset="0"/>
                        </a:rPr>
                        <a:t>9</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US" sz="1200" b="1" i="0" u="none" strike="noStrike">
                          <a:solidFill>
                            <a:srgbClr val="000000"/>
                          </a:solidFill>
                          <a:effectLst/>
                          <a:latin typeface="Calibri" panose="020F0502020204030204" pitchFamily="34" charset="0"/>
                        </a:rPr>
                        <a:t>5</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US" sz="1200" b="1" i="0" u="none" strike="noStrike">
                          <a:solidFill>
                            <a:srgbClr val="000000"/>
                          </a:solidFill>
                          <a:effectLst/>
                          <a:latin typeface="Calibri" panose="020F0502020204030204" pitchFamily="34" charset="0"/>
                        </a:rPr>
                        <a:t>2</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US" sz="1200" b="1" i="0" u="none" strike="noStrike">
                          <a:solidFill>
                            <a:srgbClr val="000000"/>
                          </a:solidFill>
                          <a:effectLst/>
                          <a:latin typeface="Calibri" panose="020F0502020204030204" pitchFamily="34" charset="0"/>
                        </a:rPr>
                        <a:t>2</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38787994"/>
                  </a:ext>
                </a:extLst>
              </a:tr>
              <a:tr h="370840">
                <a:tc>
                  <a:txBody>
                    <a:bodyPr/>
                    <a:lstStyle/>
                    <a:p>
                      <a:pPr algn="l" fontAlgn="b"/>
                      <a:r>
                        <a:rPr lang="fr-FR" sz="1200" b="1" i="0" u="none" strike="noStrike" noProof="0">
                          <a:solidFill>
                            <a:srgbClr val="000000"/>
                          </a:solidFill>
                          <a:effectLst/>
                          <a:latin typeface="Calibri" panose="020F0502020204030204" pitchFamily="34" charset="0"/>
                        </a:rPr>
                        <a:t> Erreurs de Conception           </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r>
                        <a:rPr lang="en-US" sz="1200" b="1" i="0" u="none" strike="noStrike">
                          <a:solidFill>
                            <a:srgbClr val="000000"/>
                          </a:solidFill>
                          <a:effectLst/>
                          <a:latin typeface="Calibri" panose="020F0502020204030204" pitchFamily="34" charset="0"/>
                        </a:rPr>
                        <a:t>2</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US" sz="1200" b="1" i="0" u="none" strike="noStrike">
                          <a:solidFill>
                            <a:srgbClr val="000000"/>
                          </a:solidFill>
                          <a:effectLst/>
                          <a:latin typeface="Calibri" panose="020F0502020204030204" pitchFamily="34" charset="0"/>
                        </a:rPr>
                        <a:t>7</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US" sz="1200" b="1" i="0" u="none" strike="noStrike">
                          <a:solidFill>
                            <a:srgbClr val="000000"/>
                          </a:solidFill>
                          <a:effectLst/>
                          <a:latin typeface="Calibri" panose="020F0502020204030204" pitchFamily="34" charset="0"/>
                        </a:rPr>
                        <a:t>8</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US" sz="1200" b="1" i="0" u="none" strike="noStrike">
                          <a:solidFill>
                            <a:srgbClr val="000000"/>
                          </a:solidFill>
                          <a:effectLst/>
                          <a:latin typeface="Calibri" panose="020F0502020204030204" pitchFamily="34" charset="0"/>
                        </a:rPr>
                        <a:t>0.3</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78661421"/>
                  </a:ext>
                </a:extLst>
              </a:tr>
              <a:tr h="370840">
                <a:tc>
                  <a:txBody>
                    <a:bodyPr/>
                    <a:lstStyle/>
                    <a:p>
                      <a:pPr algn="l" fontAlgn="b"/>
                      <a:r>
                        <a:rPr lang="fr-FR" sz="1200" b="1" i="0" u="none" strike="noStrike" noProof="0">
                          <a:solidFill>
                            <a:srgbClr val="000000"/>
                          </a:solidFill>
                          <a:effectLst/>
                          <a:latin typeface="Calibri" panose="020F0502020204030204" pitchFamily="34" charset="0"/>
                        </a:rPr>
                        <a:t> Autres                          </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r>
                        <a:rPr lang="en-US" sz="1200" b="1" i="0" u="none" strike="noStrike">
                          <a:solidFill>
                            <a:srgbClr val="000000"/>
                          </a:solidFill>
                          <a:effectLst/>
                          <a:latin typeface="Calibri" panose="020F0502020204030204" pitchFamily="34" charset="0"/>
                        </a:rPr>
                        <a:t>2</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US" sz="1200" b="1" i="0" u="none" strike="noStrike">
                          <a:solidFill>
                            <a:srgbClr val="000000"/>
                          </a:solidFill>
                          <a:effectLst/>
                          <a:latin typeface="Calibri" panose="020F0502020204030204" pitchFamily="34" charset="0"/>
                        </a:rPr>
                        <a:t>1</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US" sz="1200" b="1" i="0" u="none" strike="noStrike">
                          <a:solidFill>
                            <a:srgbClr val="000000"/>
                          </a:solidFill>
                          <a:effectLst/>
                          <a:latin typeface="Calibri" panose="020F0502020204030204" pitchFamily="34" charset="0"/>
                        </a:rPr>
                        <a:t>1</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US" sz="1200" b="1" i="0" u="none" strike="noStrike">
                          <a:solidFill>
                            <a:srgbClr val="000000"/>
                          </a:solidFill>
                          <a:effectLst/>
                          <a:latin typeface="Calibri" panose="020F0502020204030204" pitchFamily="34" charset="0"/>
                        </a:rPr>
                        <a:t>0.2</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87434606"/>
                  </a:ext>
                </a:extLst>
              </a:tr>
              <a:tr h="370840">
                <a:tc>
                  <a:txBody>
                    <a:bodyPr/>
                    <a:lstStyle/>
                    <a:p>
                      <a:pPr algn="l" fontAlgn="b"/>
                      <a:r>
                        <a:rPr lang="fr-FR" sz="1200" b="1" i="0" u="none" strike="noStrike" noProof="0">
                          <a:solidFill>
                            <a:srgbClr val="000000"/>
                          </a:solidFill>
                          <a:effectLst/>
                          <a:latin typeface="Calibri" panose="020F0502020204030204" pitchFamily="34" charset="0"/>
                        </a:rPr>
                        <a:t> Erreur Humaine                 </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r>
                        <a:rPr lang="en-US" sz="1200" b="1" i="0" u="none" strike="noStrike">
                          <a:solidFill>
                            <a:srgbClr val="000000"/>
                          </a:solidFill>
                          <a:effectLst/>
                          <a:latin typeface="Calibri" panose="020F0502020204030204" pitchFamily="34" charset="0"/>
                        </a:rPr>
                        <a:t>18</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US" sz="1200" b="1" i="0" u="none" strike="noStrike">
                          <a:solidFill>
                            <a:srgbClr val="000000"/>
                          </a:solidFill>
                          <a:effectLst/>
                          <a:latin typeface="Calibri" panose="020F0502020204030204" pitchFamily="34" charset="0"/>
                        </a:rPr>
                        <a:t>10</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US" sz="1200" b="1" i="0" u="none" strike="noStrike">
                          <a:solidFill>
                            <a:srgbClr val="000000"/>
                          </a:solidFill>
                          <a:effectLst/>
                          <a:latin typeface="Calibri" panose="020F0502020204030204" pitchFamily="34" charset="0"/>
                        </a:rPr>
                        <a:t>6</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US" sz="1200" b="1" i="0" u="none" strike="noStrike">
                          <a:solidFill>
                            <a:srgbClr val="000000"/>
                          </a:solidFill>
                          <a:effectLst/>
                          <a:latin typeface="Calibri" panose="020F0502020204030204" pitchFamily="34" charset="0"/>
                        </a:rPr>
                        <a:t>4</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86924691"/>
                  </a:ext>
                </a:extLst>
              </a:tr>
              <a:tr h="370840">
                <a:tc>
                  <a:txBody>
                    <a:bodyPr/>
                    <a:lstStyle/>
                    <a:p>
                      <a:pPr algn="l" fontAlgn="b"/>
                      <a:r>
                        <a:rPr lang="fr-FR" sz="1200" b="1" i="0" u="none" strike="noStrike" noProof="0">
                          <a:solidFill>
                            <a:srgbClr val="000000"/>
                          </a:solidFill>
                          <a:effectLst/>
                          <a:latin typeface="Calibri" panose="020F0502020204030204" pitchFamily="34" charset="0"/>
                        </a:rPr>
                        <a:t> Signalisation Défectueuse      </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r>
                        <a:rPr lang="en-US" sz="1200" b="1" i="0" u="none" strike="noStrike">
                          <a:solidFill>
                            <a:srgbClr val="000000"/>
                          </a:solidFill>
                          <a:effectLst/>
                          <a:latin typeface="Calibri" panose="020F0502020204030204" pitchFamily="34" charset="0"/>
                        </a:rPr>
                        <a:t>6</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US" sz="1200" b="1" i="0" u="none" strike="noStrike">
                          <a:solidFill>
                            <a:srgbClr val="000000"/>
                          </a:solidFill>
                          <a:effectLst/>
                          <a:latin typeface="Calibri" panose="020F0502020204030204" pitchFamily="34" charset="0"/>
                        </a:rPr>
                        <a:t>3</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US" sz="1200" b="1" i="0" u="none" strike="noStrike">
                          <a:solidFill>
                            <a:srgbClr val="000000"/>
                          </a:solidFill>
                          <a:effectLst/>
                          <a:latin typeface="Calibri" panose="020F0502020204030204" pitchFamily="34" charset="0"/>
                        </a:rPr>
                        <a:t>1</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US" sz="1200" b="1" i="0" u="none" strike="noStrike">
                          <a:solidFill>
                            <a:srgbClr val="000000"/>
                          </a:solidFill>
                          <a:effectLst/>
                          <a:latin typeface="Calibri" panose="020F0502020204030204" pitchFamily="34" charset="0"/>
                        </a:rPr>
                        <a:t>1</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1808060"/>
                  </a:ext>
                </a:extLst>
              </a:tr>
              <a:tr h="370840">
                <a:tc>
                  <a:txBody>
                    <a:bodyPr/>
                    <a:lstStyle/>
                    <a:p>
                      <a:pPr algn="l" fontAlgn="b"/>
                      <a:r>
                        <a:rPr lang="fr-FR" sz="1200" b="1" i="0" u="none" strike="noStrike" noProof="0">
                          <a:solidFill>
                            <a:srgbClr val="000000"/>
                          </a:solidFill>
                          <a:effectLst/>
                          <a:latin typeface="Calibri" panose="020F0502020204030204" pitchFamily="34" charset="0"/>
                        </a:rPr>
                        <a:t> Conditions Météorologiques     </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pPr algn="ctr" fontAlgn="b"/>
                      <a:r>
                        <a:rPr lang="en-US" sz="1200" b="1" i="0" u="none" strike="noStrike">
                          <a:solidFill>
                            <a:srgbClr val="000000"/>
                          </a:solidFill>
                          <a:effectLst/>
                          <a:latin typeface="Calibri" panose="020F0502020204030204" pitchFamily="34" charset="0"/>
                        </a:rPr>
                        <a:t>12</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US" sz="1200" b="1" i="0" u="none" strike="noStrike">
                          <a:solidFill>
                            <a:srgbClr val="000000"/>
                          </a:solidFill>
                          <a:effectLst/>
                          <a:latin typeface="Calibri" panose="020F0502020204030204" pitchFamily="34" charset="0"/>
                        </a:rPr>
                        <a:t>8</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US" sz="1200" b="1" i="0" u="none" strike="noStrike">
                          <a:solidFill>
                            <a:srgbClr val="000000"/>
                          </a:solidFill>
                          <a:effectLst/>
                          <a:latin typeface="Calibri" panose="020F0502020204030204" pitchFamily="34" charset="0"/>
                        </a:rPr>
                        <a:t>3</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fontAlgn="b"/>
                      <a:r>
                        <a:rPr lang="en-US" sz="1200" b="1" i="0" u="none" strike="noStrike">
                          <a:solidFill>
                            <a:srgbClr val="000000"/>
                          </a:solidFill>
                          <a:effectLst/>
                          <a:latin typeface="Calibri" panose="020F0502020204030204" pitchFamily="34" charset="0"/>
                        </a:rPr>
                        <a:t>3</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50318599"/>
                  </a:ext>
                </a:extLst>
              </a:tr>
            </a:tbl>
          </a:graphicData>
        </a:graphic>
      </p:graphicFrame>
    </p:spTree>
    <p:extLst>
      <p:ext uri="{BB962C8B-B14F-4D97-AF65-F5344CB8AC3E}">
        <p14:creationId xmlns:p14="http://schemas.microsoft.com/office/powerpoint/2010/main" val="35637180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03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heme/theme1.xml><?xml version="1.0" encoding="utf-8"?>
<a:theme xmlns:a="http://schemas.openxmlformats.org/drawingml/2006/main" name="EDC UNIFIEE MASTER">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raClrScheme>
      <a:clrScheme name="">
        <a:dk1>
          <a:srgbClr val="000000"/>
        </a:dk1>
        <a:lt1>
          <a:srgbClr val="FFFFFF"/>
        </a:lt1>
        <a:dk2>
          <a:srgbClr val="2B0A3D"/>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pt-Capgemini-Invent_MasterTemplate_June21.potx" id="{3376EF2B-E8F2-4FAF-BA52-F4A2B2EB0DB9}" vid="{E004E8A5-EB97-4177-B7D6-B9CBD461028B}"/>
    </a:ext>
  </a:extLst>
</a:theme>
</file>

<file path=ppt/theme/theme2.xml><?xml version="1.0" encoding="utf-8"?>
<a:theme xmlns:a="http://schemas.openxmlformats.org/drawingml/2006/main" name="Tema do Offic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2ED3CEE4EC47D74D956F8F7C7B1ABD0F" ma:contentTypeVersion="18" ma:contentTypeDescription="Create a new document." ma:contentTypeScope="" ma:versionID="955a1649071489537e793fa17ad0207f">
  <xsd:schema xmlns:xsd="http://www.w3.org/2001/XMLSchema" xmlns:xs="http://www.w3.org/2001/XMLSchema" xmlns:p="http://schemas.microsoft.com/office/2006/metadata/properties" xmlns:ns2="c03b9976-d376-439a-8304-cf8561fe16a9" xmlns:ns3="5fe0bd27-1548-436d-877f-9c84c49d0e60" targetNamespace="http://schemas.microsoft.com/office/2006/metadata/properties" ma:root="true" ma:fieldsID="130a324bfd83a81bb13ffcdb33b755bc" ns2:_="" ns3:_="">
    <xsd:import namespace="c03b9976-d376-439a-8304-cf8561fe16a9"/>
    <xsd:import namespace="5fe0bd27-1548-436d-877f-9c84c49d0e60"/>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3:SharedWithUsers" minOccurs="0"/>
                <xsd:element ref="ns3:SharedWithDetails" minOccurs="0"/>
                <xsd:element ref="ns2:MediaLengthInSeconds" minOccurs="0"/>
                <xsd:element ref="ns2:MediaServiceAutoKeyPoints" minOccurs="0"/>
                <xsd:element ref="ns2:MediaServiceKeyPoint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03b9976-d376-439a-8304-cf8561fe16a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b3623ea3-be23-4189-a25b-bcadb097ef14"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fe0bd27-1548-436d-877f-9c84c49d0e60"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d76c3015-08a2-459b-97f7-45169a39f940}" ma:internalName="TaxCatchAll" ma:showField="CatchAllData" ma:web="5fe0bd27-1548-436d-877f-9c84c49d0e6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5fe0bd27-1548-436d-877f-9c84c49d0e60" xsi:nil="true"/>
    <lcf76f155ced4ddcb4097134ff3c332f xmlns="c03b9976-d376-439a-8304-cf8561fe16a9">
      <Terms xmlns="http://schemas.microsoft.com/office/infopath/2007/PartnerControls"/>
    </lcf76f155ced4ddcb4097134ff3c332f>
    <SharedWithUsers xmlns="5fe0bd27-1548-436d-877f-9c84c49d0e60">
      <UserInfo>
        <DisplayName>HENRIO, Edouard</DisplayName>
        <AccountId>17</AccountId>
        <AccountType/>
      </UserInfo>
      <UserInfo>
        <DisplayName>ANTOINE, Nicolas</DisplayName>
        <AccountId>31</AccountId>
        <AccountType/>
      </UserInfo>
      <UserInfo>
        <DisplayName>BEN SAID, Myriam</DisplayName>
        <AccountId>211</AccountId>
        <AccountType/>
      </UserInfo>
      <UserInfo>
        <DisplayName>EL OUAFI, Yassine</DisplayName>
        <AccountId>94</AccountId>
        <AccountType/>
      </UserInfo>
      <UserInfo>
        <DisplayName>KILANI, Yassine</DisplayName>
        <AccountId>200</AccountId>
        <AccountType/>
      </UserInfo>
      <UserInfo>
        <DisplayName>SEIMANDI, Matthieu</DisplayName>
        <AccountId>248</AccountId>
        <AccountType/>
      </UserInfo>
      <UserInfo>
        <DisplayName>BARON FERRAND, Flavien</DisplayName>
        <AccountId>525</AccountId>
        <AccountType/>
      </UserInfo>
      <UserInfo>
        <DisplayName>CHAVANE DE DALMASSY, Marie</DisplayName>
        <AccountId>222</AccountId>
        <AccountType/>
      </UserInfo>
      <UserInfo>
        <DisplayName>DE VALLAVIEILLE, ANTOINE</DisplayName>
        <AccountId>49</AccountId>
        <AccountType/>
      </UserInfo>
      <UserInfo>
        <DisplayName>DIXNEUF, Marie</DisplayName>
        <AccountId>201</AccountId>
        <AccountType/>
      </UserInfo>
    </SharedWithUsers>
  </documentManagement>
</p:properties>
</file>

<file path=customXml/itemProps1.xml><?xml version="1.0" encoding="utf-8"?>
<ds:datastoreItem xmlns:ds="http://schemas.openxmlformats.org/officeDocument/2006/customXml" ds:itemID="{93B09ECE-D1C0-42A5-B69E-8C88764DB9F3}">
  <ds:schemaRefs>
    <ds:schemaRef ds:uri="http://schemas.microsoft.com/sharepoint/v3/contenttype/forms"/>
  </ds:schemaRefs>
</ds:datastoreItem>
</file>

<file path=customXml/itemProps2.xml><?xml version="1.0" encoding="utf-8"?>
<ds:datastoreItem xmlns:ds="http://schemas.openxmlformats.org/officeDocument/2006/customXml" ds:itemID="{A36B55EF-593C-45FA-8975-685A91EC90BC}">
  <ds:schemaRefs>
    <ds:schemaRef ds:uri="5fe0bd27-1548-436d-877f-9c84c49d0e60"/>
    <ds:schemaRef ds:uri="c03b9976-d376-439a-8304-cf8561fe16a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8765F6DA-EDFD-4C3F-B2EB-EDE359E124E2}">
  <ds:schemaRefs>
    <ds:schemaRef ds:uri="http://schemas.microsoft.com/office/2006/documentManagement/types"/>
    <ds:schemaRef ds:uri="5fe0bd27-1548-436d-877f-9c84c49d0e60"/>
    <ds:schemaRef ds:uri="c03b9976-d376-439a-8304-cf8561fe16a9"/>
    <ds:schemaRef ds:uri="http://purl.org/dc/elements/1.1/"/>
    <ds:schemaRef ds:uri="http://schemas.openxmlformats.org/package/2006/metadata/core-properties"/>
    <ds:schemaRef ds:uri="http://schemas.microsoft.com/office/infopath/2007/PartnerControls"/>
    <ds:schemaRef ds:uri="http://purl.org/dc/terms/"/>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ppt-Capgemini-Invent_MasterTemplate_June21</Template>
  <TotalTime>1</TotalTime>
  <Words>4876</Words>
  <Application>Microsoft Office PowerPoint</Application>
  <PresentationFormat>Grand écran</PresentationFormat>
  <Paragraphs>578</Paragraphs>
  <Slides>36</Slides>
  <Notes>18</Notes>
  <HiddenSlides>0</HiddenSlides>
  <MMClips>0</MMClips>
  <ScaleCrop>false</ScaleCrop>
  <HeadingPairs>
    <vt:vector size="8" baseType="variant">
      <vt:variant>
        <vt:lpstr>Polices utilisées</vt:lpstr>
      </vt:variant>
      <vt:variant>
        <vt:i4>10</vt:i4>
      </vt:variant>
      <vt:variant>
        <vt:lpstr>Thème</vt:lpstr>
      </vt:variant>
      <vt:variant>
        <vt:i4>1</vt:i4>
      </vt:variant>
      <vt:variant>
        <vt:lpstr>Serveurs OLE incorporés</vt:lpstr>
      </vt:variant>
      <vt:variant>
        <vt:i4>1</vt:i4>
      </vt:variant>
      <vt:variant>
        <vt:lpstr>Titres des diapositives</vt:lpstr>
      </vt:variant>
      <vt:variant>
        <vt:i4>36</vt:i4>
      </vt:variant>
    </vt:vector>
  </HeadingPairs>
  <TitlesOfParts>
    <vt:vector size="48" baseType="lpstr">
      <vt:lpstr>Ubuntu</vt:lpstr>
      <vt:lpstr>Courier New</vt:lpstr>
      <vt:lpstr>Tahoma</vt:lpstr>
      <vt:lpstr>Ubuntu Medium</vt:lpstr>
      <vt:lpstr>Arial</vt:lpstr>
      <vt:lpstr>Verdana</vt:lpstr>
      <vt:lpstr>Ubuntu Light</vt:lpstr>
      <vt:lpstr>Ubuntu Medium (Headings)</vt:lpstr>
      <vt:lpstr>Calibri</vt:lpstr>
      <vt:lpstr>Wingdings</vt:lpstr>
      <vt:lpstr>EDC UNIFIEE MASTER</vt:lpstr>
      <vt:lpstr>think-cell Slide</vt:lpstr>
      <vt:lpstr>Etude de Cas :</vt:lpstr>
      <vt:lpstr>Présentation PowerPoint</vt:lpstr>
      <vt:lpstr>Sprint 1 – Résumé des documents à votre disposition</vt:lpstr>
      <vt:lpstr>Sprint 1 – Consignes</vt:lpstr>
      <vt:lpstr>Consignes sprint 1</vt:lpstr>
      <vt:lpstr>Présentation PowerPoint</vt:lpstr>
      <vt:lpstr>Sprint 1 – Documents</vt:lpstr>
      <vt:lpstr>SUPPORT 1 – Article sur l’utilisation de données satellites</vt:lpstr>
      <vt:lpstr>SUPPORT 2 – Extraction de l’outil GMAO filtre sur les PRINCIPALES CAUSES D’accidents </vt:lpstr>
      <vt:lpstr>Support 3 – Stratégie SNCF</vt:lpstr>
      <vt:lpstr>SUPPORT 4 – Article sur La maintenance prédictive par sncf réseau</vt:lpstr>
      <vt:lpstr>SUPPORT 5 – ARTICLE –  Augmentée, virtuelle… la réalité dans tous ses états à l’AR/VR Day</vt:lpstr>
      <vt:lpstr>SUPPORT 6 – ARTICLE – Opportunities for digital twin technology on the French railway network  </vt:lpstr>
      <vt:lpstr>Présentation PowerPoint</vt:lpstr>
      <vt:lpstr>Entretien #1</vt:lpstr>
      <vt:lpstr>Entretien #2</vt:lpstr>
      <vt:lpstr>Entretien #3</vt:lpstr>
      <vt:lpstr>Entretien #4</vt:lpstr>
      <vt:lpstr>Entretien #5</vt:lpstr>
      <vt:lpstr>Sprint 2 – Résumé des documents à votre disposition</vt:lpstr>
      <vt:lpstr>CONSIGNES SPRINT 2</vt:lpstr>
      <vt:lpstr>Priorisation des solutions</vt:lpstr>
      <vt:lpstr>Sprint 3 – Résumé des documents à votre disposition</vt:lpstr>
      <vt:lpstr>Consignes SPRINT 3</vt:lpstr>
      <vt:lpstr>Roadmap sprint 3</vt:lpstr>
      <vt:lpstr>Annexes</vt:lpstr>
      <vt:lpstr>Des temps modernes à nos jours</vt:lpstr>
      <vt:lpstr>Enjeux industriels à l’ère de l’information</vt:lpstr>
      <vt:lpstr>Classification des industries</vt:lpstr>
      <vt:lpstr>La chaîne de valeur usuelle</vt:lpstr>
      <vt:lpstr>L’optimisation des processus vise l’élimination de toutes les tâches n’apportAnt pas de la valeur ajoutée du point de vue du client</vt:lpstr>
      <vt:lpstr>L’optimisation des processus passe par l’utilisation des démarches Lean</vt:lpstr>
      <vt:lpstr>Les solutions « Data &amp; Analytics » permettent l’optimisation des processus</vt:lpstr>
      <vt:lpstr>Flux et utilisation d’énergie</vt:lpstr>
      <vt:lpstr>Emission de gaz à effet de serre dans l’industrie</vt:lpstr>
      <vt:lpstr>Présentation PowerPoint</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Template</dc:title>
  <dc:subject>Capgemini Invent template</dc:subject>
  <dc:creator>BEN SAID, Myriam</dc:creator>
  <cp:lastModifiedBy>GUILLERME, Alexandre</cp:lastModifiedBy>
  <cp:revision>1</cp:revision>
  <cp:lastPrinted>2023-02-28T16:41:49Z</cp:lastPrinted>
  <dcterms:created xsi:type="dcterms:W3CDTF">2022-03-08T18:16:40Z</dcterms:created>
  <dcterms:modified xsi:type="dcterms:W3CDTF">2024-05-31T09:51:02Z</dcterms:modified>
  <cp:category>Company Confidential</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ED3CEE4EC47D74D956F8F7C7B1ABD0F</vt:lpwstr>
  </property>
  <property fmtid="{D5CDD505-2E9C-101B-9397-08002B2CF9AE}" pid="3" name="MediaServiceImageTags">
    <vt:lpwstr/>
  </property>
</Properties>
</file>